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notesSlides/notesSlide3.xml" ContentType="application/vnd.openxmlformats-officedocument.presentationml.notesSlide+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241" r:id="rId1"/>
  </p:sldMasterIdLst>
  <p:notesMasterIdLst>
    <p:notesMasterId r:id="rId23"/>
  </p:notesMasterIdLst>
  <p:handoutMasterIdLst>
    <p:handoutMasterId r:id="rId24"/>
  </p:handoutMasterIdLst>
  <p:sldIdLst>
    <p:sldId id="356" r:id="rId2"/>
    <p:sldId id="357" r:id="rId3"/>
    <p:sldId id="359" r:id="rId4"/>
    <p:sldId id="570" r:id="rId5"/>
    <p:sldId id="360" r:id="rId6"/>
    <p:sldId id="361" r:id="rId7"/>
    <p:sldId id="362" r:id="rId8"/>
    <p:sldId id="376" r:id="rId9"/>
    <p:sldId id="377" r:id="rId10"/>
    <p:sldId id="569" r:id="rId11"/>
    <p:sldId id="363" r:id="rId12"/>
    <p:sldId id="387" r:id="rId13"/>
    <p:sldId id="368" r:id="rId14"/>
    <p:sldId id="386" r:id="rId15"/>
    <p:sldId id="369" r:id="rId16"/>
    <p:sldId id="364" r:id="rId17"/>
    <p:sldId id="365" r:id="rId18"/>
    <p:sldId id="366" r:id="rId19"/>
    <p:sldId id="367" r:id="rId20"/>
    <p:sldId id="374" r:id="rId21"/>
    <p:sldId id="380" r:id="rId22"/>
  </p:sldIdLst>
  <p:sldSz cx="9144000" cy="5143500" type="screen16x9"/>
  <p:notesSz cx="7010400" cy="9296400"/>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72">
          <p15:clr>
            <a:srgbClr val="A4A3A4"/>
          </p15:clr>
        </p15:guide>
        <p15:guide id="2" pos="5577">
          <p15:clr>
            <a:srgbClr val="A4A3A4"/>
          </p15:clr>
        </p15:guide>
        <p15:guide id="3" pos="180">
          <p15:clr>
            <a:srgbClr val="A4A3A4"/>
          </p15:clr>
        </p15:guide>
        <p15:guide id="4" orient="horz" pos="167">
          <p15:clr>
            <a:srgbClr val="A4A3A4"/>
          </p15:clr>
        </p15:guide>
        <p15:guide id="5" pos="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eah, Beng Mey" initials="CBM" lastIdx="5" clrIdx="0">
    <p:extLst>
      <p:ext uri="{19B8F6BF-5375-455C-9EA6-DF929625EA0E}">
        <p15:presenceInfo xmlns:p15="http://schemas.microsoft.com/office/powerpoint/2012/main" userId="S-1-5-21-1971345664-1559653683-1850952788-208039" providerId="AD"/>
      </p:ext>
    </p:extLst>
  </p:cmAuthor>
  <p:cmAuthor id="2" name="R2, Arun" initials="RA" lastIdx="5" clrIdx="1">
    <p:extLst>
      <p:ext uri="{19B8F6BF-5375-455C-9EA6-DF929625EA0E}">
        <p15:presenceInfo xmlns:p15="http://schemas.microsoft.com/office/powerpoint/2012/main" userId="S::Arun_R2@dell.com::4ce6e22d-8e4c-415a-bdf8-c4b2db8d37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853" autoAdjust="0"/>
    <p:restoredTop sz="94434" autoAdjust="0"/>
  </p:normalViewPr>
  <p:slideViewPr>
    <p:cSldViewPr snapToGrid="0">
      <p:cViewPr varScale="1">
        <p:scale>
          <a:sx n="137" d="100"/>
          <a:sy n="137" d="100"/>
        </p:scale>
        <p:origin x="912" y="96"/>
      </p:cViewPr>
      <p:guideLst>
        <p:guide orient="horz" pos="3072"/>
        <p:guide pos="5577"/>
        <p:guide pos="180"/>
        <p:guide orient="horz" pos="167"/>
        <p:guide pos="168"/>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865ABAC-9291-4D87-9512-817B6B64A1EE}" type="datetimeFigureOut">
              <a:rPr lang="en-US" smtClean="0"/>
              <a:t>1/29/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52CBB36E-289C-400C-9E73-A4320D1DC1F4}" type="slidenum">
              <a:rPr lang="en-US" smtClean="0"/>
              <a:t>‹#›</a:t>
            </a:fld>
            <a:endParaRPr lang="en-US"/>
          </a:p>
        </p:txBody>
      </p:sp>
      <p:sp>
        <p:nvSpPr>
          <p:cNvPr id="6" name="fl" descr="                              Dell - Internal Use - Confidential&#10;"/>
          <p:cNvSpPr txBox="1"/>
          <p:nvPr/>
        </p:nvSpPr>
        <p:spPr>
          <a:xfrm>
            <a:off x="0" y="8737600"/>
            <a:ext cx="7010400" cy="592470"/>
          </a:xfrm>
          <a:prstGeom prst="rect">
            <a:avLst/>
          </a:prstGeom>
          <a:noFill/>
        </p:spPr>
        <p:txBody>
          <a:bodyPr vert="horz" rtlCol="0">
            <a:spAutoFit/>
          </a:bodyPr>
          <a:lstStyle/>
          <a:p>
            <a:r>
              <a:rPr lang="en-US" sz="850" b="1">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001041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08:21.751"/>
    </inkml:context>
    <inkml:brush xml:id="br0">
      <inkml:brushProperty name="width" value="0.05292" units="cm"/>
      <inkml:brushProperty name="height" value="0.05292" units="cm"/>
      <inkml:brushProperty name="color" value="#0070C0"/>
    </inkml:brush>
  </inkml:definitions>
  <inkml:trace contextRef="#ctx0" brushRef="#br0">4022 1455 0,'0'53'47,"0"-40"-47,0 1 0,0-1 16,0 13-16,0 1 0,0-14 0,0 13 15,0 1-15,0 13 16,0-27-16,0 13 0,-14-13 0,14 1 16,0-1-16,0 0 0,0 0 15</inkml:trace>
  <inkml:trace contextRef="#ctx0" brushRef="#br0" timeOffset="286.39">3995 1468 0,'0'-13'0,"0"26"16,13-26-16,1 13 0,-1 13 15,0-13-15,0 0 16,1 14-16,-1-14 0,0 13 0,0 0 16,1 0-16,-1-13 15,0 14-15,27 12 16,-40-13-16,26 1 15,-13-14 1</inkml:trace>
  <inkml:trace contextRef="#ctx0" brushRef="#br0" timeOffset="566.91">4366 1455 0,'-40'53'16,"40"-40"-16,-27 1 0,27-1 15,-13 0-15,13 0 0,-13 1 0,13-1 16,-13 0-16,13 0 0,-13-13 16,13 13-16,-14 1 0,14-1 0,-13-13 15,13 13-15</inkml:trace>
  <inkml:trace contextRef="#ctx0" brushRef="#br0" timeOffset="860.5">4366 1442 0,'13'26'16,"0"27"-1,-13-39-15,0 12 16,13-13-16,-13 14 0,0-1 16,0 1-16,0-1 0,0 1 15,0-1-15,0-13 0,14 0 0,-14 1 16,0 12-16,0-13 0,13 1 16</inkml:trace>
  <inkml:trace contextRef="#ctx0" brushRef="#br0" timeOffset="1417.85">4683 1574 0,'-13'0'0,"26"0"0,-39 0 31,12 0-31,1 0 0,13 14 0,-26 12 15,26-13 1,-13 0-16,-1 1 0,14-1 16,0 0-16,-13-13 0,13 13 0,0 1 15,0-1-15,0 0 16,0 0-16,13-13 16,14-13-1,-14 0-15,0 0 0,0-1 16,-13 1-16,27-27 15,-14 40-15,-13-13 0,0 0 16,13 0-16,1 0 16,-1 26 15,-13 0-15,0 0-16,0 0 0,0 1 0,0-1 15,0 0-15,13 14 16,-13-14-16,13-13 0,-13 13 15,13-13-15,-13 13 0,14-13 16,-1 0-16</inkml:trace>
  <inkml:trace contextRef="#ctx0" brushRef="#br0" timeOffset="1734.54">4882 1389 0,'13'53'31,"-13"-27"-31,0-12 0,0 12 0,0-13 16,0 14-16,13-14 0,-13 14 16,0-14-16,0 13 0,0-13 0,0 1 15,0-1-15,0 0 0,0 0 0,13 1 16,-13-1-16,0 0 16</inkml:trace>
  <inkml:trace contextRef="#ctx0" brushRef="#br0" timeOffset="2179.17">5106 1416 0,'0'26'31,"-13"-13"-31,13 0 0,0 14 16,0-14-16,0 0 0,0 1 0,0 12 16,0-13-16,-13 1 0,13-1 15,0 13-15,0-13 0,0 1 16,0-1-16,26-13 31,-12-13-15,-1 13-16,0-14 0,0 1 0,1 0 15,-1 13-15,13 0 16,-26 13-16,14-13 16,-1 13-16,-13 1 15,13-1-15,0 13 16,0-26-16,-13 14 15,14-1-15,-14 0 16,13-13-16</inkml:trace>
  <inkml:trace contextRef="#ctx0" brushRef="#br0" timeOffset="2447.21">4762 1548 0,'40'-27'0,"-13"27"15,-1-13-15,-13 0 16,14 13-16,-14-13 0,27-1 0,-14 14 16,1 0-16,12-13 15,-25 13-15,12 0 0</inkml:trace>
  <inkml:trace contextRef="#ctx0" brushRef="#br0" timeOffset="2823.09">5556 1402 0,'-53'14'16,"40"-1"-1,0-13-15,13 26 16,0-13 0,13 1-16,-13-1 0,13-13 15,1 13-15,-1 0 0,0 1 16,13-1 0,-12-13-16,-1 13 0,0-13 0,-13 13 15,13-13-15,-13 14 16,0-1-1,-13 0-15,0-13 0,13 13 16,-13-13-16,-1 13 0,1 1 16,-13-14-16,13 13 0,-1-13 0,1 0 15,0 0-15,-14 13 0</inkml:trace>
  <inkml:trace contextRef="#ctx0" brushRef="#br0" timeOffset="3090.95">5358 1191 0,'0'26'16,"0"-13"-16,0 14 0,0-14 15,0 0-15,0 14 0,0-1 16,0 14-16,0-14 16</inkml:trace>
  <inkml:trace contextRef="#ctx0" brushRef="#br0" timeOffset="7109.8">5239 2183 0,'0'26'0,"0"1"16,13-14-16,-13 40 16,0-40-16,-13 40 15,13-40-15,0 14 0,0-1 16,0 1-16,0-1 16,0-13-16,0 1 15</inkml:trace>
  <inkml:trace contextRef="#ctx0" brushRef="#br0" timeOffset="7519.05">5120 2196 0,'26'-13'0,"-13"0"16,1 13-16,12-14 0,14 14 31,-14 0-31,1 14 0,-14-14 0,0 13 16,0 0-16,1-13 15,-14 40-15,0-27 16,-14 0-16,14 0 0,-13 1 16,0 12-16,-14 1 15,14-14-15,0 0 16</inkml:trace>
  <inkml:trace contextRef="#ctx0" brushRef="#br0" timeOffset="8063.92">5437 2342 0,'0'13'0,"0"0"16,0 0-16,13 0 16,-13 1-16,0-1 0,14 0 15,-1 0-15,0-13 32,14-13-32,-14 13 15,-13-13-15,13 0 16,0 13-16,-13-14 15,13 1-15,-13 0 16,14 13-16,-1 13 31,-13 14-15,0 12-16,-13-12 16,13-1-16,-14 67 15,14-80-15,-26 53 16,13-26-16,0-27 15,-1 14-15,14-14 0,-26 0 16,13 0-16,-1 1 16</inkml:trace>
  <inkml:trace contextRef="#ctx0" brushRef="#br0" timeOffset="8454.93">5728 2183 0,'0'39'31,"0"-12"-31,0-14 0,0 14 16,0-14-16,13 13 0,-26 14 15,13 26 1,0-39-16,0-14 16,0 0-16,0 0 0,0 1 15,0-1-15</inkml:trace>
  <inkml:trace contextRef="#ctx0" brushRef="#br0" timeOffset="8860.18">5927 2196 0,'0'-13'0,"0"39"31,0-13-31,0 14 0,0-14 15,0 0-15,0 27 16,0-27-16,-14 14 16,14-1-16,0-13 0,0 14 15,0-14 1,0 0-16,27-13 47,-1 0-32,-12 0 1,-1 14-16,0-1 16,0-13-1,-13 13-15,13-13 16,1 13 0</inkml:trace>
  <inkml:trace contextRef="#ctx0" brushRef="#br0" timeOffset="9106.29">5662 2368 0,'27'-13'16,"-14"13"-16,13-13 16,1-1-16,-1 14 0,54-26 15,-14 13 1,-40 13 0,-13 0-16,14 0 0</inkml:trace>
  <inkml:trace contextRef="#ctx0" brushRef="#br0" timeOffset="9455.23">6297 2249 0,'-40'13'0,"40"0"0,-13 1 15,13-1-15,0 0 16,-13 0-16,13 1 15,13 12-15,-13-13 16,13 0-16,1 1 16,12-14-16,1 13 15,-14-13-15,13-13 16,-13 13-16,1 0 16,-14-14-16,13 14 0,-13-13 0,-13-13 15,13 13 1,-14 13-16,1-14 0,-13-12 15,-1 13 1,14 13-16,0 0 0,-14 0 16,1 13-1,13-13-15</inkml:trace>
  <inkml:trace contextRef="#ctx0" brushRef="#br0" timeOffset="9797.21">6496 2236 0,'0'39'16,"0"-25"-16,0 12 31,13 1-31,0-14 31,0-13-15,0-13-16,1 13 16,-1-14-16,0 14 15,14 0-15,-1 0 16,-26 14-1,13-1-15,1-13 16,-14 13-16,13-13 0,-13 13 16</inkml:trace>
  <inkml:trace contextRef="#ctx0" brushRef="#br0" timeOffset="12310.02">6376 2937 0,'-13'26'0,"13"-12"16,0-1-16,0 0 0,0 0 15,0 0-15,-13 1 0,13-1 16,0 0-16,0 14 0,0-14 15,0 0-15,0 0 0,-13-13 16,13 14 0,13-41 15,-13 1-15,0 12-16,0 1 0,13 0 15,-13 0-15,0-1 0,0 1 0,0 0 16,0 0-16,13 13 0,-13-13 15,0-1-15,0 1 0,14 0 16,-1 0 0,0 13-1,0 13-15,1 0 16,-14 0-16,13 1 16,0-1-1,0-13 1,1 0-1,-1 0 1,-13-13-16,13 13 0,0-14 16,0-12-16,1 26 15,-14-13-15,13 13 0,-13-14 16,13 14-16,0 14 31,-13-1-31,14 0 16,-14 0-16,0 1 0,0-1 0,13 13 15,-13-13 1,0 1-16,0-1 16,0 0-16</inkml:trace>
  <inkml:trace contextRef="#ctx0" brushRef="#br0" timeOffset="12731.04">6826 2844 0,'0'27'16,"0"-14"-16,0 0 0,-13 0 0,13 1 15,0-1-15,0 0 0,0 0 16,0 14-16,13-1 15,-13-13-15,0 1 16,13-14-16,-13 13 0,14 0 16,-1-13-16,0 0 15,0 0-15,1 0 0,-1 0 16,0 0-16,0 0 16,14-13-16,-14 13 0</inkml:trace>
  <inkml:trace contextRef="#ctx0" brushRef="#br0" timeOffset="14459.75">5292 1283 0,'-14'0'16,"41"-13"-1,-14 13-15,0 0 0,1-13 16,12 13-16,1-13 0,-14 13 16,0 0-16,0-14 15,0 14-15,1 14 16,-28-1 0,1 0-16,-26 13 0,25-12 15,-12 12-15,13-26 0,13 13 16,-27 1-1,27-1-15,13-13 16,1 0 0,-1-13-16,13 13 15,1-14-15,-1 1 16,-13 13 0,-13 13-1,0 1-15,-13-1 16,13 0-1,27-26 1,-14 0-16,0-1 16,27 1-16,26-27 15,-26 1-15,13 12 0,-1-12 0,15-1 16</inkml:trace>
  <inkml:trace contextRef="#ctx0" brushRef="#br0" timeOffset="17932.2">4048 2077 0,'-13'0'16,"39"-13"0,-12 0-16,-1 13 0,13 0 15,1-14-15,12 1 0,80-27 16,-26 14 0,0-1-16,-40 14 15,-14 0-15,1 0 0,66 0 16,-67-1-16,1 14 15,-27-13 1,1 13-16,-1 13 16</inkml:trace>
  <inkml:trace contextRef="#ctx0" brushRef="#br0" timeOffset="18191.93">4299 2143 0,'14'0'16,"-1"0"-16,0-13 0,53 0 16,14-14-1,-54 27-15,1-13 16,26 0-16,13 0 15,-27-1 1,-12 1-16,-14 13 16</inkml:trace>
  <inkml:trace contextRef="#ctx0" brushRef="#br0" timeOffset="19488.06">4419 2156 0,'-14'0'0,"1"0"16,0 14-16,-14-1 16,14 0-16,0-13 15,13 13-15,-13 0 0,-14 14 16,14-1-16,13-12 0,-13-1 16,13 0-16,0 0 0,0 14 15,13-14-15,-13 0 16,13-13-16,0 13 0,14-13 15,-14 0-15,0 14 0,14-14 16,-1-14-16,27 14 0,-26 0 16,-1 0-16,14-13 15,-14 13-15,1 0 0,-1 0 16,1-13-16,-14 13 0,0 0 16,14 0-16,-14 0 15</inkml:trace>
  <inkml:trace contextRef="#ctx0" brushRef="#br0" timeOffset="19880.78">4696 2236 0,'14'0'0,"-1"0"0,13 13 15,1-13 1,12 13-16,1 14 0,-27-27 15,27 26-15,-14 1 16,-12-14-16,-1 13 16,-13-13-16,0 14 15,0-14-15,-13 14 0,-1-14 16,1 0-16,0 0 0,-27 27 16,14-14-1,13-12-15,-1-14 0,1 0 16</inkml:trace>
  <inkml:trace contextRef="#ctx0" brushRef="#br0" timeOffset="22697.84">4736 2381 0,'-13'27'16,"13"-14"0,-13 40-1,-1-13 1,14-14-16,0 0 0,-13 1 0,13-14 16,0 40-16,13-13 15,-13-27-15,14 13 16,12 1-16,0-1 15,27 1-15,0-1 16,66 1-16,-39-27 16,-41 13-16,14-13 15,-13 0-15,26 0 16,-13 0-16,13 13 0,0-13 16,-52 0-16,39 0 15,-14 0-15,-12 0 16,-1 0-16,1 0 15,-14 0 1,0 0-16,0 13 16</inkml:trace>
  <inkml:trace contextRef="#ctx0" brushRef="#br0" timeOffset="23263.94">5636 2752 0,'26'13'31,"1"0"0,-1 0-31,-13 14 16,0-27-16,-13 13 0,14 14 15,-14-14 1,-14 0-16,14 0 0,-39 40 16,26-26-16,-14 12 15,-13 1 1,27-27-16,-13 14 0</inkml:trace>
  <inkml:trace contextRef="#ctx0" brushRef="#br0" timeOffset="27366.17">6668 1363 0,'0'-27'31,"-14"-13"-15,14 14-16,0 0 15,0-1-15,0 1 0,-13-1 0,13-52 16,-13 39-16,13 14 16,0-1-16,0 1 0,0 12 0,-13-12 15,13 0 1,0 12-16,0 1 0,0 0 15,0 0-15,13 13 16,0 13 15,-13 0-31,13 0 0,-13 1 16,14-1-16,-14 0 0,13 0 16,0 0-16,-13 1 15,13-1-15,-13 0 16,13 0-1,-13 1-15,0-1 47,-13-13-47,13 13 32,-13-13-32,0 0 0,0 13 15,-14-13 1,14 14-16,0-14 15,-1 13-15,1-13 0,-13 13 16,12 0-16,1-13 16,0 13-16,0-13 15,13 14-15,-13-14 16,-1 0-16,1 13 16,0-13-1,26-27 32,0 27-31,-13-13-16,14 0 0,-1 0 15,13-14-15,14-12 16,13-14-16,-40 39 0,14 1 16,12-26-1,-12 12-15,-14 14 16,13-14-16,-12 14 15,-14 40 32,0-1-47,-14-13 16,1 27-16,-27 13 0,27-13 0,-13-1 16,13 14-16,-14-13 0,14 13 15,-14 0-15</inkml:trace>
  <inkml:trace contextRef="#ctx0" brushRef="#br0" timeOffset="28343.45">7289 1191 0,'0'-80'16,"-13"41"-16,13 25 15,0-12-15,0 13 0,0-14 16,-13-26-16,13 27 16,0 13-16,0-14 0,0 14 0,0-14 15,-13 14 1,13-13-16,0 13 15,13 26 17,0 0-17,0 13-15,-13-12 0,13-1 16,14 13-16,-27-12 16,26 12-16,1 0 15,-14-12 1,0-14-16,-13 13 15,14-13-15,-28 13 16,14 0 0,-13-13-16,0 14 0,-14-14 15,14 13-15,0 0 16,-27-13 0,14 13-16,-1 1 15,1-14-15,13 13 16,-14-13-16,14 0 15,0 0-15,13-13 16,13-14 0,-13 14-1,13 0-15,27-27 0,13 0 16,-40 14-16,40-27 16,13-13-16,-13 26 15,-40 40 1,-13-13-16,13 0 15,1 26-15,-28 13 16,14 1-16,-52 79 16,-1-27-1,0 27-15,26-53 16,1 0-16,-40 52 0,39-52 16</inkml:trace>
</inkml:ink>
</file>

<file path=ppt/ink/ink10.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04:18.987"/>
    </inkml:context>
    <inkml:brush xml:id="br0">
      <inkml:brushProperty name="width" value="0.05292" units="cm"/>
      <inkml:brushProperty name="height" value="0.05292" units="cm"/>
      <inkml:brushProperty name="color" value="#0070C0"/>
    </inkml:brush>
  </inkml:definitions>
  <inkml:trace contextRef="#ctx0" brushRef="#br0">2884 1826 0,'-26'0'15,"-1"13"1,14 0-16,0-13 0,13 13 15,-14-13-15,1 14 0,-13-1 16,12 0-16,14 0 16,-13 0-1,26 1 1,1-1-16,-1 0 0,0-13 0,0 13 16,27 14-1,-27-14-15,1 0 0,-1 1 16,0-1-16,0 0 15,-13 0-15,-13 0 0,13 1 16,-40 25 0,27-25-16,-40 12 15,40-26-15,-27 13 16,27-13-16,0 13 0,0-13 16,-27 0-1,27 14-15,-1-14 0</inkml:trace>
  <inkml:trace contextRef="#ctx0" brushRef="#br0" timeOffset="727.77">3135 2064 0,'-39'13'15,"25"-13"-15,1 13 0,13 0 0,-13-13 16,0 27-16,-1-14 15,1 0 1,13 1 0,13-1-16,1-13 15,-1-13-15,0-1 16,-13 1 0,13 0-1,1 13-15,-14-13 16,13 26 15,0 0-15,0-13-16,-13 13 0,27 1 15,-14-1 1,0-13-16,0 13 16</inkml:trace>
  <inkml:trace contextRef="#ctx0" brushRef="#br0" timeOffset="1244.94">3294 2103 0,'0'-13'16,"13"40"30,-13-14-30,14 0 0,-1-13 31,0 0-32,0-13 1,0 13-1,1 0-15,-1 13 16,0-13 0,0 0-16,-13 13 0,14-13 0,-1 14 31,0-14-15,0 0-1,-13-14 1,13 14-16,-13-13 15,14 13-15,-1 0 16,0 0 0,0 0-16,1 0 15,-1 13 1,0-13-16,0 14 0,14-14 31,-27 13-31</inkml:trace>
  <inkml:trace contextRef="#ctx0" brushRef="#br0" timeOffset="1714.74">3664 1931 0,'0'-26'0,"0"66"16,0-27-1,0 66 1,14 1 0,-1 12-1,0-65-15,-13-1 0,13-13 0,-13 14 0,14 13 16,-14-14 0,13 0-1,-13-12-15,13-28 31,0-12-15,-13 13-16,14 0 16,-14-1-16,0 1 0,13 0 15,0-14-15,0 14 16,0 13-16,-13-13 0,14 13 16,12 13-1,-26 0-15,13-13 16,-13 14-1,-13-1-15,13 0 0,-13 0 16,0 1-16,-14-1 16,14-13-1,0 0-15,0 0 16,-1 0-16</inkml:trace>
  <inkml:trace contextRef="#ctx0" brushRef="#br0" timeOffset="1984.88">3916 1945 0,'0'-14'15,"0"41"1,0-14-1,0 40 1,0-26 0,0-14-16,0 0 0,0 13 0,0-12 15,0-1-15,0 0 0,0 0 16,13 1-16,-13 12 16,13-13-16</inkml:trace>
  <inkml:trace contextRef="#ctx0" brushRef="#br0" timeOffset="2291.98">4114 2236 0,'0'0'16,"27"-14"-16,-27 1 0,13 0 15,-13 0-15,13 13 0,-13-13 16,0-1-16,0 1 15,0 0-15,0 0 16,-13 13 0,0 13-1,0-13-15,-1 13 0,14 0 16,-13 1-16,13-1 0,0 0 31,27 0-15,-14-13-16,-13 13 0,13-13 0,0 0 15,0 0-15,1 0 0,-1 0 16</inkml:trace>
  <inkml:trace contextRef="#ctx0" brushRef="#br0" timeOffset="2841.07">4921 1707 0,'13'66'16,"-13"-53"-16,0 13 16,0 1-16,0-1 0,0 1 15,0-1-15,14 1 0,-14-1 0,0-13 16,0 14-16,13-14 0,0 40 15,0-40-15,1-13 16,-1 13-16,27 1 16,-27-14-16,13 0 0,-13 0 15,1 0-15,-1-14 0,0 14 16</inkml:trace>
  <inkml:trace contextRef="#ctx0" brushRef="#br0" timeOffset="3041.18">4789 2051 0,'-27'-14'15,"41"1"1,-1 13-16,40-13 16,-13 0-1,-1-1-15,41 1 16,-41 13-16,27 0 15,-39 0-15,-1 0 0,-12 0 16</inkml:trace>
  <inkml:trace contextRef="#ctx0" brushRef="#br0" timeOffset="3379.91">5345 2077 0,'13'-13'0,"-13"0"16,0-1-16,0 1 15,0 0 1,0 0-16,-13 13 15,-14 13 1,14 0-16,13 0 16,-13 1-16,13-1 15,0 0-15,0 0 0,0 0 16,13 1-16,0-14 0,14 13 16,-14-13-16,40 0 15,-27 0-15,-13 0 16</inkml:trace>
  <inkml:trace contextRef="#ctx0" brushRef="#br0" timeOffset="3683.12">5609 1958 0,'-13'0'0,"0"0"15,-1 0 1,14 13-1,0 0 1,14 14-16,-1-1 16,-13-12-16,13-14 0,-13 13 15,13 0-15,1 0 0,-1 14 16,-13-14 0,0 0-16,0 0 0,-13 1 15,13-1-15,-27 0 16,14-13-1,0 0 1,-1 0-16,1 0 16</inkml:trace>
  <inkml:trace contextRef="#ctx0" brushRef="#br0" timeOffset="3900.05">5715 1826 0,'0'-14'0,"13"14"15,-13 40 17,0-27-32,0 1 0,0-1 15,0 13-15,0-13 0,0 14 0,0-14 16,13 27-16,-13-14 16,0-12-16,14 25 15,-1-26-15,0 14 0,-13-14 16,13 0-16,1-13 15</inkml:trace>
  <inkml:trace contextRef="#ctx0" brushRef="#br0" timeOffset="4083.85">5649 2090 0,'26'-13'16,"14"13"0,-27-13-16,53 13 15,-52 0-15,12-13 16</inkml:trace>
  <inkml:trace contextRef="#ctx0" brushRef="#br0" timeOffset="4275.21">6046 1971 0,'-14'27'47,"14"-1"-47,0-13 16,14 1-16,-14 25 15,0-26-15,0 1 16,13-1-1</inkml:trace>
  <inkml:trace contextRef="#ctx0" brushRef="#br0" timeOffset="4434.52">6032 1879 0,'-13'0'0</inkml:trace>
  <inkml:trace contextRef="#ctx0" brushRef="#br0" timeOffset="4785.02">6152 1971 0,'0'0'15,"0"27"1,0-14-16,0 0 16,0 0-1,0 1 1,13-1-1,0-26 1,0-1 0,0 14-16,-13-13 15,14 13-15,-1 0 0,0-13 16,0 13-16,1 0 16,-1 0-1,0 13-15,0-13 16,1 13-1,-1-13 1</inkml:trace>
  <inkml:trace contextRef="#ctx0" brushRef="#br0" timeOffset="5165.51">6496 1918 0,'-40'-13'15,"27"13"1,13 13 0,-14-13-1,28 27 1,-1-14-16,-13 13 16,13-12-16,-13-1 0,0 13 15,0-12 1,-13 12-1,0-26-15,13 13 16,-14-13 0,1 0-16,40-13 15,-1-13 1,-13 12-16,1 1 16,12 0-16,-13 0 0,0-1 15,1 14-15,-1-13 0,0 13 16,-13-13-16,13 13 0,1 0 0,-1 0 15</inkml:trace>
  <inkml:trace contextRef="#ctx0" brushRef="#br0" timeOffset="5703.75">3969 2699 0,'344'-80'0,"-278"67"15,185-27 1,-79 14-16,13 0 16,-105 12-16,12 14 0,-12-13 15,-14 13-15,13-13 0,-39 13 0,13 0 16,-13 0-16,-14-13 0,-13 13 0,0 0 0,1 0 15,-1 0-15,0 0 32,-105 26-17</inkml:trace>
  <inkml:trace contextRef="#ctx0" brushRef="#br0" timeOffset="5998.79">4471 2752 0,'27'0'0,"-1"0"15,1-14-15,132-12 16,-93 0-16,13 12 0,0 1 16,1 13-16,145-40 15,-14 14 1,-158 13-16,0-1 0,0 14 0,-13-13 15,0 13-15,-14 0 0,0 0 0,-12-13 16,-1 13-16,13 0 0,-12 0 16,-1-13-16,0 13 0,0-13 15,-39 13 17,-1 0-17</inkml:trace>
  <inkml:trace contextRef="#ctx0" brushRef="#br0" timeOffset="11044.96">2910 3863 0,'-13'-13'16,"0"13"-1,0 0-15,0 0 16,-1 0-16,-12 0 0,13 0 0,-1 13 15,1-13-15,-13 0 0,12 13 0,1-13 16,0 13-16,0-13 0,0 0 16,-1 14-16,1-14 0,-13 26 15,26-13 1,0 1 0,13 12-1,0-26-15,0 13 0,1-13 0,-1 13 16,0-13-16,27 27 15,-27-14-15,0 14 16,0-27 0,-13 26-1,-13-26-15,0 13 0,13 1 0,-13-14 16,-14 13-16,14-13 0,0 13 16,0-13-16,-1 13 0,1-13 0,-13 0 15,12 0-15,1 0 16,0 0-16,0 13 0,-1-13 15,1 0-15,0 0 16</inkml:trace>
  <inkml:trace contextRef="#ctx0" brushRef="#br0" timeOffset="11695.71">3016 3969 0,'-26'0'16,"13"-13"-1,-1 13-15,1 13 0,0-13 0,13 13 16,-13-13-16,-14 26 16,27-12-16,-13-14 0,13 13 15,-13 0-15,13 0 16,0 1-16,0-1 16,0 0-16,13 14 15,0-14 1,14-13-1,-27-13-15,13 13 16,0-14 0,0 1-16,-13 0 0,14-14 15,-14 14-15,13 13 16,-13-13 0,13 26 15,-13 0-16,13 14 1,0-14 0,1 0-16,-1-13 15</inkml:trace>
  <inkml:trace contextRef="#ctx0" brushRef="#br0" timeOffset="12324.93">3175 3969 0,'0'26'32,"0"1"-17,0-14-15,0 0 32,0 0-17,13 1-15,-13-41 47,13 27-47,-13-13 16,14 0-16,-1-1 15,0 14 1,0 0 0,1 14-16,-1-14 15,0 13 1,0 0-16,-13 0 15,14-26 32,-1 0-31,0 0-16,0-1 16,0 14-1,1 0 1,-1 0-16,0 14 15,0-14-15,1 13 16,-1 0-16,-13 0 16,13 1-1</inkml:trace>
  <inkml:trace contextRef="#ctx0" brushRef="#br0" timeOffset="12869.12">3492 3836 0,'0'-13'0,"-13"40"15,13-14-15,0 27 16,-13-27-16,13 13 0,0-12 0,0 12 16,0 0-16,0 1 0,-13-1 15,13 14-15,0-13 0,0-1 0,0 0 16,0-12-16,0 12 0,13-13 16,-13 14-16,0-14 0,0 0 0,0 0 15,0 1-15,0-1 0,0 0 16,0 0-16,0 1 15,0-1-15,13-40 47,0-39-31,-13 40-16,14-1 0,-1-12 16,-13 12-16,13 1 0,0 13 15,-13-14-15,14 14 0,-1 0 0,-13-1 16,13 1-16,0 0 0,1 13 15,-1 0 1,-13 26 0,0-12-16,0-1 15,-13 0-15,-1 0 16,14 1-16,-13-14 0,0 13 16,0-13-1</inkml:trace>
  <inkml:trace contextRef="#ctx0" brushRef="#br0" timeOffset="13365.18">3664 3836 0,'14'-13'0,"-14"40"32,0-1-17,0-13-15,-14 1 16,14-1-16,0 0 0,0 0 16,0 27-16,-13-27 0,13 0 15,0 1-15,0-1 0,0 0 16,0 14-16,0-14 15,0 0-15,13-13 0,-13 13 0,14-13 16,-1 0-16,13 0 16,-12 0-16,-1 0 15,0-13-15,27 0 0,-27 0 16,0-1-16,0 1 0,1 13 16,-1-13-16,-13 0 0,13 13 0,-13-14 15,13 1-15,-13 0 16,-13 39 15,13-12-31,-13 12 31,26 1-15,0-27 0,1 0-16,-1 13 15</inkml:trace>
  <inkml:trace contextRef="#ctx0" brushRef="#br0" timeOffset="13758.28">4286 3717 0,'0'40'15,"0"-27"1,0 53-16,0-39 16,0-1-16,0 1 0,0-1 0,0 54 15,0-67 1,0 27-16,0-27 0,0 13 16,0-12-1,0-1-15</inkml:trace>
  <inkml:trace contextRef="#ctx0" brushRef="#br0" timeOffset="14015.02">4405 3757 0,'0'-26'0,"0"12"16,0 54-16,0-93 0,0 40 15,0 39 16,0 27-15,-13-26-16,13 26 16,0-27-16,0 1 0,0-1 15,-13 14-15,13-14 0,0-13 16,0 27-16,0-27 16,0 1-16,0-1 0,13 0 15,-13 0-15,13-13 16</inkml:trace>
  <inkml:trace contextRef="#ctx0" brushRef="#br0" timeOffset="14276.6">4075 4008 0,'26'-26'16,"-13"13"-16,1 0 0,-1 13 15,13-14-15,1 14 0,-1-13 0,-13 0 16,14 13-16,-1-13 0,1-1 16,-1 14-16,1-13 0,-1 13 0,1 0 15,-14-13-15,13 13 0,-13 0 16,14 0-16,-14 0 0</inkml:trace>
  <inkml:trace contextRef="#ctx0" brushRef="#br0" timeOffset="14473.87">4101 4048 0,'40'0'16,"-27"0"-16,13-13 0,-12 13 0,12 0 16,14-13-16,-1 13 0,-12-14 15,-1 14-15,14 0 0,-13-13 16,-1 13-16,0 0 0,-12-13 0,12 13 0</inkml:trace>
  <inkml:trace contextRef="#ctx0" brushRef="#br0" timeOffset="15438.32">3413 4564 0,'0'27'31,"-13"-14"-31,13 13 0,-13-13 15,13 1-15,0-1 0,-14 27 16,14-27 0,0 13-16,0-13 0</inkml:trace>
  <inkml:trace contextRef="#ctx0" brushRef="#br0" timeOffset="16253.05">3254 5186 0,'14'-13'15,"12"13"1,1 0 0,-14 13-16,0 0 0,0-13 15,0 13-15,-13 1 16,-13 12-16,13-13 0,-39 40 16,25-26-1,-12-1-15,26-13 0,-13-13 16,-1 14-16,14-1 0,-13-13 15,13 13-15,-13-13 0,39 0 47,-12 0-47,-1 0 0,13 0 16,14-13-16,-27 13 16,0 0-16,1 0 15,12 0-15,-13 0 0</inkml:trace>
  <inkml:trace contextRef="#ctx0" brushRef="#br0" timeOffset="16866.12">3228 5794 0,'40'-13'15,"-27"26"-15,0-13 0,-13 14 16,0-1 0,0 0-16,-13 0 15,0 1 1,-1-1-16,14 0 16,0 0-16,0 0 31,14 1-31,-14-1 0,13-13 15,0 13 1,0 0-16,-13 1 0,0-1 16,-13 0-1,13 0-15,-13-13 0,0 13 16,-1-13-16,1 14 16,-13-1-16,12-13 0,14 13 15</inkml:trace>
  <inkml:trace contextRef="#ctx0" brushRef="#br0" timeOffset="17409.58">3294 6668 0,'-26'26'31,"-1"14"-15,1-27-16,26 0 15,-14 0-15,1 1 0,0 12 16,0-13-16,0 0 16,13 1-1,0-1-15,13-13 16,0 13-16,0-13 16,0 0-16,1 0 0,-1 13 15,13-13-15,1-13 16,-1 13-16,-12 0 0,12-13 15,0 13-15</inkml:trace>
  <inkml:trace contextRef="#ctx0" brushRef="#br0" timeOffset="17609.38">3347 6654 0,'-40'53'0,"40"-26"16,0-14-16,0 13 16,-13 27-16,0-13 15,0 66-15,13-93 16,0 13-16,0 27 0,0-13 16</inkml:trace>
  <inkml:trace contextRef="#ctx0" brushRef="#br0" timeOffset="18321.91">3149 7435 0,'0'-13'16,"13"13"-16,0 0 16,-13-14-16,13 14 15,-26 14 32,0-14-47,0 0 0,-1 13 16,1-13-16,0 13 15,-14 0 1,41 0 0,-1 14-1,0-27 1,-13 13-16,13-13 0,1 13 0,-1 1 16,0-1-1,-13 0-15,-13 0 16,0-13-16,13 14 0,-27-1 15,14-13 1,0 13-16,-14-13 0,14 13 0,0-13 16,-1 13-1,1-13-15,0 14 0</inkml:trace>
  <inkml:trace contextRef="#ctx0" brushRef="#br0" timeOffset="18878.86">3175 8030 0,'-40'66'15,"27"-39"-15,0 12 16,0 1-16,-1 26 16,14-39-16,0-1 0,14 1 15,-1 12-15,-13-25 0,13-1 0,0 0 16,-13 0-16,14-13 15,-1 13-15,0-13 0,0-13 32,-26 0-32,-40-13 31,40 26-31,-14 0 0,-12 0 16,25 0-16,-12 0 0,13 0 15,-27 13-15</inkml:trace>
  <inkml:trace contextRef="#ctx0" brushRef="#br0" timeOffset="21835.03">5834 3519 0,'0'26'15,"0"1"1,0-1-16,0-12 0,0 12 15,-13-13-15,13 0 16,0 14-16,0-14 0,-13 14 0,13-14 16,0 0-16,-14 0 0,14 1 0,0-1 15,-13 0-15,13 0 0</inkml:trace>
  <inkml:trace contextRef="#ctx0" brushRef="#br0" timeOffset="22204.34">5768 3479 0,'0'-26'0,"13"13"16,0 13-16,27 0 15,-27 0-15,14 13 16,-14 0-16,0-13 0,0 13 0,1 0 16,-1 1-16,-13-1 0,13 0 15,-13 0-15,0 14 0,0-14 16,0 0-16,-13 1 0,0-1 0,-1-13 15,1 13-15,0 0 16,13 0-16,-13-13 0,-27 27 16,27-27-16,13 13 0,-13-13 15</inkml:trace>
  <inkml:trace contextRef="#ctx0" brushRef="#br0" timeOffset="22491.84">6112 3426 0,'13'14'0,"-13"-1"0,0 26 15,0-25-15,0 12 16,0-13-16,0 14 0,0-1 0,0 1 16,0-1-16,-13 1 0,13-1 15,0 1-15,0-14 0,0 13 0,-13-12 16,13-1-16,0 0 0,0 0 16,0 0-16,0 1 15</inkml:trace>
  <inkml:trace contextRef="#ctx0" brushRef="#br0" timeOffset="23405.02">6390 3651 0,'-14'0'0,"28"0"0,-54 13 31,27-13-31,0 14 0,-1-1 16,1 0-16,13 0 0,-13 1 0,0-1 15,13 0-15,0 0 0,-14 1 16,14-1-16,0 0 0,0 0 15,14 0 1,-1-13 0,0 0-16,0 0 15,-13-13-15,14 13 0,-1-13 16,0 0-16,0 0 16,-13-1-16,13 14 15,-13-13-15,0 0 0,14 13 16,-14-13-16,13-1 15,-13 28 17,13 12-17,-13-13 1,13 1 15,1-14-31,12 0 31,-13-14-15,1 14 0,-14-13-1,13 13-15,0 0 16,0 13-16,0 1 31,-13-1-15,14-13-1,-14 13 1,13-13-16,13-13 31,-12 0-31,-1-1 16,0 14-16,0 0 16,1 0-1,12 0 1,-26 14-16,13-14 15,0 0-15</inkml:trace>
  <inkml:trace contextRef="#ctx0" brushRef="#br0" timeOffset="23617.66">6839 3559 0,'0'-40'16,"14"27"-16,-28 39 31,14 1-15,0-14-16,0 0 0,0 14 15,0-14-15,0 0 0,-13 13 0,13 1 16,0-14 0,0 14-16,0-14 0,0 0 0</inkml:trace>
  <inkml:trace contextRef="#ctx0" brushRef="#br0" timeOffset="23831.24">6720 3704 0,'0'0'16,"14"-13"-1,25 13 1,-25 0-16,12-13 16,-13 13-16,0 0 0,14-14 15,-1 14 1</inkml:trace>
  <inkml:trace contextRef="#ctx0" brushRef="#br0" timeOffset="24152.78">7514 3268 0,'0'0'0,"-13"39"31,13-12-31,0-1 16,0 1-16,0-14 0,0 13 16,0 27-16,0-40 0,0 14 15,0-1-15,0-12 0,0-1 16,0 27-16,0-27 0,0 0 15,0 0-15</inkml:trace>
  <inkml:trace contextRef="#ctx0" brushRef="#br0" timeOffset="24372.58">7316 3598 0,'-14'-13'0,"54"13"16,-27 0-1,1-13-15,12 13 0,1 0 16,-1 0-16,-13 0 0,14-13 16,-14 13-16,0 0 0,14 0 0,-14 0 15,27 0-15</inkml:trace>
  <inkml:trace contextRef="#ctx0" brushRef="#br0" timeOffset="24845.91">7739 3466 0,'-26'0'15,"12"13"-15,14 0 16,-13 1-16,13-1 16,0 0-1,0 14-15,13-14 16,1-13-16,12 0 16,-13 0-16,1 0 15,12-13-15,-13-1 16,14 1-16,-14 0 15,0 0-15,0 13 16,-13-14 0,14 28-16,-14-1 15,0 0-15,0 0 16,13 14-16,-13 26 0,0-27 16,13 14-16,-13 13 0,13-27 15,-13 1-15,-13 26 16,0-14-16,-27 1 15,14-40-15,-1 13 16,1-13-16,13 0 16,-1 0-16,1 0 0,0 0 0,0-13 15,-1 0-15,1 0 0,13-1 16</inkml:trace>
  <inkml:trace contextRef="#ctx0" brushRef="#br0" timeOffset="25474.37">8070 3347 0,'13'26'16,"-13"-12"-1,0-1-15,0 40 16,0 0-16,0 0 15,0-27-15,0 1 0,0 25 16,0 1-16,0-39 16,0 12-16,0-13 0,0 14 15,0-14-15,0 0 16,0 0 0,0-39 15,0 13-31,0 0 0,13-14 15,-13-13-15,27-13 0,-27 40 16,13-13-16,13-14 16,-12 27-1,-14 0-15,26 13 0,-13 0 16,1 13 0,-14 13-1,0-12-15,13 12 16,-13-13-1,13 0-15,0-13 0,0 0 16,1 0-16,25 0 16,-25-13-16,12 13 0,14-26 15,-1-1-15,1-12 16,-27 25-16,-13 1 0,14 0 16,-1-14-16,-13 14 15,-13 0 1,-1 26-16,-12 0 15,13 14 1,-1-14-16,14 14 16,0-14-16,14 0 15,-14 0-15,13-13 0,0 14 16,0-14-16,1 13 0,-1-13 16</inkml:trace>
  <inkml:trace contextRef="#ctx0" brushRef="#br0" timeOffset="26640.22">6734 4260 0,'-14'66'0,"14"-53"0,0 14 16,0-14-16,-13 0 0,13 0 0,0 14 15,-13-14-15,13 13 16,0-12-16,-13-14 0,13 13 0,0 0 16,-13-13-1,13-26 1,13 12 0,-13 1-16,0 0 0,0-13 15,13-1-15,13-39 16,-12 26-16,-1 1 15,0 25-15,0 1 0,-13 0 16,27 13 0,-27 13-16,13 0 0,-13 14 15,13-14-15,-13 13 16,0-12-16,0-1 0,0 13 16,13-12-16,-13 12 0,0 14 15,0-27-15,0 0 0,0 0 16</inkml:trace>
  <inkml:trace contextRef="#ctx0" brushRef="#br0" timeOffset="26827.64">6668 4405 0,'13'-13'16,"13"13"-1,-13 0-15,14 0 0,13 0 16,-1 0-16,-26 0 16,1 0-16,12 0 0,1 0 15</inkml:trace>
  <inkml:trace contextRef="#ctx0" brushRef="#br0" timeOffset="27369.75">6548 5001 0,'-13'26'31,"0"1"-15,13-14-16,-13 26 15,13-25-15,0 12 0,-13-13 16,13 14-16,-14-14 0,14 0 0,-13 1 16,13-1-16,0 0 15,-13 13-15</inkml:trace>
  <inkml:trace contextRef="#ctx0" brushRef="#br0" timeOffset="27773.42">6548 4961 0,'27'-40'0,"-14"27"0,0 13 15,1 13-15,-1-13 16,0 27-16,0-14 16,14 40-1,-27-40-15,0 0 0,0 1 16,0 12-16,0-13 0,0 0 16,0 1-16,0 12 0,0-13 15,-13 1-15,13-1 0,0 0 0,0 0 16,0 14-16,-14-27 15,14 13-15</inkml:trace>
  <inkml:trace contextRef="#ctx0" brushRef="#br0" timeOffset="28440.81">6509 5159 0,'26'-13'16,"-13"13"-16,1 0 15,-1 0-15,13-13 16,-12 13-16,25 0 0,-25-13 16,-1 13-16,0 0 0,0 0 0</inkml:trace>
  <inkml:trace contextRef="#ctx0" brushRef="#br0" timeOffset="28905.22">6482 5662 0,'0'27'31,"-13"12"-15,13-26 0,-13 1-16,13 12 0,-13-13 0,13 1 15,-14-1-15,14 0 0,0 0 16,0 1-16,-13-1 0,13 0 15,-13 0-15</inkml:trace>
  <inkml:trace contextRef="#ctx0" brushRef="#br0" timeOffset="29589.82">6469 5728 0,'13'-13'15,"1"13"-15,-1 13 47,-26 0-31,13 1-1,0-1 1,13 0 0,0-13-16,0 13 15,-13 1-15,13-14 16,-13 26-1,14-26-15,-28 27 16,1-27-16,0 13 16,0 0-16,0 0 0,-14-13 15,14 13-15,0-13 0,-1 14 0,1-14 16,13 13-16</inkml:trace>
  <inkml:trace contextRef="#ctx0" brushRef="#br0" timeOffset="30028.95">6416 6244 0,'-13'27'32,"13"-1"-17,0-13-15,0 1 16,0-1-16,0 13 0,-13-13 0,13 1 0,0-1 16,0 0-16,0 0 0,0 1 0,-14-14 15,14 26 1,0-13-16</inkml:trace>
  <inkml:trace contextRef="#ctx0" brushRef="#br0" timeOffset="30562.67">6456 6284 0,'26'-13'16,"-12"13"-16,-1 13 15,-13 0 1,0 0-16,0 1 15,-13-14-15,13 13 0,-14 0 16,14 0 0,0 0-1,14-13-15,-14 14 16,0-1 0,13-13-16,-13 13 0,13 0 15,-13 1-15,-13 12 16,-14 1-1,14-27 1,0 13-16,0 0 0,-14 0 16</inkml:trace>
  <inkml:trace contextRef="#ctx0" brushRef="#br0" timeOffset="31258.42">6443 6985 0,'-14'0'0,"-12"13"0,-27 27 31,40-27-31,0 0 0,-1 1 16,14-1-16,-13 0 0,13 0 0,-13-13 15,13 14-15,0-1 0,13 0 16,0 0-16,1-13 16,-1 13-16,0-13 0,13 0 0,-12 0 15,-1 0-15,13 14 16,-12-14-16</inkml:trace>
  <inkml:trace contextRef="#ctx0" brushRef="#br0" timeOffset="31941.82">6403 7739 0,'13'0'0,"-26"27"47,13-14-47,0 0 0,-13 0 16,13 14-16,-14-1 0,14-13 15,0 1-15,-13 12 0,13-13 0,-13 1 16,13-1-16,0 0 0,0 0 0,0 0 16,0 1-16,-13-14 0</inkml:trace>
  <inkml:trace contextRef="#ctx0" brushRef="#br0" timeOffset="32240.63">6337 7713 0,'53'-27'15,"-40"40"-15,0-13 0,0 0 0,1 14 16,-1-14-16,0 13 0,0 0 15,1 0-15,-1 1 0,0 12 0,0-13 16,-13 0-16,0 1 0,0 12 0,0-13 16,0 14-16,-13-1 0,0-12 15,0 12-15,-14 0 0,1 1 0,-1-14 16,1 14-16,-1-14 0,14-13 16,-13 13-16,12 0 0,-12-13 15,13 0-15</inkml:trace>
  <inkml:trace contextRef="#ctx0" brushRef="#br0" timeOffset="38409.51">10041 3268 0,'-13'26'0,"13"1"0,-14-14 0,14 0 16,-13 0-16,13 0 0,0 1 15,-13-1-15,13 0 0,-13 0 0,13 1 16,0-1-16,-13 0 0,13 0 15,0 0-15,-14-13 0</inkml:trace>
  <inkml:trace contextRef="#ctx0" brushRef="#br0" timeOffset="38800.68">9962 3135 0,'13'-26'0,"0"13"0,-39 52 0,52-92 0,-13 53 15,0 0-15,1-13 0,-1 13 16,0 0-16,0 0 16,1 13-16,-1-13 0,0 0 0,0 14 15,-13-1-15,14 0 0,-1 0 16,-13 1-16,0-1 0,-13 0 16,13 0-16,0 0 0,-14 1 15,14-1-15,-13 0 0,13 0 0,-13-13 16,0 14-16,13-1 0,-14-13 15,14 13-15,-13-13 0,13 13 0</inkml:trace>
  <inkml:trace contextRef="#ctx0" brushRef="#br0" timeOffset="39278.51">10200 3453 0,'26'-13'15,"-26"-1"-15,27 1 16,-27 0-16,13 13 0,-13-13 16,13 13-16,-13-14 0,0 1 15,13 13-15,-13-13 0,0 0 31,-26 26 1,13 0-32,13 0 15,-14 14-15,14-1 16,0-12-16,0-1 16,0 0-16,0 0 0,14-13 15,-14 13-15,13 1 0,0-14 0,0 13 16,14-13-16,-14 0 15,0 0-15</inkml:trace>
  <inkml:trace contextRef="#ctx0" brushRef="#br0" timeOffset="39549.06">10530 3334 0,'-13'0'0,"0"13"15,0 0 1,13 0-16,0 1 0,0-1 16,0 0-16,0 0 0,0 1 15,13-1-15,-26 0 16,13 0-16,0 0 0,0 1 0,-13-1 16,13 0-16,-14 0 0,1 1 15,0-1-15,0 0 16,-1-13-16,1 0 31</inkml:trace>
  <inkml:trace contextRef="#ctx0" brushRef="#br0" timeOffset="39786.22">10649 3228 0,'0'-27'16,"0"54"-16,14-27 16,-14 13-1,0 27 1,0-14-16,0 1 0,0 12 16,0-12-16,0-1 15,0-12-15,0 12 0,0 0 16,0 1-16,0-14 0,0 0 0,13 1 15,-13-1-15</inkml:trace>
  <inkml:trace contextRef="#ctx0" brushRef="#br0" timeOffset="40133.98">10597 3492 0,'0'-13'16,"26"13"15,-13 0-31,14-13 16,-14 13-16,0 0 0,14-13 16,-14 13-16,0-13 15,0 13-15,1-14 0,-1 14 0,0 0 16,0-13-16,0 13 15,1 0 1,-1 0-16,-13 13 16,0 14-1,0-1 1,0-13-16,0 1 0,0-1 16,0 0-1,0 0 1</inkml:trace>
  <inkml:trace contextRef="#ctx0" brushRef="#br0" timeOffset="40266.15">10874 3360 0,'0'-13'16</inkml:trace>
  <inkml:trace contextRef="#ctx0" brushRef="#br0" timeOffset="40792.74">11020 3373 0,'-27'27'0,"27"-14"16,-13-13-16,13 27 15,-13-14-15,13 0 16,13 0-16,-13 0 0,13-13 15,1 14-15,-1-14 16,0 0-16,0-14 0,1 14 16,-1 0-16,0-13 0,0 13 0,0 0 15,1-13-15,-1 13 16,0 0-16,0 0 31,-13 13-15,14-13-16,-14 13 0,0 1 0,0-1 15,0 0 1</inkml:trace>
  <inkml:trace contextRef="#ctx0" brushRef="#br0" timeOffset="40970.23">11245 3241 0</inkml:trace>
  <inkml:trace contextRef="#ctx0" brushRef="#br0" timeOffset="41567.22">11417 3201 0,'0'0'0,"0"14"15,0-1-15,0 13 16,-13 14-1,13-27-15,0 1 0,0 12 0,0-13 16,-14 14-16,14-14 0,0 0 0,0 0 16,0 1-16,0-1 15,0 0-15,14 0 0,-14 0 16,13-13-16,0 14 16,0-28-1,0 1 1,-13 0-1,0 0 1,0 0 0,-13 13-16,0 0 15,0 13-15,0-13 16,-1 13-16,1 0 0,0-13 16,13 13-16,-13 1 0,13-1 15,-14-13-15,14 13 16,14-13-1,-1 0-15,0 0 0,0 0 16,1 0-16,-1-13 16,13 0-16,1-1 0,-14 1 15,0 13-15,0-13 0,1 0 16,-1 13-16,-13-13 0,13 13 16,0 0 15,-13 26-16,0-13-15,14 0 16,-1-13 0,-13 14-16</inkml:trace>
  <inkml:trace contextRef="#ctx0" brushRef="#br0" timeOffset="42159.07">11906 3268 0,'-53'13'16,"53"0"-16,-13-13 0,13 13 0,-13 1 0,13-1 15,-13 0-15,13 0 0,0 0 16,0 14 0,0-14-16,13 0 15,0-13 1,14 0-16,-14 0 15,0-13-15,0 13 0,-13-13 16,13 13-16,-13-13 0,14-1 16,-1 14-16,-13-13 0,13 13 15,0 13 1,-13 1 0,0-1-16,0 0 15,0 0-15,0 1 0,0-1 0,0 0 16,14 0-16,-14 0 15,13 1-15</inkml:trace>
  <inkml:trace contextRef="#ctx0" brushRef="#br0" timeOffset="42576.2">12396 3149 0,'0'0'32,"-14"13"-32,1 0 0,13 0 15,-13 0-15,13 1 0,-13 12 0,0-13 0,13 1 16,-14 12-16,14-13 16,0 14-16,-13-14 0,13 0 0,0 0 15,0 14-15,0-14 16,0 0-16,13-26 47,-26 0-32,0 0 1,-14 26-16,14-13 16,-26 26-1,25-26-15,1 14 0,13-1 16,-13 0-16,0 0 0,13 0 15,0 1-15,13 12 16,0-26 0,0 0-16,1 0 15,-1 0-15</inkml:trace>
  <inkml:trace contextRef="#ctx0" brushRef="#br0" timeOffset="42979.04">12674 3135 0,'-14'14'16,"1"-1"-16,-27 53 16,27-53-16,-13 40 15,12-13-15,1-27 16,0 27-1,13-27-15,0 13 16,26-39 31,-39 0-31,-26 13-1,39 13-15,-14-13 16,1 13-16,0-13 0,13 14 0,-13-14 15,-1 13-15,14 0 0,-13-13 16,13 13-16,0 0 16,0 1-16,13-1 15,27-13 1,-27 0-16,27 0 16</inkml:trace>
  <inkml:trace contextRef="#ctx0" brushRef="#br0" timeOffset="43652.82">12793 3426 0,'0'-13'15,"0"0"1,-27 13 15,27 13-15,-13-13-16,0 13 15,-1 1 1,14-1 0,14 0-1,-1-26 1,0 13-16,27-13 16,0 13-1,-14-14 1,-13 14-1,0 14 1,1-1 15,-1-13-15,0-13-16,0 13 0,1 0 0,-1-14 16,0 14-16,0-13 0,1 0 0,-1 0 15,0 13-15,0-14 0,0 1 16,1-13-16,-14 13 0,13-14 0,13-13 15,-26 27-15,14 0 0,-14 0 16,0-1-16,13 1 16,-13 0-16,-27 26 15,27 0-15,-13 14 16,0-14-16,0 0 16,13 14-16,0-14 0,-14 0 0,14 1 15,0-1-15,0 0 16,0 0-16,14-13 0,-14 13 15</inkml:trace>
  <inkml:trace contextRef="#ctx0" brushRef="#br0" timeOffset="45120.11">10610 3770 0,'-40'40'15,"40"-27"-15,-13 0 0,13 14 16,-13-14-16,13 0 0,0 14 0,0-14 16,-14 14-16,14-14 0,0 0 15,0 0-15,0 0 0,0 1 16,0 12-16,14-13 0,-1 1 16,0-14-16,-13 13 15</inkml:trace>
  <inkml:trace contextRef="#ctx0" brushRef="#br0" timeOffset="45773.19">10742 3836 0,'-13'27'0,"0"-27"15,13 13-15,0 0 0,0 1 16,-14-1-16,14 0 16,0 0-16,-13 1 15,40-28 32,-14 14-31,-13-13-16,13 0 15,0 13-15,1 0 16,-1 13 0,-13 0 15,13 1-15,-26-1-16,26-13 15,0-13 32,-13-1-31,27 1-1,-14 13 1,0 0 0,0 13-16,1 1 15,-1-1 1</inkml:trace>
  <inkml:trace contextRef="#ctx0" brushRef="#br0" timeOffset="46692.14">11112 3863 0,'0'-13'31,"-13"13"-16,0 0-15,0 0 16,0 0 0,-14 0-1,1 13 1,12 0 0,1 0-1,13 1 1,13-1 15,1-13-31,-1 0 16,0 13-1,0-13 1,1 0-16,-14 13 0,13-13 0,-13 14 16,13-14-16,0 39 15,-13-26-15,0 14 16,-26 13-1,-14 13 1,27-40-16,0 0 0,-14 13 31,14-26-31,0 0 16,0 0 0,13-13-1,26-13 1,-26 13-16,26-1 15,-12 1-15,-1 0 16,0 13-16,0-13 0,1-1 16,12 1-16,-13 13 0,0-13 15</inkml:trace>
  <inkml:trace contextRef="#ctx0" brushRef="#br0" timeOffset="47596">11390 3770 0,'0'-13'0,"0"40"32,0-1-17,-13-13-15,13 14 16,0-14-16,-13 13 0,13-12 0,-13 39 15,-1-40-15,14 0 16,-13 13-16,13-12 0,0-1 0,-13 0 16,13 0-16,0 1 0,0-1 15,0 0 1</inkml:trace>
  <inkml:trace contextRef="#ctx0" brushRef="#br0" timeOffset="48118.96">11576 3836 0,'0'27'47,"0"-1"-32,-14-12-15,14-1 16,0 0-16,-13 0 16,13 1-16,0-1 0,-13 0 0,13 0 15,0 0 1,0 1-1,13-1 1,14-13 0,-14 0-16,0 0 0,0 0 0,14 0 15,-14-13-15,0 13 16,0 0-16,1 0 0,39-14 16,-40 14-16,13 0 15</inkml:trace>
  <inkml:trace contextRef="#ctx0" brushRef="#br0" timeOffset="48539.94">11761 3731 0,'13'-14'0,"13"28"0,1 12 16,-14-13 0,0 14-16,-13-14 0,14 0 0,-1 14 0,0-1 15,-13 1-15,13-1 0,-13-13 16,0 14-16,0-1 0,0 1 16,0-14-16,-13 13 0,13 1 0,0-14 15,-13 14-15,0-14 0,13 0 0,-14 0 16,14 0-16,-13 1 0,0-1 15</inkml:trace>
  <inkml:trace contextRef="#ctx0" brushRef="#br0" timeOffset="49683.81">12224 3823 0,'-13'13'62,"13"1"-62,0 12 16,0-13-1,0 1 1,0-1-16,13-13 16,0 13-1,0-26-15,0 13 16,1 0 0,-1-13-16,0 13 31,0 13-16,1 0 1,-14 0 0,13-13-1,0 0-15,0 0 16,0-13 0,1 0-1,-14 0 1,13-1-16,-13 1 15</inkml:trace>
  <inkml:trace contextRef="#ctx0" brushRef="#br0" timeOffset="50076.77">12634 3823 0,'-13'-13'15,"-1"13"-15,1 13 16,0-13-16,0 13 15,-1 1-15,14-1 16,-13-13 0,13 13-16,13 0 15,1-13 1,-1 0 0,0-13-1,0 26 16,-13 1 1,14-14-17</inkml:trace>
  <inkml:trace contextRef="#ctx0" brushRef="#br0" timeOffset="50467.73">12872 3651 0,'0'-13'0,"-13"39"47,13-12-47,-13-1 15,-1 40 1,14-40-16,0 0 0,0 1 16,0-1-16,0 0 15,0 0-15,0 0 0,14-13 0,-14 14 16,13-14-16,0 13 16,0-13-16,0 0 15,1-13 1,-1 13-16,0 0 15,0 0-15,1 0 16,-1 13 0,0-13-1</inkml:trace>
  <inkml:trace contextRef="#ctx0" brushRef="#br0" timeOffset="50647.07">12766 3757 0,'27'-13'0</inkml:trace>
  <inkml:trace contextRef="#ctx0" brushRef="#br0" timeOffset="51002.05">13110 3704 0,'0'13'15,"0"1"-15,0-1 0,0 0 31,0 0-31,0 1 16,0-1 0,27-26-1,-14-1 1,0 14 0,-13-13-16,13 13 0,-13-13 15,13 13-15</inkml:trace>
  <inkml:trace contextRef="#ctx0" brushRef="#br0" timeOffset="52445.26">11192 4352 0,'-40'14'0,"40"-1"0,-13 0 0,13 0 16,-13 1-16,13-1 0,-14 0 0,14 0 15,0 14-15,-13-14 0,13 0 16,13 0-16,-13 1 0,0-1 16,14 0-16,-1 0 15,0-13-15,0 14 0,1-14 16,-1 0-16,0 0 0,0 0 0,1-14 16,-1 1-16,0 13 0,-13-26 15,0 12-15,0 1 16,0 0-16,0-14 15,-13 14-15,13 0 0,-13 13 0,13-13 16,-14 13-16,1-13 0,0 13 16,0 0-16,-1 0 0,1 13 15</inkml:trace>
  <inkml:trace contextRef="#ctx0" brushRef="#br0" timeOffset="53064.75">10914 4974 0,'-13'40'0,"13"-27"0,0 0 15,0 1-15,-13 12 0,13-13 16,-14 14-16,1-1 0,13-13 15,-13 14-15,13-14 0,0 0 16,0 1-16,-13 12 16,13-13-16</inkml:trace>
  <inkml:trace contextRef="#ctx0" brushRef="#br0" timeOffset="53424.09">10980 5120 0,'0'39'47,"13"-12"-32,1-14-15,-14 0 0,13-13 16,0 0-16,0 14 0,1-14 15,-1 0-15,0 0 0,0 0 16,0-14-16,1 14 0,-14-13 16,13 13-16,-13-13 0,0 0 15,0-1-15,0 1 16,0 0-16,0 0 0,0-1 16,-13 1-16,-1 0 15,1 13-15,0 0 16,-13 13-1</inkml:trace>
  <inkml:trace contextRef="#ctx0" brushRef="#br0" timeOffset="53704.72">11218 5080 0,'0'13'0,"0"0"16,14 14 0,12-1-1,-13-12-15,14-14 16,-1 0 0,-13-14-16,1 14 15,-14-13-15,13 13 16,-13-13-16,0 0 0,-13-14 15,13 14 1,-14 13-16,1-13 0,0 13 16,-14 0-16,14 13 15,0-13-15,0 13 0,0-13 0</inkml:trace>
  <inkml:trace contextRef="#ctx0" brushRef="#br0" timeOffset="54433.91">10927 5556 0,'14'-13'16,"-1"13"0,0 13-16,-13 0 15,13 1-15,-13-1 0,-13-13 16,13 13-16,0 0 0,-13 1 15,0-1-15,-1 0 0,14 0 16,-13 1-16,0-1 0,0 0 0,-1 0 16,1 0-16,0 1 15,0-1 1,39-13 15,1 0-15,-14 0-16,0 0 0,-13-13 15,13 13-15,1 0 0,12 0 16,-13 0-16,0 0 0,1 0 0,-1-14 16,0 14-16</inkml:trace>
  <inkml:trace contextRef="#ctx0" brushRef="#br0" timeOffset="54783.08">11232 5596 0,'-27'0'0,"14"0"31,0 13-31,13 0 0,0 1 31,13-1-31,-13 0 0,0 0 0,13 14 32,-13-14-32,0 0 15,0 0-15,-13 1 0,0-1 16,-1 0-16,14 0 16,-13-13-16,0 14 0,0-14 15,-1 13-15,1-13 16,0 13-16</inkml:trace>
  <inkml:trace contextRef="#ctx0" brushRef="#br0" timeOffset="55070.17">11324 5689 0,'0'26'31,"0"-13"-15,0 0-16,0 1 0,13-14 16,-13 13-16,27 0 15,13-13 1,-40-13-16,13 13 16,13-27-1,-26 14-15,-13-26 16,0 25-1,0 1-15,-1 0 0,1 13 16,0 0-16,0 0 0,-1 0 16,1 13-16,-27 0 15</inkml:trace>
  <inkml:trace contextRef="#ctx0" brushRef="#br0" timeOffset="56123.03">10954 6310 0,'26'-13'0,"-13"13"16,1 0-16,-1 0 15,-13 13-15,0 1 16,-13 12 0,-1-13-1,1 0 1,13 14 0,0-14-1,13 0-15,1 14 16,-1-14-1,-13 0-15,-13 1 16,13-1-16,-14 0 16,1 0-16,-13 0 15,13-13 1,-1 14 0,1-28-1</inkml:trace>
  <inkml:trace contextRef="#ctx0" brushRef="#br0" timeOffset="56428.18">11126 6350 0,'0'-13'0,"-27"39"15,14 14 1,13-27-16,-13 0 0,26 14 15,-13-14 1,13-13-16,0 13 0,1-13 0,-1 14 16,0-28-1,0 14-15,14-13 16,-27 0 0,13 0-1,-26 13-15,13-14 0,-13 1 16,-1 13-1</inkml:trace>
  <inkml:trace contextRef="#ctx0" brushRef="#br0" timeOffset="56664.13">11311 6429 0,'26'14'0,"-12"-1"0,12-26 16,1-1-1,-14 1 17,-26 0-32,13-14 15,-14 14-15,1 13 16,-27 13-1,27-13-15,0 14 16</inkml:trace>
  <inkml:trace contextRef="#ctx0" brushRef="#br0" timeOffset="57231.97">10954 6839 0,'13'0'0,"-26"0"15,39 14-15,-13-14 16,-13 13 0,0 0-16,0 0 15,-13-13-15,13 14 16,-13-1 0,13 0-16,13 14 15,0-27-15,1 13 16,-1 13-1,0-26-15,-13 13 0,0 1 16,-13-1 0,13 0-16,-13 0 0,-1-13 0,14 14 15,-26-1-15,13-13 0,0 13 16,-1-13-16,1 0 0,0 0 16</inkml:trace>
  <inkml:trace contextRef="#ctx0" brushRef="#br0" timeOffset="57577.04">11271 6892 0,'-26'0'0,"13"0"15,-1 14-15,1-1 16,0-13-16,13 13 16,0 0-1,0 1 1,13-1-16,-13 0 16,13-13-16,-13 13 0,0 0 15,0 1-15,0-1 16,-13 0-16,0 0 15,13 1-15,-13-14 0,13 13 0,-14-13 16,1 13-16,0 0 16</inkml:trace>
  <inkml:trace contextRef="#ctx0" brushRef="#br0" timeOffset="57851.05">11311 6998 0,'13'13'0,"0"-13"0,-13 14 16,14-1-1,12 0 1,-13 0-16,1-13 16,-1 0-16,0-13 0,0 13 15,0-13-15,1 13 0,-1-13 16,-13-1-16,0 1 15,0 0-15,-13-27 16,13 27 0,-14 13-16,14-13 0,-39 13 15,26 0 1,-14 0-16,14 13 0,0-13 0,-1 13 16</inkml:trace>
  <inkml:trace contextRef="#ctx0" brushRef="#br0" timeOffset="58351.91">10808 7699 0,'-39'40'0,"25"-27"16,14 1-16,-13-14 0,0 13 0,13 0 16,-13 0-16,13 0 15,-14 1-15,28-1 16,-1 0-1,0-13 1,-13 13-16,13-13 0,1 0 0,-1 0 16,13 0-16,1 0 15,-1-13-15,-13 13 16,1 0-16,-1-13 16</inkml:trace>
  <inkml:trace contextRef="#ctx0" brushRef="#br0" timeOffset="58519.68">10941 7739 0,'-27'40'16,"14"-27"-16,0 13 15,13-12-15,0-1 0,0 0 0,-14 0 0,14 1 16,0-1-16,0 0 0</inkml:trace>
  <inkml:trace contextRef="#ctx0" brushRef="#br0" timeOffset="58850.92">11086 7779 0,'-26'13'31,"26"0"-31,0 0 0,-14-13 16,14 14-16,0-1 0,14 0 15,-1 0 1,0-13 0,0 0-16,0-13 15,-13 0-15,14 13 16,-14-13-16,0-1 15,0 1-15,0 0 16,0 0-16,-14 13 16,14-13-16</inkml:trace>
  <inkml:trace contextRef="#ctx0" brushRef="#br0" timeOffset="59086.24">11218 7832 0,'27'13'15,"12"0"1,-25-13-16,-1 0 0,13 0 0,-12-13 16,-1 13-16,13 0 0,-12-13 15,-1 13-15,0-14 0,0 14 0,0-13 16,-13 0-16,0 0 15,-13 0 1,0 13-16,0 0 0,0 0 16,-14 0-16,1 0 0,-1 13 15,1-13-15,-14 13 16</inkml:trace>
  <inkml:trace contextRef="#ctx0" brushRef="#br0" timeOffset="61345.57">14354 2963 0,'0'40'0,"0"-27"0,0 27 16,-14-14-16,14 1 15,0-14-15,0 14 0,-13-1 16,13 0-16,0-12 0,-13-1 0,13 0 15,0 0-15,0 1 0,0-1 16,-13 0-16,13 0 16,26-39 15,1 13-15,-14-1-1,-13 1-15,13 13 0,0 0 16,1 0-16,12 0 31,-13 0-31,0 13 0,1 1 16,-1-1-1,0 0 1,0-13-16</inkml:trace>
  <inkml:trace contextRef="#ctx0" brushRef="#br0" timeOffset="61775.55">14618 3241 0,'27'-53'15,"-27"40"1,0 0-16,-14 26 47,14 0-47,-13 0 15,26 14 1,1-27 0,-1 13-16,27-13 15,-1-13 1,-25 13-1,-14-13-15,13 13 0,0 0 0,-13-14 16,13 14-16,0-13 16,1 26 15,-1-13-31,-13 14 16,0-1-16,0 0 15,13-13-15,-13 13 16</inkml:trace>
  <inkml:trace contextRef="#ctx0" brushRef="#br0" timeOffset="61901.03">14896 3056 0</inkml:trace>
  <inkml:trace contextRef="#ctx0" brushRef="#br0" timeOffset="62372.33">15028 3122 0,'-26'0'0,"-14"13"15,40 1-15,-13-14 16,0 13-16,-1-13 0,1 26 16,0-13 15,39-13-15,-12 0-16,-1 0 0,0 0 15,0 0-15,14 14 16,-1-1-1,-26 0-15,14-13 16,-14 13-16,0 1 0,0 25 16,0-25-16,-14 12 15,1-13-15,13 0 0,-13 1 16,13-1-16,-13 0 0,-1 0 16,1 1-16,0-14 15,0 0-15</inkml:trace>
  <inkml:trace contextRef="#ctx0" brushRef="#br0" timeOffset="62734.91">15174 2950 0,'13'13'16,"-26"1"-16,13-1 0,0 0 15,0 0-15,0 0 0,0 14 0,-13-14 0,13 0 16,0 1-16,0-1 0,0 0 16,0 0-16,0 1 0,0-1 15,0 0-15,0 0 16,13 0-1,0-13 1,0 0-16,1 0 16,-1 14-16,0-14 15,0 0-15,0 13 0,1-13 16,12-13 0,-13 13-16</inkml:trace>
  <inkml:trace contextRef="#ctx0" brushRef="#br0" timeOffset="62927.16">15465 2990 0,'13'-53'0,"-13"40"16,0-14-1,-13 67 17,0 13-17,13-40-15,0 13 16,0-12-16,-14 39 15,14-27-15,0-13 0,0 1 0,0-1 16,0 0-16</inkml:trace>
  <inkml:trace contextRef="#ctx0" brushRef="#br0" timeOffset="63124.06">15359 3096 0,'27'0'31,"-14"-14"-31,0 14 0,0 0 16,14 0-16,-1 0 0,-13 0 0,14 0 16,-14-13-16,14 13 0,-14 0 15,0 0-15</inkml:trace>
  <inkml:trace contextRef="#ctx0" brushRef="#br0" timeOffset="64920.44">14711 3532 0,'-53'27'0,"53"-14"0,-13 0 16,-1 0-16,14 1 0,-13 12 16,13-13-16,-13 14 15,13-14-15,13 0 0,-13 0 16,0 1-16,13-14 0,1 13 15,-1 0-15,13-13 16,1 13-16</inkml:trace>
  <inkml:trace contextRef="#ctx0" brushRef="#br0" timeOffset="65170.08">14989 3585 0,'-14'0'0,"1"0"16,0 13 0,-14 1-16,14-1 15,13 0-15,-13 0 0,0 0 16,13 1-16,0-1 16,0 0-16,0 0 0,0 1 15,0-1-15,13-13 16,0 13-16,0-13 0,1 13 15,-1-13-15,0 0 16</inkml:trace>
  <inkml:trace contextRef="#ctx0" brushRef="#br0" timeOffset="65731.99">15121 3638 0,'0'-13'0,"-13"52"46,13-25-30,-14-1 0,28-13 31,12 0-32,-13-13 1,1 13-1,-1 0 1,0 13 0,0-13-16,1 13 47,-1-26-32,0 13 16,0-13-15,0 13-16,1 13 16,-1-13-1,13 0 1</inkml:trace>
  <inkml:trace contextRef="#ctx0" brushRef="#br0" timeOffset="66013.98">15372 3400 0,'14'0'15,"-28"0"-15,67 26 16,-40-12-16,1-1 0,-14 0 0,13 0 16,0 14-16,0-14 0,1 0 15,-14 14-15,0-14 0,13 13 16,-13-12-16,-13 12 0,13 0 0,-40 41 16,27-41-16,-1 1 15,-12-1-15,13-13 16</inkml:trace>
  <inkml:trace contextRef="#ctx0" brushRef="#br0" timeOffset="69848.07">14737 4286 0,'-13'40'15,"13"-27"-15,0 0 16,-13 14-16,13-1 16,-13-12-16,-1 12 15,14-13-15,0 0 0,-13 14 16,13-14-16</inkml:trace>
  <inkml:trace contextRef="#ctx0" brushRef="#br0" timeOffset="70227.59">14975 4260 0,'27'13'16,"-54"-26"-16,67 26 0,-27 0 15,-13 0-15,0 1 16,0-1-16,-13 0 0,13 0 16,-13 1-16,0-1 0,-1 0 15,1 14-15,0-14 0,13 0 16,-13-13-16,13 13 0,-14 0 15,41-13 1,13 0 0,-27 0-1,0 0-15,14-13 0,-14 13 16,13 0-16,-13 0 0,14 0 0,-14 0 16</inkml:trace>
  <inkml:trace contextRef="#ctx0" brushRef="#br0" timeOffset="70749.89">14618 4908 0,'0'0'15,"-13"26"1,13-12-16,0-1 16,0 0-16,-13 14 0,13-14 0,0 13 15,-13-12-15,13 12 0,-14 0 16,14-12-16,-13-1 0,13 27 16,-13-27-16,13 0 0,0 0 15,0 1-15</inkml:trace>
  <inkml:trace contextRef="#ctx0" brushRef="#br0" timeOffset="71888.83">14936 4934 0,'13'-13'15,"0"13"-15,0 0 0,1 0 32,-1 13-17,-13 1 1,-13-1 0,-1 0 15,28 0-16,-1 1 1,0-1-16,0 13 16,-13-12-1,-13 12 1,0-13 0,13 0-16,-13-13 0,-1 0 0,1 14 15,0-1-15,0-13 0,-1 0 16</inkml:trace>
  <inkml:trace contextRef="#ctx0" brushRef="#br0" timeOffset="72380.95">14711 5689 0,'13'13'16,"-13"0"-1,-13 0-15,0 40 16,13-40-16,-14 1 16,14-1-16,0 0 0,-13 0 0,0 1 15,13-1-15</inkml:trace>
  <inkml:trace contextRef="#ctx0" brushRef="#br0" timeOffset="72551.14">14922 5649 0,'0'40'0,"-13"-27"15,13 0-15,-13 40 16,0-13-16,0-27 0</inkml:trace>
  <inkml:trace contextRef="#ctx0" brushRef="#br0" timeOffset="74289.17">14764 6376 0,'13'-13'0,"-13"0"16,13 13-16,0 0 0,1-13 15,-1 13-15,0 13 16,0-13-16,1 13 16,-14 14-1,0-14-15,-14 0 0,1 14 16,0-14-1,13 0-15,-13-13 0,-1 13 0,14 1 16,-13-1-16,0-13 16,13 13-16,13-13 31,14 0-15,-14 0-16,0 0 0,0 0 15,1 0-15,-1-13 0,0 13 0,0 0 16,0 0-16,14-13 0,-14 13 15,0 0-15,1 0 16</inkml:trace>
  <inkml:trace contextRef="#ctx0" brushRef="#br0" timeOffset="75658.05">15161 6350 0,'13'-13'0,"0"13"15,-39 13 32,12-13-47,-12 13 16,13-13-16,-1 13 15,14 1 1,-13-1 0,26 0-16,-13 0 15,14 14 1,-14-14 0,-27 27-1,1-14 1,13-13-16,-1-13 15,1 14-15</inkml:trace>
  <inkml:trace contextRef="#ctx0" brushRef="#br0" timeOffset="76265.08">14592 7064 0,'13'-13'0,"0"13"16,0 0-16,1 13 15,-1 1 1,0-14-16,-13 13 0,0 13 16,-13-12-16,-27 25 15,14-12 1,13-14-1,-1 0-15,1-13 0,0 13 0,0-13 16,13 14 0,13-14 15,27 0-15,-27 0-16,0 0 0,0 0 15,14-14-15,-14 14 0,13 0 0,-12 0 16,12-13-16,-13 13 0</inkml:trace>
  <inkml:trace contextRef="#ctx0" brushRef="#br0" timeOffset="76564.87">15055 6985 0,'-13'0'0,"-1"13"15,-25 27 1,25-27-16,1 27 16,13-27-16,-13 0 0,13 1 15,0-1-15,0 0 0,0 0 0,13 0 16,-13 1-16,13-14 16,-13 13-16,14-13 0,-1-13 31,-26-1 0,-14 28-15,14-14-16</inkml:trace>
  <inkml:trace contextRef="#ctx0" brushRef="#br0" timeOffset="77578.83">14631 7633 0,'40'13'0,"-27"-13"15,-13 14-15,0-1 0,0 0 16,0 0-16,0 1 15,-13-1-15,0 13 0,0-12 16,13-1-16,-14 0 16,1 0-16,0-13 15,13 13-15,0 1 16,-13-14-16,26 13 31,13-13-15,-12-13-1,-1 13-15,0 0 0,27 0 16,-27 0 0,14-14-16,-14 14 15,0 0-15</inkml:trace>
  <inkml:trace contextRef="#ctx0" brushRef="#br0" timeOffset="77948.84">15055 7660 0,'-27'0'16,"14"0"-1,0 0-15,0 13 16,-1-13-16,1 0 16,13 13-16,0 0 31,13 1-31,27 25 16,-13-12 15,-27-14-31,13-13 0,-13 13 0,0 0 15,0 1-15,-13-14 0,13 13 16,-14 0-16,1-13 0,-13 27 16,12-14-16,-12 0 15,-1 0-15</inkml:trace>
  <inkml:trace contextRef="#ctx0" brushRef="#br0" timeOffset="100581.98">17066 3043 0,'-14'0'0,"14"13"172,0 0-156,0 0-16,0 1 0,14-14 15,-14 13-15,0 0 0,0 0 16,13-13 0,-13 14-16,13-1 15,0-13-15,1 0 16,-1 0 0,0 0-1,0-13-15,0 13 16,1 13-1,-1-13 1,0 13 0,0 0-1,1-13-15,12 0 16,-13 0 0,14-13-1,-27 0-15,13 13 0,-13-13 16,0-1-16,13 1 0,-13 0 15,13 0-15,-13-1 0,0 1 16,14 0 0</inkml:trace>
  <inkml:trace contextRef="#ctx0" brushRef="#br0" timeOffset="100771.05">17515 3082 0,'0'27'0,"0"-14"16,14 0-16,-14 1 15,0-1-15,0 0 0,-14 0 16</inkml:trace>
  <inkml:trace contextRef="#ctx0" brushRef="#br0" timeOffset="100925.84">17555 3016 0,'0'-13'16</inkml:trace>
  <inkml:trace contextRef="#ctx0" brushRef="#br0" timeOffset="101231.23">17793 2805 0,'0'26'0,"0"-13"15,0 1-15,0 12 16,0 0-16,0-12 0,-13-1 16,13 13-16,0 1 0,-13-14 0,13 0 15,0 14-15,-13-14 16,13 0-16,-14 0 0,14 1 0,0-1 0,0 0 16,-13 0-16</inkml:trace>
  <inkml:trace contextRef="#ctx0" brushRef="#br0" timeOffset="101508">17965 2858 0,'0'-14'0,"0"1"15,0 53 1,0-1-1,0-25-15,-13-1 16,13 0-16,0 14 0,0-1 16,-13-13-16,13 0 15,0 14-15,0-14 0,-13 0 16,13 1-16,0-1 0,0 0 16,0 0-16</inkml:trace>
  <inkml:trace contextRef="#ctx0" brushRef="#br0" timeOffset="101852.55">17793 3043 0,'13'-14'31,"27"1"-15,-27 13-16,27 0 16,-13-13-16,-1 13 0,-13 0 15,14-13-15,-14 13 0,0 0 16,0-13-16,1 13 0,-1 0 0,0-14 16,0 14-16,1 0 15,-1 0 1,-13 14 15,0 12-15,0-13-16,0 0 0,-13 1 15,13-1-15,0 0 16,-14 0-16,14 1 16</inkml:trace>
  <inkml:trace contextRef="#ctx0" brushRef="#br0" timeOffset="101972.09">18124 2950 0</inkml:trace>
  <inkml:trace contextRef="#ctx0" brushRef="#br0" timeOffset="102430.19">18203 2963 0,'0'14'16,"0"12"-1,14-13-15,-28-13 16,28 13-16,-14 1 16,13-14 15,0 0-15,13 0-1,-12 0 1,-14 13-1,13-13-15,-13 13 16,13-13 0,-13 13-1,13-26-15,27 0 32,-27 13-32,1-13 15,12-1-15,-13 1 0,0 13 16,1-13-16,-1 0 0,0 13 15,0-13-15</inkml:trace>
  <inkml:trace contextRef="#ctx0" brushRef="#br0" timeOffset="103617.9">16999 3506 0,'14'26'16,"-1"1"0,-13-14-16,0 13 0,0-12 15,0 52 1,-13-53-16,13 13 16,0-12-16,0-1 0,0 0 15,0-39 16,13 12-15,13-25 0,-26 12-16,14 14 0,-1-13 0,0 12 15,0 1-15,-13 0 0,14 0 16,-1-1-16,0 14 0,-13-13 16,13 13-16,0 0 0</inkml:trace>
  <inkml:trace contextRef="#ctx0" brushRef="#br0" timeOffset="104234.29">17264 3559 0,'-40'26'15,"27"-13"-15,-13 14 16,12 12 0,14-25-1,0-1-15,14 0 16,-1-13 0,0 0-16,0-13 15,1 13-15,-1-13 16,0-1-16,-13 1 15,13 13-15,1-26 16,-1 13 15,0 13 1,-13 13-32,13-13 15,-13 13 1,0 0-16,13-13 15,-13 13 1,14-13 0,-1 0-1,0 0 1,-13-13 0,13 13-16,1 0 0,-1 0 31,0 0-16,0 0 1,-13 13-16,13-13 16,1 0-1,-1 0 1,0 0-16,0 0 16</inkml:trace>
  <inkml:trace contextRef="#ctx0" brushRef="#br0" timeOffset="105061.53">17502 3519 0,'27'13'15,"-14"0"-15,-13 1 0,0 25 16,0-25-16,0-1 15,0 0-15,-13 13 16,13-12-16,0-1 0,0 0 0,0 0 16,0 1-16</inkml:trace>
  <inkml:trace contextRef="#ctx0" brushRef="#br0" timeOffset="105351.2">17767 3585 0,'-13'-13'16,"-1"13"-1,1 0-15,0 13 0,0-13 16,-1 13-16,1 1 0,0-1 16,0-13-16,-1 13 0,14 0 0,-13-13 15,0 13-15,0 1 0,13-1 16,-13-13-16,13 13 15,0 0-15,13 1 16,13-14 0,-13 0-1,1 0-15,12 0 0,-13 0 0,1 0 16,12-14-16,-13 14 0,14 0 16</inkml:trace>
  <inkml:trace contextRef="#ctx0" brushRef="#br0" timeOffset="105924.39">18098 3426 0,'0'-13'16,"0"0"-16,13 39 31,-13-12-15,0-1-16,0 0 0,0 0 0,0 0 0,0 1 15,0-1-15,0 13 16,0-12-16,0-1 0,0 0 0,0 0 15,0 14-15,0-14 16,0 0-16</inkml:trace>
  <inkml:trace contextRef="#ctx0" brushRef="#br0" timeOffset="106218.02">18349 3559 0,'0'-14'16,"26"14"0,-12 0-16,12 0 0,0 0 15,-12 0-15,-1 0 0,0 0 16,0 0-16</inkml:trace>
  <inkml:trace contextRef="#ctx0" brushRef="#br0" timeOffset="106426.12">18706 3413 0,'0'13'16,"0"27"-1,-13-27-15,13 0 16,0 1-16,0-1 0,-13 0 15,13 0-15,0 1 0,0-1 16,0 0-16,0 0 0</inkml:trace>
  <inkml:trace contextRef="#ctx0" brushRef="#br0" timeOffset="106709.06">18812 3545 0,'0'14'31,"0"-1"-31,0 0 16,0 0-16,0 14 15,13-14 1,0-13-16,1 0 16,-1 0-1,13-13-15,-13 13 16,-13-13-16,0-1 0,14 14 15,-14-26-15,0 13 16,0-1-16,-14 1 16,1-13-16,0 26 15,0-14-15,-14 14 16</inkml:trace>
  <inkml:trace contextRef="#ctx0" brushRef="#br0" timeOffset="107188.72">18045 3400 0,'-27'40'16,"1"-14"-16,-1 27 16,14-27-16,0 14 15,13-13-15,-13-14 0,13 13 16,13-13-16,-13 14 0,0-14 15,13 0-15,13 27 16,-12-27-16,-1 1 0,13-1 0,1-13 16,-1 13-16,14-13 0</inkml:trace>
  <inkml:trace contextRef="#ctx0" brushRef="#br0" timeOffset="107621.08">18944 3254 0,'80'40'16,"-28"13"-1,-12 0-15,-13-27 0,-14 14 16,0-14-16,14 1 0,-14 13 16,-13-14-16,13-13 0,-13 14 0,13-14 15,-13 13-15,-13-12 0,13 12 16,-26 14-16,-1-14 0,14 1 16,-53 12-16,13 1 15,26-27-15</inkml:trace>
  <inkml:trace contextRef="#ctx0" brushRef="#br0" timeOffset="109631.4">20995 2593 0,'-53'26'0,"53"-12"0,-13-14 16,13 13-16,0 13 15,13 1-15,-13-14 16,13 0-16,0 0 0,0 1 16,14 12-16,-14-13 15,14 14 1,-27-14-16,13-13 0,-13 13 0,13 1 15,-13-1 1,-13-13-16,13 13 0,-13-13 16,13 13-16,-14-13 0,1 0 0,0 0 15,0 13-15,-1-13 0,1 0 16,0 0-16,0 0 0,0 0 16,-1 0-16,-12 0 15</inkml:trace>
  <inkml:trace contextRef="#ctx0" brushRef="#br0" timeOffset="110180.11">21259 2725 0,'0'27'32,"0"-14"-17,0 13 1,0-12-16,0-1 0,13 0 15,1 0-15,-14 1 16,13-1-16,0-13 16,0 0-16,1 0 15,-1-13 1,0 13 0,-13-14-16,13 14 0,-13-13 15,14 0 1,-1 26 15</inkml:trace>
  <inkml:trace contextRef="#ctx0" brushRef="#br0" timeOffset="110505.07">21537 2738 0,'0'0'0,"13"0"16,-13 14-16,14-1 31,-14 0-31,13 0 0,-13 1 0,-13 12 16,13-13-1,0 1-15,0-1 16,13-26 31,-13-1-47,13 1 0,0 0 15,0 0 1,-13-1-16,14 14 16,12-13-1,-13 13-15,14 0 0</inkml:trace>
  <inkml:trace contextRef="#ctx0" brushRef="#br0" timeOffset="110939.96">21960 2699 0,'14'26'0,"-14"-13"16,0 1-16,13-1 0,-13 27 16,13-1 15,-13-25-31,13-14 0,-13 13 0,14-13 16,-1 0-1,0 0-15,0-13 16,0 13-16,-13-14 0,14 14 0,-1-13 15,0 0-15,0 0 16,1-1-16,-1 14 0,-13-13 0,13 13 16,0-13-16,1 0 0</inkml:trace>
  <inkml:trace contextRef="#ctx0" brushRef="#br0" timeOffset="111092.27">22318 2686 0,'0'0'16,"0"13"-16,13 0 15,-26 13 1,13-12-16,0-1 16,0 0-16,0 0 0,-14 1 0,14-1 15,0 0-15,-13-13 0,13 13 16</inkml:trace>
  <inkml:trace contextRef="#ctx0" brushRef="#br0" timeOffset="111649.41">22556 2712 0,'13'13'0,"-13"0"0,0 1 16,13 25-1,-13-25-15,0-1 0,13-13 16,-13 13-16,0 0 15,14-13-15,-14 14 0,13-14 16,0 0-16,0-14 16,14-12-1,-14 26-15,-13-13 16,13-1-16,-13 1 0,13 0 0,1 0 16,-14-1-16,13 1 15,-13 0 1,13 13-1</inkml:trace>
  <inkml:trace contextRef="#ctx0" brushRef="#br0" timeOffset="112165.86">22873 2686 0,'-13'13'31,"-13"0"-15,26 0-1,-14 0-15,14 1 16,-13-14-16,13 13 16,0 0-1,13-13 1,1 0-1,-14 13 1,13-13 0,0 14-1,0-14 1,40-14 15,-26 1-31,-14 0 0,0 0 16,0-1-16,1 1 0,-1 0 15,0 0-15,0-14 0,0 14 0,1-13 16,-1 12-16,0 1 0,-13 0 16,13 0-16,-13-1 0,14 14 15,-14-13-15,-14 40 16,-12-1 0,26-13-16,0 1 15,-13 12-15,13-13 0,0 1 0,0-1 16,13 13-16,-13-13 0,13 1 15,0-1-15,1 0 16,-1-13-16</inkml:trace>
  <inkml:trace contextRef="#ctx0" brushRef="#br0" timeOffset="114926.07">21127 3122 0,'-13'13'16,"0"1"-16,-1-1 16,14 0-16,-13 13 0,0 1 0,0-14 15,-1 14-15,1-1 0,0 1 16,13-1-16,-13-13 0,13 14 0,0-14 16,0 0-16,0 14 0,0-14 15,0 0-15,13 0 0,-13 0 0,13 1 16,-13-1-16,13 0 0,1-13 0,-1 13 15,0-13-15,0 0 0,1 14 16,-1-14-16,0 0 0,0 0 0</inkml:trace>
  <inkml:trace contextRef="#ctx0" brushRef="#br0" timeOffset="115627.26">21378 3215 0,'14'13'0,"-14"0"0,0 0 16,0 1-16,0-1 16,0 0-16,0 0 0,-14 1 0,14-1 15,0 0-15,0 0 0,-13 0 16,13 14 0,0-14-16,0 0 0,0 1 15,13-14-15</inkml:trace>
  <inkml:trace contextRef="#ctx0" brushRef="#br0" timeOffset="116188.18">22027 3294 0,'-14'0'16,"14"27"0,0-14-1,-13 26 1,0-25-1,13-1-15,-13 0 0,-1 0 16,1 1-16,13-1 16,-13-13-16</inkml:trace>
  <inkml:trace contextRef="#ctx0" brushRef="#br0" timeOffset="116742.95">22397 3201 0,'-26'27'15,"12"-27"-15,14 13 16,0 0-16,-13 1 16,13-1-16,0 0 0,0 0 0,0 1 15,0-1-15,13 0 0,1 0 16,-14 0-16,13-13 16,13 14-16,-13-14 0,1 0 15,-1 0-15,0 0 0,14 0 0,-14 0 16,-13-14-16,13 14 15,0-13-15,-13 0 16,0 0-16,0 0 0,-13-1 16,0-12-1,0 13-15,-1-1 0,-12 1 16,13 13 0,-1-13-1</inkml:trace>
  <inkml:trace contextRef="#ctx0" brushRef="#br0" timeOffset="117113.12">22728 2950 0,'26'13'16,"-26"1"-16,13-1 0,1 0 15,25 40-15,-25-27 0,-1 14 16,0-27-16,0 14 0,-13-1 0,0 1 16,0-14-16,0 13 0,0 1 15,0 13-15,-13-27 0,-13 26 0,12-12 16,-12-1-16,-1 1 0,-12-14 0,-1 13 16,0-12-16</inkml:trace>
  <inkml:trace contextRef="#ctx0" brushRef="#br0" timeOffset="117833.09">22318 2474 0</inkml:trace>
  <inkml:trace contextRef="#ctx0" brushRef="#br0" timeOffset="137425.63">3122 8242 0,'0'-13'78,"13"13"-47,1 0-31,-1 0 0,0 13 16,0-13-16,-13 13 16,13-13-16,1 13 0,12 27 15,-39-14 16,13-12-31,-27 25 0,27-25 16,-26 12-16,13-13 0</inkml:trace>
  <inkml:trace contextRef="#ctx0" brushRef="#br0" timeOffset="154316.14">21352 8149 0,'13'-13'0,"-26"39"16,13-12-16,0-1 0,0 53 16,0-40-16,0-12 15,0 12-15,0-13 16,0 14-16,0-14 0,0 14 0,0-14 16,13 0-16,-13 0 0,0 0 0,13 1 15,-13-1-15,14-13 0,-1 13 0,13-13 16,-13 0-16,14 0 0,-14 0 15,27 0-15,0 0 0,-1-13 16,14 13-16,0-13 0,13-1 0,-13 14 16,13-13-16,0 0 0,1 13 0,-1-13 15,13 13-15,-13-13 0,14 13 16,-14-14-16,-13 14 0,26-13 0,-26 13 16,0 0-16,13 0 0,-13 0 15,0 0-15,0-13 0,53 13 16,-67 0-16,-12 0 0,12 0 0,-12 0 15,13 0-15,-14 0 0,27 0 16,-27 0-16,1 0 0,-1 0 16,1-13-16,12 13 0,-25 0 0,12-14 15,1 14-15,-1 0 0,1-13 16,-14 13-16,13-13 0,-13 13 16,27-13-16,-27 13 0,1 0 0,-1 0 15,0-14-15,0 14 0,1 0 16,-1 0-16,-13-13 0,13 13 15,0 0-15,0-13 0,1 0 16,-1 13 0,-13-13-16,13-1 0,0-12 15,-13 13-15,0-1 16,0-12-16,0 13 0,0-14 16,0 1-16,0-1 0,0 1 0,0-14 15,0 14-15,0-1 0,0 1 16,0-1-16,0 1 0,0-1 0,0 1 15,0 13-15,14-14 0,-14 14 16,0 0-16,13-14 16,0 27-16,-13-13 0</inkml:trace>
  <inkml:trace contextRef="#ctx0" brushRef="#br0" timeOffset="156715.92">22318 9088 0,'13'27'0,"-13"-14"15,0 0-15,13 14 0,-13-14 0,0 14 16,0-1-16,0 0 0,0 1 15,0-1-15,0 1 0,0-1 0,0-13 16,0 14-16,0-1 0,0-12 16,0-1-16,0 0 0,0 0 0,0 1 15,-13-1-15,26 0 0,-13 0 0</inkml:trace>
  <inkml:trace contextRef="#ctx0" brushRef="#br0" timeOffset="157008.22">22371 9313 0,'26'-39'0,"-13"39"16,0 0-16,1-14 0,-1 14 15,0 0-15,14 14 16,-14-14-16,0 13 0,0 0 15,0 0-15,-13 1 0,0-1 0,-13 53 16,13-40 0,-13-12-16,-40 39 15,40-40-15,-27 26 16,14-39-16,13 14 0,-1-14 16,14 13-16,-13-13 0,0 0 15</inkml:trace>
  <inkml:trace contextRef="#ctx0" brushRef="#br0" timeOffset="157192.15">22675 9313 0,'13'14'15,"-13"-1"1,0 0-16,0 0 0,0 0 0,0 1 15,0-1-15,0 0 0,-13 27 16,13-27 0,-13 14-16,13-14 0,0 0 15</inkml:trace>
  <inkml:trace contextRef="#ctx0" brushRef="#br0" timeOffset="157360.26">22688 9194 0,'-13'0'0</inkml:trace>
  <inkml:trace contextRef="#ctx0" brushRef="#br0" timeOffset="157716.97">22767 9313 0,'0'14'15,"14"-1"1,-1 0-16,-13 0 0,0 0 15,13-13-15,-13 27 16,13-27 0,-13 13-16,14-13 15,-1-13 1,0 13-16,-13-13 0,13 13 0,-13-14 16,13 14-16,-13-13 0,14 13 15,-1 0-15,-13-13 0,13 13 16,0 0-1,1 0-15,-14 13 0,13-13 16,0 13-16,0 1 16,1 12-1,-1-26-15,-13 13 0,13-13 0,-13 14 16</inkml:trace>
  <inkml:trace contextRef="#ctx0" brushRef="#br0" timeOffset="158191.21">23191 9247 0,'-27'0'15,"14"0"-15,13 13 16,-13-13-16,13 14 0,-13-14 0,13 13 16,0 0-16,0 0 15,13 14 1,0-27-16,0 0 15,14 0-15,-14-13 16,0 13 0,0-14-16,1 14 0,-1-13 15,0 13 1,0 0 0,1 0-16,-14 13 15,13-13-15,-13 14 16,0-1-16,13-13 15,-13 13-15,0 0 0,13-13 0,-13 13 16,13 1-16,1-14 31</inkml:trace>
  <inkml:trace contextRef="#ctx0" brushRef="#br0" timeOffset="158505.59">23442 9287 0,'0'-13'16,"27"26"15,-27 0-31,13 0 16,-13 1-16,0-1 15,13 0 1,-13 0-1,13-13-15,0-13 16,1 0 0,-1 0-1,0-1 1,0 1-16,1 13 0,-14-13 16,13 13-1</inkml:trace>
  <inkml:trace contextRef="#ctx0" brushRef="#br0" timeOffset="158921.97">23786 9234 0,'-13'13'31,"26"0"-15,0-13-1,0 0-15,1 0 16,-1 0-16,0 27 16,0-27-16,-13 13 15,0 0-15,0 1 0,0 12 0,0-13 16,-13 14-16,0-1 0,0 14 15,-27 13-15,14-27 0,12 1 16,1-1-16,0-13 0,0 1 16,-1-14-16,1 26 15,40-52 1,52-54 0,-39 54-16,92-80 15,-92 93 1,-14-1-16,1 1 0,-1 0 15,-13 13-15,1 0 0,-1 0 0</inkml:trace>
  <inkml:trace contextRef="#ctx0" brushRef="#br0" timeOffset="160074.1">22397 8916 0,'569'-79'0,"-450"66"16,-26 0-16,12 13 0,-12-14 15,0 1-15,-1 13 0,-12-13 0,-14 13 0,0 0 16,-27 0-16,1 0 0,0 0 16,-14 0-16,-12 0 0,12 0 0,14 13 15,-27 0-15,0 1 16,0-1-16,27 79 16,-27-65-16,1 13 0,-1-1 0,13 41 15,-13-27-15,14 0 16,-14-14-16,14 14 0,-1-13 15,1 13-15,-1-14 0,-13-12 0,14 13 0,-14-1 16,27 14-16,-14-13 16,-13-14-16,1 1 0,-14-14 15,26 53-15,-26-53 16,0 14-16,0-14 0,0 0 16,0 0-16,0 1 0,0-1 0,-13 0 15,13 0-15,0 1 0,-13-1 0,-1 0 16,1 0-16,13 1 15,-13-1-15,0-13 0,-1 13 0,-12 0 16,13 0-16,-14 1 0,14-14 16,-27 26-16,1-13 0,-1 1 0,-13-1 15,-13 0-15,0 14 0,-14-14 16,14 0-16,-26 0 0,12 0 0,-12 1 16,-1-1-16,0 0 0,1-13 0,-1 13 15,1-13-15,-1 14 0,0-1 16,1-13-16,-1 0 0,14 13 0,-14-13 15,27 0-15,-13 0 0,26 13 16,-53-13-16,53 0 0,13 0 16,1 0-16,12 0 0,1-13 0,-1 13 15,1 0-15,13 0 16,-14 0-16,14 0 0,-14-13 16,1 13-16,26-13 0,-13 13 0,0-14 15,-1 1-15,14 0 0,-13 0 16,13-14-16,0 1 0,-13-27 0,13 13 15,13-26-15,-13 0 0,0 0 0,13-14 16,-13 14-16,0-13 0,14 13 16,-14 0-16,0-1 0,0 14 0,0 14 15,0-1-15,0 0 0,0 14 0,0 0 16,0 12-16,0-12 0,0 13 16,0-1-16,13-12 0,-13 13 15,13-1-15,13 1 0,1-13 0,13 13 16,12-1-16,15 1 0,12 0 15,0-14-15,1 27 0,-1-13 0,14 0 16,-1 13-16,1-13 0,0 13 16,-1 0-16,1 0 0,-1-14 0,-12 14 15,-1 0-15</inkml:trace>
  <inkml:trace contextRef="#ctx0" brushRef="#br0" timeOffset="166840.16">2500 8864 0,'-13'0'0,"0"0"16,53-14 15,26 14-15,40-13 0,-54 13-16,1-13 0,14 0 0,52-1 15,-67 1-15,1 0 16,0 13-16,80-27 15,-94 27-15,-12 0 0,-14-13 16,13 13-16,-12 0 0,-1 0 16,0 0-16,0 0 0,1 0 0,12 0 15,-13 0 1</inkml:trace>
  <inkml:trace contextRef="#ctx0" brushRef="#br0" timeOffset="167576.73">5953 8586 0,'40'0'0,"-14"-14"15,1 14-15,92-13 16,-66 13-16,0-13 0,-14 13 0,14-13 16,53 0-1,-53 13-15,-13-14 0,-1 14 0,14 0 0,-26-13 16,39 13-1,-40 0-15,-12 0 0,-1 0 16,0 0-16,13 0 16,-12 0-16,-1 0 15</inkml:trace>
  <inkml:trace contextRef="#ctx0" brushRef="#br0" timeOffset="176661.41">318 6257 0,'-27'-13'0,"14"26"0,0-13 15,13 14-15,-14-14 16,1 13-16,13 0 0,-13 14 0,-14 39 16,27-40-1,0 1-15,0-14 0,0 13 0,0-12 16,0 25-16,0-26 0,14 14 16,-14-14-16,13 14 15,0-14-15,0 0 0,27-13 16,-13 0-1,-14 0-15</inkml:trace>
  <inkml:trace contextRef="#ctx0" brushRef="#br0" timeOffset="177287.81">516 6337 0,'-13'0'31,"-1"0"-16,14 13-15,-13 0 16,13 0-16,-13 1 16,13 25-16,-13-25 15,13-1-15,0 13 16,0-12-16,13-1 0,-13 0 16,13-13-1,0 0 1,1-26-1,-1 26-15,-13-14 16,0 1-16,13 13 0,-13-13 16,0 0-16,13-1 15,-13 1 1,14 26 0,-14 14-1,13-27-15,-13 13 16,13-13-16,0 13 15,1 1 1</inkml:trace>
  <inkml:trace contextRef="#ctx0" brushRef="#br0" timeOffset="177571.37">675 6046 0,'0'26'31,"0"-13"-31,0 1 0,13 12 16,-13 53-1,13-39-15,14 53 16,-27-80-16,13 13 0,0-12 15,14 39 1,-14-40-16,13 27 16,-26-27-16,13-13 15</inkml:trace>
  <inkml:trace contextRef="#ctx0" brushRef="#br0" timeOffset="177756.31">595 6482 0,'-13'-13'16,"26"0"0,1 0-16,-1-14 15,13 14-15,-13 0 16,14-1-16,-1-12 0,1 13 0,52-27 16,-66 27-16,14 0 15,13-14 1</inkml:trace>
  <inkml:trace contextRef="#ctx0" brushRef="#br0" timeOffset="178870.44">966 6284 0,'0'-13'15,"-14"13"-15,14-14 16,-26 41 15,26-14-31,-13 0 16,26 1-16,-13-1 15,13-13 1,0 0-16,27-13 16,-27-1-16,14 1 15,-14 0 1,0-14-16,-13 14 16,14 0-1,-1 26 16,0 14-31,-13-14 0,0 0 16,13 0-16,0 53 16,-13-52-16,0-1 15,14 27-15,-14-27 0,-14 13 16,14 14 0,-13-27-16,13 0 0,-13-13 15,13 14-15,-13-14 16,13-27-1,0 1 1,0 13-16,26-27 16,-13 13-16,1 14 0,-14-13 15,13 12-15,0-12 0,0 13 0,1-27 16,-14 27-16,13 0 16,-13-1-16,13 1 15,-13 0-15,0 0 16,0 39 15,0 1-15,0-14-16,13 13 15,-13-12-15,14-1 16,-1-13 0,0 0-16,-13 13 15,13-26 1,-13-14-1,0 14-15,0 0 16,13 0 0,-13-1-16,0 1 0,14 13 15,-14-13 1,13 26 0,13 0-16,-12-13 15,-14 14-15,13-14 16,-13 13-1,13-13-15,-13 13 16,13-26 0,1-14-1,-14 14-15,13 0 16,-13 0-16,13-1 0,-13 1 0,13 0 16,0-13-1,1 12-15,-1 1 16,0 0-1,0 13 1,14 26 0,-27 1-1,13-27-15,-13 13 0,0 0 16,0 0-16,0 14 16,13-14-16,-13 0 15</inkml:trace>
  <inkml:trace contextRef="#ctx0" brushRef="#br0" timeOffset="179614.13">1746 5993 0,'0'13'0,"0"0"15,0 0 1,0 1 0,0-1-1,0 0 16,0 0 63,0 1-78,13-1-1,-13 0 1,0 0-16,0 1 0,0 12 16,0-13-1,0 0-15,0 1 16,14-1 0,-14-26 46,13-1-46,-13 1-1,0 0-15,13 13 16,-13-13 0,13 0-1</inkml:trace>
  <inkml:trace contextRef="#ctx0" brushRef="#br0" timeOffset="180404.04">1707 5980 0,'0'39'15,"0"-26"1,13 14-16,-13-14 15,13 0-15,0 14 16,0-14-16,1 14 16,-14-14-16,13 13 15,0-13 1,-13 1-16,-13-1 16,0 0-1,13 0-15,-14 1 16,1-14-16</inkml:trace>
  <inkml:trace contextRef="#ctx0" brushRef="#br0" timeOffset="180574.72">1826 6032 0,'13'14'15,"-13"-1"-15,0 0 0,13-13 16,-13 13-16,0 1 0,0-1 0,0 13 16,0-12-16,0-1 15,0 0-15</inkml:trace>
  <inkml:trace contextRef="#ctx0" brushRef="#br0" timeOffset="181116.29">1945 6032 0,'0'14'16,"0"-1"0,0 0-1,0 0 1,13 1-1,0-28 1,0 1 0,1 0-16,-1 0 15,0 26 1,0 0 0,-13 0-16,0 1 15,-13-1-15,13 0 0,0 0 16,0 1-16,0-1 0,-13 0 0,13 0 15,0 0-15,-13-13 0,13 14 0,0-1 16,0 0 0,0-39-1,13-1 1,-13 14 0,-13-13-16,13 12 15</inkml:trace>
  <inkml:trace contextRef="#ctx0" brushRef="#br0" timeOffset="181293.44">1416 5927 0,'0'0'0,"-14"0"0,41 13 47,-14-13-47</inkml:trace>
  <inkml:trace contextRef="#ctx0" brushRef="#br0" timeOffset="181664.53">1389 6747 0,'27'-27'0,"-14"14"0,26-13 0,-12-1 16,13 1-16,-1-1 0,14-12 0,-13 12 16,13-12-16,0-1 0,0 13 15,-14 1-15,14-1 0,-13 1 0,0 13 16,-14 0-16,-13-1 0,1 14 0,-1 0 15</inkml:trace>
  <inkml:trace contextRef="#ctx0" brushRef="#br0" timeOffset="181845.88">1336 6813 0,'-26'26'0,"52"-52"16,-26 39-1,40-26-15,-14-13 0,80-27 16,-53 26-16,13-12 16,-13 12-16,0 1 0,13-14 0,-13 13 0,66-25 15,-79 38-15,0-12 16,26-1-16</inkml:trace>
  <inkml:trace contextRef="#ctx0" brushRef="#br0" timeOffset="190835.99">7527 4114 0,'14'-26'0,"-1"26"0,0 0 16,0 0 0,14 26-1,-14-12-15,-13 12 16,0 0-16,13 1 0,-13 52 15,0-26-15,0 0 0,0 0 0,13 13 16,1 133 0,-14-133-16,13 0 0,13 172 15,-12-159-15,12 80 16,-26-66-16,13-14 0,1 0 16,-1 1-16,-13-1 15,13-13-15,0 14 0,-13-14 0,0 0 0,13 0 16,-13 0-16,0 0 0,0-13 15,0 0-15,14 80 16,-14-80-16,0-14 0,0 67 16,0-79-16,0-1 15,0 40 1,0-53-16,0 1 0,0 12 0,0-13 16,0 14-1,-14-14-15,14 0 0,-13-13 0,0 13 16,-27 14-16,27-14 15,0-13-15,-40 27 16,26-27-16,1 13 16,0-13-16,12 13 0,1-13 0,0-13 15,-27 0 1</inkml:trace>
  <inkml:trace contextRef="#ctx0" brushRef="#br0" timeOffset="191455.8">7951 5755 0,'0'0'0,"-13"26"32,-1 1-17,14-14-15,-13 13 0,13 1 16,0-14-16,0 13 0,0-12 0,0 12 15,0 1 1,13-27-16,-13 13 0,14 0 0,-1 0 16,0-13-1,13-13 1,-12 13-16,-1-13 0,0 13 0,-13-13 0,13-1 16,-13 1-16,0-13 15,0 12-15,0-52 16,-13 53-16,13 0 0,-13 0 15,13-1-15,-13 1 0,-14-13 16,14 26 0,-13 13-1,12-13-15</inkml:trace>
  <inkml:trace contextRef="#ctx0" brushRef="#br0" timeOffset="191756.32">8030 5689 0,'13'0'0,"1"13"15,-1 0-15,0 0 16,0 40-16,0-26 16,-13-14-16,0 13 0,0 1 15,14-14 1,-14 0-16,0 0 15,13-26 17,0 0-17,0 0-15,-13 0 16,0-1-16,14 1 0,-14-13 16,13 12-16,0 1 15,-13-13 1</inkml:trace>
  <inkml:trace contextRef="#ctx0" brushRef="#br0" timeOffset="192149.02">8401 5437 0,'0'13'16,"0"54"-1,-14-28-15,14-12 16,-13-1-16,13 14 0,0-14 15,-13 1-15,13 26 16,0-40-16,0 0 0,13 14 16,-13-14-16,0 0 0,0 0 15,13-13 1,-39 0 15,13 0-15,-1 0-16,1 0 15,0 14-15,0-14 0,13 13 0,-14 0 16,-12 13 0,26-12-16,0-1 15,0 0-15,13 0 16,0-13 0,1 0-16,12-13 15,-13 13-15,1 0 0,-1-13 16,0 13-16,0 0 15</inkml:trace>
  <inkml:trace contextRef="#ctx0" brushRef="#br0" timeOffset="193062.49">8559 5741 0,'-26'-26'0,"-1"39"15,27 0 1,14 1 0,12-14-1,-13 13-15,0-13 0,1 13 16,-1-13-16,0 13 15,0 1-15,1-14 16,-14 13-16,13 0 16,-13 0-16,0 1 15,13-41 32,0 14-47,1 0 16,-1-1-16,0 1 15,-13 0-15,13 0 0,14-14 16,-14 14-16,-13 0 0,13 13 0,-13-13 16,13-1-1,14 1-15,-27 26 16,0 1 0,0 12-1,0-13 1,0 27-1,0-14 1,0-12-16,0-1 16</inkml:trace>
  <inkml:trace contextRef="#ctx0" brushRef="#br0" timeOffset="193204.26">8837 5556 0,'-13'-13'16</inkml:trace>
  <inkml:trace contextRef="#ctx0" brushRef="#br0" timeOffset="193712.08">8916 5649 0,'0'40'0,"14"-27"16,-14 0-16,0 0 31,0 0-16,26-39 1,-13 13 0,1 0-16,-1-1 15,0 1-15,0 0 16,1 0 0,-1-1-16,0 14 31,0 27 0,-13-14-31,0 0 0,0 27 16,0-27-16,0 14 15,-13-1-15,13 1 16,0-14-16,-13 0 0,13 0 0,0 1 16,-13-1-16,39-26 46,0-27-30,-12 27-16,12-14 16,-13 27-16</inkml:trace>
  <inkml:trace contextRef="#ctx0" brushRef="#br0" timeOffset="193951.46">8414 6165 0,'106'-66'16,"-67"52"-16,-12 1 15,12 0-15,67-27 16,-79 27-16,-1 0 0,1 13 16,-14-13-16,0 13 0,0 0 0,14 0 15</inkml:trace>
  <inkml:trace contextRef="#ctx0" brushRef="#br0" timeOffset="194184.2">8387 6297 0,'80'-26'16,"-54"12"-16,14 1 0,-1 0 16,1 0-16,0-1 0,0 1 0,-1 0 15,14-13 1,-26 12-16,-1 14 0,-13-13 0,14 13 0,-1-13 15,-13 0-15,1 13 0,12-14 16,-13 1 0</inkml:trace>
  <inkml:trace contextRef="#ctx0" brushRef="#br0" timeOffset="198125.13">8692 10861 0,'-53'0'15,"39"13"-15,1-13 0,-66 53 16,52-26-16,1-1 15,13 1-15,-40 52 16,40-53-16,13-12 0,-14 52 16,14-53-1,0 0-15,14 1 0,-1-1 0,-13 0 16,13 0-16,40 0 16,-27 1-16,1-14 0,-1 0 15,14 0-15</inkml:trace>
  <inkml:trace contextRef="#ctx0" brushRef="#br0" timeOffset="198892.42">8969 11033 0,'-26'0'0,"52"0"0,-65 0 0,25 13 16,1-13-16,-26 27 16,25-14-16,1 0 15,13 0-15,-13-13 0,13 14 0,-13 12 16,13-13 0,13 1-1,0-14-15,14-14 16,-14 14-16,0-13 0,13 0 15,-26 0-15,14 13 16,-14-14-16,26-12 16,-26 13-16,13 0 15,-13 39 17,0-13-32,0 0 15,14-13-15,-14 27 16,13-14-16,13 0 15,-12-13 1,-1 0-16,0 0 16,-13-13-16,13 13 0,0-13 0,1 13 15,-1-40-15,0 27 16,0 0-16,1-14 0,-14 1 0,13-1 16,0-12-16,0 12 0,-13-12 0,14 12 15,-1-13-15,-13 27 16,0 0-16,13 0 0,-13 0 0,0-1 15,-13 41 17,0 39-17,13-40-15,-14 1 0,14-1 0,0 1 16,14 26 0,-14-27-16,13-13 0,-13 1 0,13-1 15,0-13-15,0 13 0,40-13 16,-39-13-16,12 13 15,-13-13-15,0 13 0,1-14 0,12 1 16,-13 0-16,1 13 16,-1-13-1,0 26 1,-13 0 0,0 0-16,13-13 0,-13 14 15,14-14 1</inkml:trace>
  <inkml:trace contextRef="#ctx0" brushRef="#br0" timeOffset="199084.81">9022 10941 0,'80'-14'0,"-54"14"16,1 0-16,-1 0 0,80 0 15,-80 0-15,14 0 16</inkml:trace>
  <inkml:trace contextRef="#ctx0" brushRef="#br0" timeOffset="200156.79">9697 10901 0,'-66'0'0,"53"0"0,13 13 0,-14-13 15,14 13 1,0 1-16,0-1 15,0 0-15,14 0 0,12 40 16,-13-40 0,14 40-1,-27-40-15,0 1 0,-13-1 0,13 0 16,0 0-16,-14 1 0,-12 12 16,26-13-16,-13-13 0,-14 14 15,14-14-15,13 13 16,-13-13-16,-1-13 15,14-1 1,0 1-16,40-27 16,13 1-1,-13 12-15,-14 14 16,1-13-16,65-27 16,-52 26-16,-27 14 0,14 0 15,-1-14-15,-13 14 16,1 13-16,-14-13 0,13 13 0,-13-13 15,-27 26 17,27 0-17,0 0 1,-13 1-16,13-1 0,0 0 16,0 0-16,0 0 0,0 1 15,13-1 1,-13 0-1,14-39 17,-1 12-17,0 1 1,0 0 0,14 13-1,-14 0-15,0 13 16,0 0-1,1 1 1,-14-1 0,13-13-1,0-13 1,0-1 0,1 1-16,12-13 15,-13 13 1,0 13-16,1-14 15,-1 1-15,-13 0 0,13 13 16,0-13-16,1 13 31,-1 13-15,-13 0-16,0 0 16,0 1-16,0-1 15,0 0-15,-13 0 16</inkml:trace>
  <inkml:trace contextRef="#ctx0" brushRef="#br0" timeOffset="200272.18">10266 10755 0</inkml:trace>
  <inkml:trace contextRef="#ctx0" brushRef="#br0" timeOffset="201211.69">10464 10795 0,'27'26'0,"-27"-12"16,0-1-16,0 0 15,0 0-15,-13 1 0,13-1 16,13-13 15,13-13-15,-13 13-16,27-14 15,-27 1-15,27 13 32,-27 0-32,14 13 15,-14 1-15,0-1 16,-13 0-16,-13 14 15,0-14-15,-1 0 16,1 0 0,0-13-16,13 13 0,-13-13 15,26-26 17,13 13-17,-12 0-15,-1-1 0,13 1 0,-12 0 0,-1 13 16,0-13-16,27-1 15,-27 14-15,0-13 0,0 13 16,1 0-16,-1 0 16,0 0-16,-13 13 15,0 1-15,-13 12 16,13-13-16,-13 1 0,-1-1 16,1 0-16,-13 13 15,-1 1-15,1-1 0,-27 14 16,40-27-16,-1-13 15,1 13-15,0-13 0,0 14 16,0-14 0,26-27-1,13 14-15,-13 0 16,1 13-16,39-40 16,-40 27-16,13-14 15,1 27-15,-14-13 0,13 0 16,-12 0-16,-1 13 15,0-13 1,0 13-16,1 0 16,-1-14-1,13 14 1</inkml:trace>
  <inkml:trace contextRef="#ctx0" brushRef="#br0" timeOffset="201845.03">11628 10861 0,'0'27'0,"-13"-27"0,0 0 16,0 0-16,0-14 15,-14-12 1,14 13-16,0-27 0,-1 14 16,14-1-16,0 1 0,0 12 15,0-52 1,0 53-16,14 0 0,-14 0 15,13-1-15,-13 1 0,13 13 0,0 0 16,1 13 0,-14 14-16,-27 12 15,14-12-15,0-1 0,-1 1 16,-12-1-16,13 1 0,-27 26 16,40-40-16,-26 13 15,12-12 1,28-14-1,38 0 1,-25 0-16,26-14 0,-13 14 0,-1-13 16,54 0-16,-40 13 15,-14-13-15,94-14 16,-107 27-16,1-13 0</inkml:trace>
  <inkml:trace contextRef="#ctx0" brushRef="#br0" timeOffset="202523.22">12422 10597 0,'-26'-14'0,"12"28"15,1-14-15,13 13 0,-26 0 16,26 13-1,-13-12-15,13-1 0,0 0 0,0 14 0,0-14 16,0 0-16,26 27 16,-13-27-16,0 0 15,1-13-15,-1 0 0,0 13 0,0-13 0,27-13 16,-27 13 0,1-26-1,-14 13-15,0-1 0,0 1 0,0-13 16,0 12-16,-14-12 15,1 13-15,13-1 0,0 1 0,-13-13 16,26 26 15,27 13-15,-27-13-16,0 13 0,0 0 0,1 1 0,12 25 16,-13-25-1,1-1-15,-1 13 0,-13-12 16,0-1-16,0 0 0,0 0 0,0 0 15,-13 1 1,-1-28 15,14 1-31,0 0 16,0 0-16,14 13 0,-14-13 0,0-1 16,13 1-16,0 0 15,0 0-15,27-14 16,-27 14-16,0 13 0,1-13 15,-1-1-15</inkml:trace>
  <inkml:trace contextRef="#ctx0" brushRef="#br0" timeOffset="203292.48">13004 10411 0,'14'-26'0,"-14"52"15,-14 27 1,1-39-1,13 12-15,0 0 0,0 1 0,0-1 0,-13-12 16,26 25 0,-13-12-16,0-14 0,13 0 0,-13 0 15,14 14-15,-14-14 16,13-13 0,-26-13 15,-14 13-31,14 0 15,0 0-15,-1 0 0,1 13 16,0-13-16,13 13 0,-40 1 16,40-1-16,0 0 15,0 0 1,0 0-16,27 1 16,-14-14-1,0 0-15,27-14 16,13 1-1,-40 0-15,0 0 0,27-14 16,-27 14-16,0 0 0,1-14 16,-1 14-16,-13 0 0,0 0 15,13-1-15,-13 1 0,13 0 16,-26 39 46,26 1-46,0-27-16,-13 13 16,14-13-1,-1 0-15,0 0 16,0 0-16,1 0 16,-1 0-1,0 0-15,0 13 16,1 1-1,12-14 32,-13-14-31,-13 1-16,27 0 16,-27 0-16,13 13 15,0-14-15,14-12 16,-14 13-16,0 13 0,0-13 15,14 13-15,-14 0 16</inkml:trace>
  <inkml:trace contextRef="#ctx0" brushRef="#br0" timeOffset="203829.44">11708 11232 0,'211'-53'0,"-144"39"0,158-25 16,-133 25-16,80-12 15,-79 13-15,-1 13 0,-12-13 16,-1-1-16,120 1 15,-160 13-15,1 0 0,-14 0 16,-12 0-16,-1 0 0,0 0 16,-53 13-1,14 1-15</inkml:trace>
  <inkml:trace contextRef="#ctx0" brushRef="#br0" timeOffset="204067.41">11748 11390 0,'39'0'0,"1"0"15,0 0-15,12-13 0,173 0 16,-145 0-16,-1-1 0,14 1 16,-14 13-16,0-13 0,226-40 31,-252 40-31,0 13 0,-14-13 0,54-14 15,-80 27 1,0-13-16,1 13 0,-28-13 16,-12-1-16</inkml:trace>
  <inkml:trace contextRef="#ctx0" brushRef="#br0" timeOffset="204560.31">9525 10478 0,'635'-120'16,"-265"54"-16,-237 40 15,-1 13-15,0-14 0,1 14 16,-1-14-16,-13 14 0,-26 0 0,-1 13 15,1-13-15,-14 13 0,27-13 16,-66 26-16,-14-13 0,-13 0 16,1 0-16,-14 13 0</inkml:trace>
  <inkml:trace contextRef="#ctx0" brushRef="#br0" timeOffset="204808.29">10041 10557 0,'53'0'0,"53"-27"16,119-25 0,-106 25-16,106-13 15,-106 14-15,0 13 0,0-14 0,0 14 16,13 0-16,-13 0 0,-26-1 0,13 1 15,-14 13-15,93-13 16,-105 13-16,-1 0 0,-26 0 0,0 0 16,-13 0-16</inkml:trace>
  <inkml:trace contextRef="#ctx0" brushRef="#br0" timeOffset="-213675.2">3559 4670 0</inkml:trace>
  <inkml:trace contextRef="#ctx0" brushRef="#br0" timeOffset="-213307.01">3664 4577 0,'14'14'31,"-14"-1"-31,-14 26 15,14-25-15,0 12 16,-13 1-16,13-14 0,0 26 16,0-25-16</inkml:trace>
  <inkml:trace contextRef="#ctx0" brushRef="#br0" timeOffset="-212453.19">3109 5146 0,'0'-13'15,"0"0"1,13 39 0,-26-13-16,13 1 0,0-1 0,0 0 15,-13 40 1,13-27-16,0 1 0,-27 39 15,27-39-15,-13-14 16,13 0-16</inkml:trace>
  <inkml:trace contextRef="#ctx0" brushRef="#br0" timeOffset="-211475.38">3572 5741 0,'0'27'31,"-13"-14"-15,13 0-16,0 1 0,-14 12 0,14 1 0,0-14 15,-13 13-15,13 1 0,-13-1 0,13 27 16,-13-27-16</inkml:trace>
  <inkml:trace contextRef="#ctx0" brushRef="#br0" timeOffset="-210654.68">3056 6641 0,'0'-13'0,"-27"39"16,27-12-16,-13 25 16,0-12-16,0 12 0,0-12 15,-14 12-15,14-12 0,13 13 0,-13-1 0,13-12 16</inkml:trace>
  <inkml:trace contextRef="#ctx0" brushRef="#br0" timeOffset="-209943.51">3387 7435 0,'0'-27'0,"0"67"0,-14-27 0,14 0 16,-13 40-16,0-13 15,0-13-15,0 12 0,13 1 0,-14 0 16,1-1-16,0 1 0,13-14 0</inkml:trace>
  <inkml:trace contextRef="#ctx0" brushRef="#br0" timeOffset="-209159.48">2699 8189 0,'26'-27'16,"-13"14"-1,1 13 1,-1 0-16,0 0 0,14 27 16,-27-14-16,-14 0 15,14 0-15,-13 14 0,0-1 0,0 1 16,-53 65 0,52-78-16,-25 25 15,39-26-15,-14-13 0,14 14 0,-13-14 16,13 13-1,27-13-15,12-13 16,-25 13-16,38-14 16,-38 14-16,12 0 15,1-13-15,-1 13 0,14 0 16</inkml:trace>
  <inkml:trace contextRef="#ctx0" brushRef="#br0" timeOffset="-206543.74">6231 4260 0,'13'0'16,"0"-13"-16,1 13 15,-1 13-15,0-13 16,0 0-16,-13 13 0,-26 13 16,26-12-1,-53 25 1,40-25-16,-1-1 0,14 0 0,-26 14 16,13-27-16,13 13 0,-13 0 15,13 0 1,13-13-16,13 13 15,1-13 1,12-13-16,1 13 16,-13 0-16,52-13 15</inkml:trace>
  <inkml:trace contextRef="#ctx0" brushRef="#br0" timeOffset="-204609.72">6945 5001 0,'14'-14'0,"-14"28"266,0-1-250,0 0-16,0 0 0,0 1 15,13-14-15,-13 13 0,0 0 16,0 0-16,0 0 0,13 1 15,0-1 1,0-13 0,1 13-16,-1-13 0,0 0 15,0-13 1,1 13-16,-1 0 0,0-13 16,0-1-16,1 14 15,25-26-15,-12 13 16,-27 0-16,13 13 0,0-14 15,0 14-15,-13-13 16,-26 40 0,-14 12-1,14-12-15,-1-1 16,1 1-16,-14 12 0,14-12 0,-1 12 16,1-12-16,-1-1 0,-12 14 15,25-27-15,1 1 16,13-1-16,-13 0 0</inkml:trace>
  <inkml:trace contextRef="#ctx0" brushRef="#br0" timeOffset="-203579.88">6734 5649 0,'13'-13'0,"13"13"15,-12 0-15,12 0 16,-13 0-16,14 13 16,-27 0-1,0 14 1,-14-14-16,14 0 0,-13 0 15,13 0-15,-13 1 0,0-1 16,-14 40 0,14-13-1,13-27 1,13 13 0,1-26-16,-1 13 0,0-13 0,0 0 15,0 0 1,1 0-16,-1 0 0,0 0 0,0-13 15,1 13-15,-1 0 16</inkml:trace>
  <inkml:trace contextRef="#ctx0" brushRef="#br0" timeOffset="-203398.29">6707 5821 0,'-13'-13'0,"39"-1"47,-12 14-47,39 0 16,39-13-1,-39 13 1,-40 0-16,14 13 0</inkml:trace>
  <inkml:trace contextRef="#ctx0" brushRef="#br0" timeOffset="-201896.61">6006 6350 0,'0'-13'0,"13"0"16,0 13-16,1 0 15,-1 0 1,0 13-1,-13 0 1,0 0-16,-40 27 16,14-27-1,13 0-15,0 1 0,-1-1 0,-12 13 16,13-26-16,13 14 16,-14-1-16,14 0 15,0 0 1,14-13-1,-14 13-15,13-13 0,0 0 0,0 0 16,27 0 0,-27 0-16,0 0 0,14 0 0,-1 0 15,-12-13-15,-1 13 16,0 0 0</inkml:trace>
  <inkml:trace contextRef="#ctx0" brushRef="#br0" timeOffset="-201705.29">5874 6469 0,'0'0'0,"39"-13"47,41 13-31,-1-13-1,-52 13-15,52 0 16</inkml:trace>
  <inkml:trace contextRef="#ctx0" brushRef="#br0" timeOffset="-199966.33">5847 7078 0,'0'-14'0,"14"1"0,-14 0 32,0 39 15,-14 1-47,14-14 15,0 14-15,14-27 16,-14 26-1,13-26-15,-13 13 0,13-13 16,0 0 0,27-13-1,-27 13-15,0-13 16,1 13 0,-1 0-1,0 13 1,0-13-1,0 0 1,1 0-16,-1 0 0,0-13 16,0 0-1,1-1-15,-14 1 16,13 0-16,-13 0 0,13-1 16,-13 1-16,0 0 15,13 13-15,-13 13 31,14-13-31</inkml:trace>
  <inkml:trace contextRef="#ctx0" brushRef="#br0" timeOffset="-198299.99">6681 7792 0,'0'26'46,"0"1"-46,-13-14 16,13 0-16,0 1 0,0-1 16,-14 40-1,14-40-15,0 0 0,-13 0 16,13 1 0,0-41 15,13-12-16,1 12-15,-1-13 16,-13 14-16,13-1 0,0 1 16,-13 13-16,27-27 15,-14 27-15,-13 0 0,13 13 16,0 0-16,1 13 16,-1 13-1,0 1-15,-13-14 16,0 40-16,0-40 0,0 0 15,0 1-15,13 25 16,-13-12 0,13-14-16</inkml:trace>
  <inkml:trace contextRef="#ctx0" brushRef="#br0" timeOffset="-198127.8">6694 7938 0,'79'-27'16,"-13"14"-1</inkml:trace>
  <inkml:trace contextRef="#ctx0" brushRef="#br0" timeOffset="-185785.04">17224 8083 0,'0'-13'0,"-13"26"31,0 0-31,0 14 0,-1 12 16,-12-12-16,13-1 0,0 14 15,-27 39-15,27-39 0,-14 26 16,27-13-16,-13-40 16,13 14-16,0-14 0,13 0 15,-13 14-15,13-14 0,1 0 0,-1 0 16,13 1-16,14-1 0,0-13 15,39 13-15,-26-13 0,0 0 16,13 0-16,13 0 0,-12 0 0,12 0 16,0-13-16,14 13 0,-14 0 15,14-13-15,0 13 0,-1-14 0,1 14 16,-14 0-16,14 0 0,-1 0 16,1 0-16,79-13 0,-93 26 15,1-13-15,-1 0 0,-26 0 0,13 0 16,-13 0-16,13 0 0,-13 0 15,-13 0-15,39-13 0,-26 13 16,-27 0-16,1 0 0,-14 0 16,14-13-16,-14 13 0,0 0 15,14 0-15,-14-13 0,0 13 16,0-14-16,0 1 16,1 13-16,-14-13 15,13 0-15,-13 0 16,13 13-16,-13-14 0,13 14 15,1-13-15,-1 0 16,-13 0 0,13-1-1,-13 1-15,0 0 0,13 0 0,-13 0 16,14-14-16,-14 1 0,0-1 16,0 14-16,13-27 0,-13 14 0,0-1 15,13 1-15,-13-14 0,0 0 16,13 14-16,-13 0 0,13-1 0,-13-13 15,14 14-15,-14 13 16,0 0-16,0-1 16,0 1-16</inkml:trace>
  <inkml:trace contextRef="#ctx0" brushRef="#br0" timeOffset="-183319.23">17780 9551 0,'-26'0'0,"12"14"15,14-1 1,-13 0-16,13 14 0,0-14 0,-13 0 0,13 14 16,0-14-16,0 0 0,13 13 15,-13-12-15,0-1 0,27 13 16,-14-12-16,0-14 15,0 0-15,0 13 0,1-26 0,-1 13 16,0 0-16,0-14 0,1 1 16,12 0-16,-26-14 15,13 14-15,-13 0 0,0-13 0,0 12 16,-13-12-16,0 13 0,0-14 0,-1 14 16,-12-27-16,13 27 15,-1 0-15,-12 13 0,13-13 0,0 13 16,-1 0-16,14 13 0,-13-13 15,0 13-15,13 0 0,0 0 16</inkml:trace>
  <inkml:trace contextRef="#ctx0" brushRef="#br0" timeOffset="-183040.28">17978 9565 0,'40'13'16,"-27"40"15,1-27-31,-14-12 0,0 12 16,0-13-16,0 0 0,-14 1 15,14 12-15,0-13 16,-53-224-16,120 409 31,-67-211-15,13 0-16,-13-1 0,13 1 0,0 0 15,-13 0-15,14 0 0,-1-1 16,-13 1-16,13 13 0,0-13 0,0 13 16,1-13-16,12-1 0,-13 14 15,1-13-15,-1 0 0</inkml:trace>
  <inkml:trace contextRef="#ctx0" brushRef="#br0" timeOffset="-182579.09">18574 9340 0,'0'-13'0,"-13"39"16,13 0-1,-14-12-15,1 12 0,13 1 0,-13-1 16,0 14-16,79-212 0,-132 370 0,52-145 16,14-40-16,0 14 0,0-14 0,0 0 15,0 1-15,0-1 0,0 0 16,14 0-16,-14 0 0,-14-26 47,1 0-47,-13 0 15,12 0 1,1 13-16,0 0 0,-27 13 16,27 0-16,0-13 15,13 13-15,-13-13 0,13 13 0,0 1 31,13-14-31,53 0 16,13-14 0,-52 1-16,39 0 15,-53 0-15,0 13 0,1 0 16,-1 0-16,0 0 0,14 0 16,-14 0-1,-13 13-15,13 0 16,-13 14-1,0-14-15,0 0 16</inkml:trace>
  <inkml:trace contextRef="#ctx0" brushRef="#br0" timeOffset="-182444.82">18799 9565 0</inkml:trace>
  <inkml:trace contextRef="#ctx0" brushRef="#br0" timeOffset="-181899.33">19037 9644 0,'13'13'0,"-13"1"16,13-1-16,-13 0 0,0 0 16,0 0-16,0 1 15,0-1-15,13 0 16,-13-26 0,14 13-1,-1-13-15,0 13 0,0 0 16,-13-14-16,14 14 0,-1 0 15,0-13-15,0 13 16,1 0 0,-1 0-16,0 0 0,-13 13 0,13-13 15,0 14-15,1-14 16,-1 0-16,-13 13 16</inkml:trace>
  <inkml:trace contextRef="#ctx0" brushRef="#br0" timeOffset="-181097.2">19500 9604 0,'-13'-13'16,"-1"13"-16,14-13 15,-13 13 1,0 13 0,0-13 15,13 13-16,-14-13 79,14 14-63,-13 12-15,26-13 0,-13 1-16,0 12 15,0-13-15,14-13 16,-1 0 0,0 0-1,0-13 1,1 0-1,-1 13 1,0 0 0,0 0-1,0 13 1,1 0 0,-14 0-16,0 1 15,0-1 1,0 0-1,13-26 32,0 0-31,0 13-16,1-14 16,12 1-1,-13 0-15,1 0 0,-1 13 16,0 0-1</inkml:trace>
  <inkml:trace contextRef="#ctx0" brushRef="#br0" timeOffset="-180363.37">19857 9671 0</inkml:trace>
  <inkml:trace contextRef="#ctx0" brushRef="#br0" timeOffset="-179680.18">19844 9353 0,'13'-13'0,"-13"0"16,-66 79 0,53-40-1,-40 40-15,26-39 16,14 12-16,-13-12 0,-14 39 16,27-26-16,-1-14 0,14-13 0,0 14 15,-13-14-15,26 0 0,-13 1 16,0-1-16,14 0 0,12 0 15,-13-13-15,27 13 0,-14-13 16,1 0-16,-1 0 16,1-13-16,-1 13 0,1 0 0,12-13 15</inkml:trace>
  <inkml:trace contextRef="#ctx0" brushRef="#br0" timeOffset="-176524.16">18111 3360 0,'13'-26'15,"0"13"1,0 13-16,-13-14 15,14 1-15,-1 13 0,13-13 16,-12 0-16,-1-1 0,13 1 0,-13 13 16,1-26-16,-1 12 0,13 14 0,-12-13 15,-1-13-15,0 26 16,0-13-16,1-1 0</inkml:trace>
  <inkml:trace contextRef="#ctx0" brushRef="#br0" timeOffset="-175176.25">18891 3387 0,'27'-14'0,"-14"1"0,0 0 15,0 0-15,1 0 0,-1-1 16,13 1-16,-12 0 0,25-14 16,-26 27-16,14-13 0,-14 0 15</inkml:trace>
  <inkml:trace contextRef="#ctx0" brushRef="#br0" timeOffset="-171947.68">18812 4736 0,'13'79'0,"-13"-65"16,0-1-16,13 0 0,1 0 15,-1 1-15,0-14 16,0 0-16,0 0 0,1 13 16,-1-13-16,0 0 0,0 0 0,1 0 15,-14 13-15,13-13 0,0 13 16,0 27-16,1 0 16,-1-1-16,0 14 0,0 0 0,0 13 0,14 53 15,-14-52-15,0-1 16,1 13-16,-14-13 0,13 66 15,-13-52-15,0-14 0,-13 0 16,-1 0-16</inkml:trace>
  <inkml:trace contextRef="#ctx0" brushRef="#br0" timeOffset="-163385.74">14407 8149 0,'-14'27'16,"1"26"-1,13-27-15,0-13 0,0 14 0,-13-14 16,13 13-16,0-12 16,0 12-16,0-13 0,-13 1 0,13-1 0,0 0 15,0 13-15,0-12 16,13-14-16,-13 13 0,40 0 31,-1-13-31,-12 0 0,92 0 16,-66 0-16,0 0 15,0 0-15,13 0 0,-13 0 0,26-13 16,-13 13-16,13-13 0,-26 13 0,0 0 16,13 0-16,-13-14 0,0 14 0,-13 0 15,13 0-15,-13 0 16,-14-13-16,14 13 0,26 0 16,-53-13-16,0 13 0,1 0 15,-1-13-15,0 13 0,0-13 16,0-1-16,-13 1 0,14-27 15,-14 27-15,0 0 16,0 0-16,-14-1 0,14 1 16,0 0-16,0 0 0,0 0 0,-13-1 15,13 1-15,0 0 0,0 0 16,0-1-16,0 1 16,0 0-16</inkml:trace>
  <inkml:trace contextRef="#ctx0" brushRef="#br0" timeOffset="-161938.22">14433 9049 0,'-26'26'16,"12"-13"-16,1 1 0,0-1 0,13 13 16,-40 27-16,27-13 15,0-14-15,13 1 0,-13-1 16,13-12-16,-14 12 0,14-13 0,0 0 15,14 1-15,-14 12 0,13-26 16,0 13-16,0-13 16,14 0-16,-14 0 0,0-13 0,14 13 15,-14-13-15,13 0 0,1-1 16,-14 14-16,0-13 0,0 0 16,1 13-16,-1-13 0,0 13 0,0-13 15,-13-1-15,14 14 16,-1 14-1,-13-1-15,0 0 16,13 0-16,0 0 16,0 1-16,1-14 15,-1 0-15,0 0 0,0 0 0,1 0 16,-1 0-16,0-14 0,0 14 16,14-13-16,-14 0 15,0 0-15,-13 0 0,13 13 0,-13-14 0,0 1 16,0 0-16,-13 0 15,13-1-15,-13 14 0,13-13 16,-13 0-16,0 13 0,-1 0 0,1-13 16,0 13-16,0 0 15,-1 0-15,1 13 0,0-13 0,0 0 16,-1 13-16,14 0 16,14-13-1,-1 0 1,0 0-16,14 0 15,-14 0 1,27-13 0,-27 13-16,13-13 15,-13 13 1,1 0-16,-1 13 16,-13 0 15,13 1-31,-13-1 15,0 0 1,27-13 15,-14-13-15,0 0 0,0 13-16,0 0 0,1 0 15,12 0 1,-13 0-16,-13 13 15,14 0 1,-1-13-16,-13 13 0,13-13 16</inkml:trace>
  <inkml:trace contextRef="#ctx0" brushRef="#br0" timeOffset="-161716.45">15253 9022 0,'13'-26'0,"-13"13"0,-13 52 31,13-25-15,0 12-16,-13-13 0,13 14 0,0-1 16,-13 1-16,13 26 0,0-27 15,0 0-15,0-12 0,0 12 16,0 14-16,13-27 15,-13 0-15</inkml:trace>
  <inkml:trace contextRef="#ctx0" brushRef="#br0" timeOffset="-161403.4">15081 9300 0,'0'0'0,"13"-13"31,1 13-31,25-13 16,-12 13-16,-14-14 15,14 14-15,-14-13 0,26 13 16,-25-13-16,39 0 16,-40 13-1,0 0-15,14 0 16,-14 26-1,-13-13-15,0 1 16,0-1-16,0 13 16,0-12-16,-13-1 15,13 0-15,0 0 16,0 0-16</inkml:trace>
  <inkml:trace contextRef="#ctx0" brushRef="#br0" timeOffset="-161264.08">15465 9155 0,'0'-14'0,"0"1"15</inkml:trace>
  <inkml:trace contextRef="#ctx0" brushRef="#br0" timeOffset="-159907.56">15531 9234 0,'-26'26'16,"26"-12"-16,0-1 0,0 13 16,0-12-1,0-1-15,13 0 31,0-26-15,0 0 0,1-1-16,-1 1 15,0 13-15,-13-13 0,13 13 16,0 0 0,1 0-16,-1 0 0,0 13 15,0 0 1,1-13-16,25 14 15,-26-14 1,1 0 0,-1 0-16,0-14 0,0 14 0,-13-13 15,14 13-15,-14-13 16,13 13-16,-13-13 0,13-1 16,-13 1-16,13 13 31,-13 13 0,14 1-15,-1-14-1,13 0 1,-13 0-16,1-14 31,-1 28-15,0-14-1,-13 13-15,13-13 16,-13 13-16,14-13 0,-1 0 16,0 0-16,0 0 15,14 0-15,-14-13 16,0 13-16,0 0 0,-13-13 0,14 13 16,-1-14-16,0 1 15,-13 0-15,0 0 16,-13 26 46,0-13-46,26 13 15,0-13-15,0 0-1,1 0-15,-1 0 16,0 0 15,-13 13-15,13 1 0,0-14 15,14-14-16,-14 14-15,0-13 16,14 13 0,-27-13-16,13 13 31,0 0-31,1 13 0,-14 0 31,13-13-15,0 14-1,-13-1 1,0 0 15,0 0-15</inkml:trace>
  <inkml:trace contextRef="#ctx0" brushRef="#br0" timeOffset="-154188.22">10729 4273 0,'13'-13'47,"14"13"-32,-14-13-15,13 13 16,1 0-16,26-14 0,-14 14 16,14-13-16,0 13 0,0 0 0,0-13 15,0 13-15,0-13 0,66-1 16,-53 14-16,-13-13 0,0 13 16,13-13-16,-13 13 0,0-13 15,53 0-15,-53 13 0,52-27 16,-65 27-16,53-13 15,-54 0-15,1 13 0,0-14 16,-1 14-16,28-13 0,-41 13 16,14-13-16,-1 13 0,-12-13 15,-1 13-15,1 0 0,-1-14 0,1 14 16,-14 0-16,13 0 0,-12 0 0,-1 0 16,0 0-16,0-13 15,1 13-15,-1 0 0,0 0 16,0 0-16,0 0 15,1-13 17</inkml:trace>
  <inkml:trace contextRef="#ctx0" brushRef="#br0" timeOffset="-150304.33">10319 8401 0,'-13'13'15,"13"13"-15,0-13 0,0 1 16,-14 12-16,14 1 0,0-1 0,-13 0 16,13 1-16,0-1 0,0-12 15,0 12-15,0 1 0,0-14 0,13 0 16,-13 13-16,14-12 0,-1-1 15,13 0-15,-13 0 0,14-13 0,13 14 16,13-1-16,-14-13 0,14 0 0,0 0 16,0 13-16,13-13 0,0 0 15,14 0-15,-1 0 0,66 0 16,-78 0-16,12 0 0,-26 0 0,13 0 16,-13 0-16,0 0 0,0 13 15,13-13-15,-40 0 16,27 0-16,-26 0 0,26 0 15,-40 0-15,0 0 16,0-13-16,1 13 0,-1 0 16,0-13-16,0 13 0,-13-13 0,27-14 15,-1-39 1,-26 53 0,0-14-16,13 1 0,-13 13 0,0-67 15,0 54 1,0-1-16,0 1 0,-13-1 15,13 14-15,0-26 0,0 25 16,0-25-16,0 12 16,0 14-16,-13 0 0</inkml:trace>
  <inkml:trace contextRef="#ctx0" brushRef="#br0" timeOffset="-147052.46">10716 9168 0,'-14'-13'16,"1"13"-16,0 13 0,-14 0 16,14 0-1,0 1-15,0-1 0,0 0 0,-1 13 0,1 1 16,0-1-16,0-12 0,-1 12 0,14-13 16,-13 27-1,13-27-15,0 0 0,0 1 0,0-1 0,0 0 16,0 0-16,13-13 0,-13 14 15,14-14-15,-1 13 16,0-13-16,0 0 0,1 0 0,-1 0 16,0 0-16,13 0 0,-12-13 15</inkml:trace>
  <inkml:trace contextRef="#ctx0" brushRef="#br0" timeOffset="-146746.22">10861 9340 0,'-13'-13'0,"0"13"16,-1 13-16,14 0 15,-13 0-15,13 0 16,0 1-16,0-1 16,13 0-16,-13 0 0,14 1 15,-1-14-15,0 0 16,0 0-16,1 0 0,-1 0 15,0-14-15,0 1 0,1-13 16,-1 26 0,-13-14-16,-13 1 0,13 0 0,-14 0 15,1 13 1,-13-13 0,12 26-16,1-13 15</inkml:trace>
  <inkml:trace contextRef="#ctx0" brushRef="#br0" timeOffset="-146452.83">11020 9327 0,'13'13'15,"-26"-26"-15,39 39 0,-26-13 0,14-13 16,-14 13-16,0 1 15,13-14-15,-13 13 0,0 0 16,13-13 0,13-13-1,-12 0 1,-1 13-16,0-14 16,0 14-1,1 0-15,-1 0 0,0 14 16,0-1-1,1 13 1</inkml:trace>
  <inkml:trace contextRef="#ctx0" brushRef="#br0" timeOffset="-146253.9">11483 9168 0,'0'-13'0,"0"39"31,0 14-15,0-27-16,0 13 15,0 1-15,0-14 0,0 14 16,0-1-16,0-13 0,0 14 0,0-14 16,0 13-16,13-12 0,-13-1 15</inkml:trace>
  <inkml:trace contextRef="#ctx0" brushRef="#br0" timeOffset="-145967.4">11364 9393 0,'40'-27'16,"-14"27"-1,-13 0-15,0-13 0,1 13 0,12 0 16,27-13 0,-40 13-16,14 0 15,-14 0-15,0 13 16,0 13 0,-13-12-1,0-1-15,-13 0 0,13 14 16,0-14-1,0 0-15</inkml:trace>
  <inkml:trace contextRef="#ctx0" brushRef="#br0" timeOffset="-145836.59">11734 9234 0,'0'0'15</inkml:trace>
  <inkml:trace contextRef="#ctx0" brushRef="#br0" timeOffset="-144373.2">11840 9327 0,'13'13'16,"1"-13"-16,-14 13 0,0 0 15,13 0 1,-13 1-16,0-1 31,13-26 0,0-1-15,0 14-16,-13-13 16,14 13-1,-1 13 1,0-13-16,0 0 15,-13 14-15,27-14 16,-14 0-16,14 0 16,-14-14-1,0 14-15,0 0 0,0-13 16,1 0-16,-1 0 16,0 13-16,-13-13 0,13-1 15,1 1 1,-14 40 31,0-14-32,13 0-15,0-13 32,14-13-17,-14 13-15,-13-13 16,13 13-16,0 0 15,-13-14 1,13 28 0,-13-1-16,14-13 15,-1 13 1,0-13-16,0 0 16,1 0-16,-1 0 15,0 0-15,0-13 16,0 13-16,-13-13 15,14 13-15,-1 0 0,0-14 16,0 28 15,1-1-15,-1-13 0,0 0-16,0 0 0,1 0 15,-1 0-15,0-13 16,0-14-1,-26 1 17,0 26-32,-14 0 31,14 0-15,0 13-16,39-13 46,-12 0-30,12 0 0,-13-13-16,14 13 15,-14 0 1,0 0-16,0 0 16,1 0-16,-1 0 15,0 0 1,0 0-16,1 0 0,-1-14 15,0 14 1,0 0-16,0 14 16,1-14-1,-1 13-15,-13 0 32,-13 0-32,13 1 15</inkml:trace>
  <inkml:trace contextRef="#ctx0" brushRef="#br0" timeOffset="-144242.16">12898 9274 0,'-13'-14'0</inkml:trace>
  <inkml:trace contextRef="#ctx0" brushRef="#br0" timeOffset="-142877.99">18574 10081 0,'344'-27'15,"-265"27"-15,-13-13 0,80 0 16,-80 13-16,-13 0 0,13 0 16,-13-14-16,-13 14 0,-1 0 0,-12 0 15,-1 0-15,-13 0 0,1 0 16,12 0-16</inkml:trace>
  <inkml:trace contextRef="#ctx0" brushRef="#br0" timeOffset="-142139.39">11655 9472 0,'0'13'0,"0"1"16,0-1 15</inkml:trace>
  <inkml:trace contextRef="#ctx0" brushRef="#br0" timeOffset="-140173.03">14221 10319 0,'67'0'0,"-41"0"0,-119 0 0,226-13 0,-94 13 0,14 0 15,66 0-15,-39 0 16,-14 0-16,93-14 0,-80 28 15,14-14-15,-14 0 0,0 13 16,1-13-16,12 13 0,-12 0 0,12 0 16,93 14-16,-79-14 0,13 14 15,-13-14-15,13 13 0,-13 1 16,13-14-16,-13 13 0,13 1 0,-13-1 16,0 1-16,13-1 0,-13 1 0,-1 12 15,1-12-15,0-1 16,0 1-16,-13-1 0,12 1 0,1-1 15,13 1-15,-13-1 0,13 1 0,-13-14 16,13 13-16,-13-13 0,13 1 16,13-1-16,-13 13 0,14-26 0,118 40 15,-119-27-15,1 0 0,-1 1 16,0-1-16,0 0 0,1 0 16,-1 1-16,0-1 0,1-13 15,-1 13-15,-13 0 0,13 1 0,1-14 16,-41 13-16,14-13 0,0 0 0,26 0 15,-26 0-15,0 0 0,0 0 16,-1 0-16,28-13 0,65 13 16,-92-14-16,-13 1 0,-1 13 15,1-13-15,-1 0 0,-12 13 0,12-14 16,-12 1-16,-1 0 0,67-14 16,-80 14-16,0-13 0,0 13 15,-13-1-15,0 1 0,-13 13 0,13-13 16,-14 0-16,-12-1 0,-1 14 15,-13-13-15,14 13 0,-14 0 0,-13-13 16,13 13-16,1 0 0,-14-13 16,-27 13-1</inkml:trace>
  <inkml:trace contextRef="#ctx0" brushRef="#br0" timeOffset="-138886.56">17727 12105 0,'-40'53'0,"40"-27"0,0 14 16,0-14-16,14 93 15,-14-92-15,13-14 16,0 13-16,0-12 0,1-1 0,12 0 16,-13 0-16,0-13 15,1 0-15,12 0 0,-13 0 0,14 0 16,-14-13-16,27-13 0,-14 12 15,1-12-15,-14-14 0,0 14 16,0-14-16,-13 14 0,0-14 0,0 0 16,0 1-16,-13-1 0,0-13 0,0 13 15,-1 1-15,-12 12 0,0-13 16,12 14-16,-25 0 0,12-1 16,1 14-16,-14-14 0,0 14 0,27 13 15,0 0-15,0 0 0,-1 0 16,1 13-16,13 1 0,-13-1 0,13 0 15,0 0-15,13 40 0,0-13 16,1 0-16,12-1 0,1 1 16,-14 13-16,40 40 15,-40-67-15,13 14 0,-12-1 0,12-12 16,-13 12-16,14-12 0,-1 39 16,-13-53-16,14 27 15,-14-27-15,14 0 0,-14 1 16,0-14-16,-13 13 0,13-13 15,14 0-15,-14 0 16,0-13-16,0 13 0,1-14 0,12-12 16,-13 13-16,1-14 15,-1 1-15,0-1 0,0 1 0,14-27 16,-27 27-16,13 12 16,-13 1-16,0 0 0,13 0 0,-13-1 15,0 1-15,0 0 16,0 39 15,0-12-31,0-1 0,0 0 0,0 0 16,13 1-16,-13-1 15,14-13-15,-14 13 0,13-13 0,-13 13 16,13-13-16,0-13 0,1 13 16,-1 0-16,0-13 0,0 13 15,-13-13-15,13-1 0,1 14 16,-14-13-16,13 13 0,-13-13 0,13 13 15,0 0 1,1 13 0,-14 0-16,13 1 0,-13-1 15,13-13-15,14 26 16,-14-13-16,0-13 0,0 14 0,14-14 16,-1 13-16,1-13 0</inkml:trace>
  <inkml:trace contextRef="#ctx0" brushRef="#br0" timeOffset="-137891.36">19024 12144 0,'-14'-13'0,"1"13"15,-27 13 1,27 1 0,-13-1-16,-1 13 15,27-12-15,-13-1 16,13 0-16,-13 0 15,13 0 1,0 1-16,13-14 16,0 0-1,0-14-15,1 14 16,12-13 0,-13 0-1,1 26 1,12 0-1,-26 1-15,13-1 16,1-13 0,-14 13-16,13-13 0,0 13 15,0-13-15,0 0 16,1 0-16,-1 0 16,-13-13-16,13 13 0,0-13 15,1 13-15,-14-13 0,13 13 16,0-27-16,-13 14 0,13 0 15,1 0-15,-1-14 0,-13 1 16,13 12-16,0 1 16,-13-13-16,13 12 0,1-12 15,-1 0-15,-13 12 0,0 1 16,13 0-16,-13 0 0,13-1 16,-13 1-16,0 0 15,-13 39 16,13-12-31,0-1 16,-13 0-16,13 14 0,0-14 16,-13 13-16,13-13 0,0 1 0,0 12 15,0 1-15,13-14 16,-13 0-16,13 0 0,0-13 16,1 0-16,-1 0 0,0 0 15,0 0-15,1-13 16,-1 13-16,0 0 15,0 0 1,0 0 0,-13 13-16,0 14 15,0-1 1</inkml:trace>
  <inkml:trace contextRef="#ctx0" brushRef="#br0" timeOffset="-137741.96">19579 12025 0,'0'-13'0</inkml:trace>
  <inkml:trace contextRef="#ctx0" brushRef="#br0" timeOffset="-137366.98">19910 11668 0,'0'40'15,"0"-27"-15,13 40 16,-13 0-16,13 13 16,-13-26-16,0-14 0,0 1 15,0-1-15,0 14 16,0-1-16,0 14 0,0-39 16,0-1-16,14 0 0,-14 0 15,0 1-15</inkml:trace>
  <inkml:trace contextRef="#ctx0" brushRef="#br0" timeOffset="-137168.11">19778 12131 0,'0'0'15,"13"0"-15,0-13 0,0 13 0,1 0 16,-1-13-16,0 13 0,40-14 15,-27 14-15,-12 0 0,12 0 16,0 0-16,1 0 0,-1 0 0,1 0 16,-1 0-16,1 0 0,-1 0 15,1 0-15</inkml:trace>
  <inkml:trace contextRef="#ctx0" brushRef="#br0" timeOffset="-136332.3">20492 12039 0,'-40'-40'31,"1"53"-15,25-13-16,14 13 0,-13-13 0,0 14 15,0-14-15,-1 13 0,1 0 16,0-13-16,13 13 0,-13 0 15,13 1-15,-13-1 0,13 0 0,0 0 16,13-13-16,0 14 16,0-14-16,0 0 15,14-14-15,-14 14 16,0 0-16,1-13 0,-1 13 16,0 0-16,-13-13 0,13 13 0,1 0 15,-1 0 1,-13 13-1,0 14 1,13-14 15,0-13-31,0 0 0,1 0 16,-1 0-16,0 0 0,0-13 16,1 13-16,-14-14 0,13 1 15,13-13-15,1-1 16,-14 1-16,0-1 0,14 1 15,-14-1-15,0-12 0,14-27 16,-14 52-16,0-12 0,0 13 0,0-14 16,-13 14-16,0 0 15,14 13-15,-28 26 16,14-13 0,0 1-16,-13-1 0,13 40 15,-13-40-15,13 13 0,0 1 16,0-14-16,0 0 0,0 14 15,0-14-15,0 0 0,0 1 16,13-14-16,0 13 0,14-13 16,-14 0-16,14 0 15,-14 0-15,0 0 0,0-13 16,1 13-16,-1 0 0,0 0 16,0 13-1,0-13-15,-13 13 16,14-13-16,-14 13 15</inkml:trace>
  <inkml:trace contextRef="#ctx0" brushRef="#br0" timeOffset="-136194.27">21193 11853 0,'0'0'0</inkml:trace>
  <inkml:trace contextRef="#ctx0" brushRef="#br0" timeOffset="-135984.77">20545 11933 0,'79'-40'0,"-52"40"0,92-13 32,-66 26-32,39 0 15</inkml:trace>
  <inkml:trace contextRef="#ctx0" brushRef="#br0" timeOffset="-135307.56">21418 12025 0,'13'0'16,"-13"14"-16,13-14 16,1 26-16,25 0 15,-39-12-15,14-1 16,-1-13-16,0 13 0,0 0 0,1-13 16,-14 14-16,13-14 0,0 0 0,0 13 15,0-13 1,1-13-16,-14-1 15,13 14 1,-13-13-16,0 0 0,13 0 16,-13-1-16,0 1 15,13 13-15,-13-13 16,14 0 0,-1 13-1,0-13-15,0 13 0,14 0 16,-1 0-16,-13 0 15,14-14-15,-14 14 0,14 0 0,-14-13 16,13 13-16,-12-13 0,-1 13 16,0-13-16,0-1 0,-13 1 15,-13 0 1,0 26 0,0-13-16,13 13 0,-14-13 15,14 14-15,-13-1 16,13 0-16,13 0 0,1 1 15,-1-1-15,0 0 16,13-13-16,-12 0 16,12 0-16,1 0 0,-14 0 0</inkml:trace>
  <inkml:trace contextRef="#ctx0" brushRef="#br0" timeOffset="-135176.04">22437 12065 0</inkml:trace>
  <inkml:trace contextRef="#ctx0" brushRef="#br0" timeOffset="-129332.02">15491 9710 0,'14'-13'0,"-1"13"15,-40 0 17,1 0-17,-1 0-15,1 0 0,-14 0 0,-13-13 16,0 13-16,1 0 0,-15 0 16,1 0-16,-13 0 0,-14 0 0,14 0 15,0 0-15,-14 0 0,0 0 0,-13 0 16,-92-13-16,92 13 15,0 0-15,-26-14 0,0 14 0,-1-13 16,1 13-16,13-13 0,-13 0 16,13 13-16,-106-27 0,132 14 15,1 13-15,-1-13 0,0-1 16,1 14-16,-1-13 0,14 0 0,0 13 16,12-13-16,14 13 0,1-13 15,12 13-15,13 0 0,14 0 0,-13 13 16,12-13-16,14 13 0,14 0 15,-1-13 1</inkml:trace>
  <inkml:trace contextRef="#ctx0" brushRef="#br0" timeOffset="-129002.09">13507 9631 0,'13'0'0,"-13"13"16,0 0-16,0 1 15,0-1-15,0 0 0,0 0 16,13 53-16,-13-26 0,0 119 16,0-93-1,0 0-15,0 0 0,-13 14 0,13-1 16,-13 80-16,0-80 0,13 0 15,-13 1-15,13-1 0,-14 1 16,14-1-16,-13-13 0,0 0 0,0 0 16,13 1-16,-27 38 0,14-65 15,13 0-15,-13-1 0,-1-12 16,14-1-16,-13 1 0,13-1 16,-13 1-16,13-14 0,-13-13 15,13 13-15</inkml:trace>
  <inkml:trace contextRef="#ctx0" brushRef="#br0" timeOffset="-128594.96">13018 11615 0,'0'53'0,"0"-40"0,13 14 0,-13-1 16,0-12-16,0 12 0,13 0 0,-13 1 15,13-1-15,0-12 0,1-1 16,-1 0-16,0 0 0,14 0 16,-14-13-16,13 0 0,-13 0 0,14 0 15,13-13-15,-1 0 0,1 0 16,-14-14-16,1 14 0,-1-13 0,1 12 16,-1-12-16,1 0 0,-14 12 15,0 14-15,-13-13 0,13 13 16,-13-13-16,14 13 0</inkml:trace>
  <inkml:trace contextRef="#ctx0" brushRef="#br0" timeOffset="-127950.43">12475 12316 0,'0'0'15,"-26"14"1,-1 25-16,1 1 16,12 0-16,1-1 0,0-12 0,0 12 15,0 67 1,13-79-16,0-1 0,0 1 0,13-14 15,-13 13-15,13-12 0,0-1 0,-13 0 16,13 0-16,1-13 16,-1 0-16,0 0 0,40-26 15,-40 13-15,1-14 0,-1 1 16,0-14-16,-13 0 0,13 1 16,-13-1-16,0-13 0,0-40 15,-13 14-15,13 39 0,0 27 16,-13-27-16,13 27 15,-13 0-15,13 0 0,-14 39 32,14-13-32,0 14 0,0-1 0,0 14 15,14 0-15,-14-1 0,13 1 16,-13 0-16,13-1 0,-13 1 0,13 0 16,0 0-16,1-1 0,-1-12 15,13 12-15,-12-12 0,12-1 0,-13 1 16,14-1-16,26 14 15,-40-27-15,13-13 0,-12 13 16,-1-13-16,13 14 0</inkml:trace>
  <inkml:trace contextRef="#ctx0" brushRef="#br0" timeOffset="-127579.04">13004 12674 0,'0'-27'0,"-13"27"16,0 13-1,13 1-15,0-1 16,0 0-16,0 0 0,0 0 16,0 1-16,0-1 0,13 0 15,0 0-15,-13 1 0,14-14 16,-1 0-16,0 0 15,0 0-15,0-14 0,1 14 16,-14-13-16,13 13 0,0-13 31,14 26-15,-1 0 0,-13 1-1,0-14-15,1 0 0,-14 13 16,13-13-16,13 0 15,-12 0-15,-1 0 0,13-13 16</inkml:trace>
  <inkml:trace contextRef="#ctx0" brushRef="#br0" timeOffset="-127145.8">13520 12621 0,'0'26'32,"0"-13"-17,0 14 1,0-14-16,0 0 16,13 0-1,1 1 1,-1-14-1,0 13 1,0-13-16,1 0 16,-1 0-16,0 0 15,0-13-15,0 13 0,14 0 0,-14 0 16,0-14-16,27 1 0</inkml:trace>
  <inkml:trace contextRef="#ctx0" brushRef="#br0" timeOffset="-126726.36">14010 12290 0,'0'-27'0,"0"67"31,0 0-15,0-14-16,0 1 15,0-1-15,-14 14 0,14 0 0,0-1 0,0 41 16,-13-41-16,13-12 15,-13-1-15,13-13 0,-13 1 16,13-1-16,-13 0 0,-1 0 16,1-13-16,0 14 0,0-28 15,-1 14-15,1 0 16,0-13-16,0 0 16,26 13 15,0-13-31,0-1 0,14 14 0,-14-13 15,14 13-15,12-13 0,27 13 32,-52-13-32,-1 13 0,0 13 0,14-13 15,-14 0-15,0 13 0,0 0 16,-13 1-16,0-1 16,13-13-16,-13 13 0,0 0 0,0 1 15,0-1-15,-13-13 0,13 13 16</inkml:trace>
  <inkml:trace contextRef="#ctx0" brushRef="#br0" timeOffset="-123435.95">1733 9313 0,'13'-13'0,"0"13"0,14 0 16,-14 13-16,27-13 15,105 27 1,-26-14-16,-52 0 0,-1-13 15,13 13-15,-13-13 16,14 14-16,12-14 0,-12 0 0,12 0 16,1 0-16,132 0 0,-106-14 15,13 1-15,14 13 0,158-26 16,-145 13-16,13-1 0,-14 1 16,28 0-16,-14 13 0,13-13 0,-13 13 15,0-14-15,13 14 0,-13 0 16,13 0-16,-13-13 0,0 13 0,0 0 15,-13 0-15,0-13 0,-1 13 0,1-13 16,-13 0-16,-1 13 0,1-14 0,-14 1 16,13 13-16,-26-13 15,14 0-15,-41-1 0,1 1 0,79 0 16,-93 0-16,-13 13 0,1-14 0,-14 1 16,-1 13-16,-25-13 15,-1 13-15,1-13 0,-14 13 16,13-13-16,-12-1 0,-1 1 0,0 0 15,-13 0-15,13-1 16,-13 1-16,0-13 0,0 12 0,0 1 16,-13-13-16,13-1 0,-13-12 0,13 12 15,-13-13-15,-1 1 0,1-1 16,13-13-16,-13-26 0,13 39 16,0 0-16,0-26 0,0 40 15,0-1-15,0 1 16,0 13-16,0-1 0,0-12 0,0 13 15,0 0-15,0-1 16</inkml:trace>
  <inkml:trace contextRef="#ctx0" brushRef="#br0" timeOffset="-119419.59">3426 10927 0,'0'106'16,"0"-79"-1,0-14-15,0 13 0,0-13 0,0 1 16,0 12-16,0-13 0,0 1 15,-13-14-15,26-27 32,14-52-17,-27 66-15,13-14 16,0 14-16,0-14 16,1 14-16,12 0 0,-13 0 0,27 13 15,0 26 1,-27-13-1,0 1-15,-13-1 0,13 0 0,-13 0 16,0 14-16,14-14 0,-14 13 0,0-12 16,0-1-16,0 0 0,13 14 15,-13-14-15</inkml:trace>
  <inkml:trace contextRef="#ctx0" brushRef="#br0" timeOffset="-119091.15">3969 10954 0,'-13'13'0,"-1"-13"16,14 26 0,-13-12-16,13-1 0,0 0 0,0 0 15,0 1-15,13 12 0,-13-13 0,0 0 16,14 1-16,-1-1 0,13 0 15,-13-13-15,1 0 16,-1 0-16,0 0 0,0-13 16,1 0-16,-14-1 0,13 14 15,-13-13-15,0 0 0,0-27 16,-13 27-16,13 0 0,-14 0 16,1-1-16,13 1 0,-13 0 0,0 0 15,-1 13-15,14-13 0,-26 13 16,13 13-16,0-13 15,13 13-15</inkml:trace>
  <inkml:trace contextRef="#ctx0" brushRef="#br0" timeOffset="-118630.58">4273 10941 0,'0'13'16,"0"0"-16,13 0 15,-13 0-15,0 1 16,0 25 0,0-25-1,13-28 16,1 14-15,-14-13 0,13 13-16,0 0 15,14 0 1,-14 13-16,0-13 16,0 14-1,1-14 1,-1-14-16,0 14 15,0 0 1,0 0-16,1 0 16,-1 0-1,0 0-15,0 0 16,14 0 0</inkml:trace>
  <inkml:trace contextRef="#ctx0" brushRef="#br0" timeOffset="-118482.08">4736 10954 0,'13'13'31,"-26"-26"-15,26 39-16,-13-13 0,0 1 0,0-1 16,0 13-1,0-12-15,0-1 16</inkml:trace>
  <inkml:trace contextRef="#ctx0" brushRef="#br0" timeOffset="-118326.04">4696 10729 0,'-13'0'0</inkml:trace>
  <inkml:trace contextRef="#ctx0" brushRef="#br0" timeOffset="-117725.74">5001 10914 0,'26'53'0,"-26"-40"15,0 0-15,0 1 0,13-1 0,-13 0 16,0 0-16,0 1 0,14-1 16,-14 0-16,0 0 15,26-39 16,-26 13-15,13-1-16,14-12 16,-1 13-1,-13 13-15,14 0 16,-1 13 0,-12-13-16,-1 13 15,0-13-15,-13 13 0,13-13 0,0 0 16,1 0-16,-1 14 0,0-14 15</inkml:trace>
  <inkml:trace contextRef="#ctx0" brushRef="#br0" timeOffset="-116968.81">5517 10941 0,'-14'-14'16,"1"14"15,0 0-31,0 0 16,13 14-1,-14-1-15,14 13 16,0-13 15,14-13-15,-14 14-16,13-14 16,0 13-1,0 0 1,1-13-1,-1 0 1,0 0 0,0-13-16,0 0 15,1-1-15,-1 1 0,0 0 16,-13-13-16,13 12 0,-13-12 16,14-14-16,-14 14 0,13-14 15,-13 14-15,0-14 0,13 13 16,-13 14-16,0-13 0,0 12 0,0 1 15,0 0-15,0 0 0,0 0 16,0 65 0,0 28-1,0-54-15,0 1 16,0-1-16,13 1 0,-13-14 16,14 13-16,-14 1 0,13-14 0,0 0 0,-13 1 15,13-1-15,14 0 16,-14-13-16,0 0 15,0 0-15</inkml:trace>
  <inkml:trace contextRef="#ctx0" brushRef="#br0" timeOffset="-111442.6">423 11906 0,'27'53'0,"-14"-40"0,-13 14 0,0-14 15,13 0-15,0 14 0,-13-14 16,0 13-16,14-12 0,-14-1 15,0 0-15,13 0 16,-13 1-16,0-1 16</inkml:trace>
  <inkml:trace contextRef="#ctx0" brushRef="#br0" timeOffset="-111126.5">318 11919 0,'0'-26'0,"0"52"16,0-65-16,0 26 0,13-1 0,0 1 16,40-13-1,-40 26-15,0 0 0,14 0 16,-14 13-16,13-13 0,1 13 0,-14 0 15,0 1-15,1-1 0,-1 0 16,0 13-16,0-12 0,-13-1 16,14 13-16,-14-12 0,0-1 15,0 27-15,0-27 0,0 0 0,0 0 16,-14 14-16,14-14 16,0 0-16,-13 0 0,13 1 0</inkml:trace>
  <inkml:trace contextRef="#ctx0" brushRef="#br0" timeOffset="-110947.37">728 11972 0,'13'27'0,"0"-14"15,-13 0-15,0 27 16</inkml:trace>
  <inkml:trace contextRef="#ctx0" brushRef="#br0" timeOffset="-110748.27">794 11787 0</inkml:trace>
  <inkml:trace contextRef="#ctx0" brushRef="#br0" timeOffset="-110478.05">900 11827 0,'0'0'15,"13"26"1,0-12-16,0-1 0,0 0 16,-13 0-16,14-13 15,-14 13-15,13 1 0,-13-1 16,13 0 0,-26 0-1,13 1 1</inkml:trace>
  <inkml:trace contextRef="#ctx0" brushRef="#br0" timeOffset="-109982.58">1045 11655 0,'0'-13'16,"0"52"0,0 14-1,0-39-15,0-1 16,13 13-16,-13-13 0,0 1 0,0-1 16,14 0-16,-14 14 0,0-14 15,13 0-15,0 0 16,0-26-1,0 0 1,-13 0 0,0-1-16,14 14 0,-14-13 15,13 13-15,-13-13 0,13 0 16,0 13-16,1 0 16,-1 13-1,0-13-15,0 13 16,1-13-1,-1 13 1,-13-26 15,13 0-31,-13 0 16,0-1-16,13 1 0,0-13 31,1 13-31,-14-1 0,13 1 16</inkml:trace>
  <inkml:trace contextRef="#ctx0" brushRef="#br0" timeOffset="-109497.08">1468 11708 0,'0'-13'15,"-13"-1"-15,13 41 47,0-14-47,0 14 16,27-14-1,-1-13 1,1-13 0,-14-1-1,-13 1-15,26-27 16,-12 27-16,-14 0 16,13-14-16,-13 14 0,0-13 0,13-14 15,-13 14-15,0-14 16,0 27-1,13 39 17,-13-13-32,0 1 15,0-1-15,0 0 0,0 0 0,13 1 16,-13-1-16,0 13 16,0-13-16,0 1 0,0-1 15,14-13-15,-14 13 0</inkml:trace>
  <inkml:trace contextRef="#ctx0" brushRef="#br0" timeOffset="-109247.71">1574 11642 0,'14'-27'15,"-1"14"1,0 0-16,0 13 15,-13-13-15,13 13 0,1-14 0,-1 1 16,0 13-16,0 0 16,1 0-1,-1 0-15,-159 106 0,292-199 16,-133 93-16,-172 80 0,318-146 0,-159 79 16,13 0-16,-13 0 15</inkml:trace>
  <inkml:trace contextRef="#ctx0" brushRef="#br0" timeOffset="-108971.62">1852 11523 0,'0'-14'16,"-13"54"-16,0-27 16,13 1-16,0-1 0,0 0 15,13 13 1,0-12-16</inkml:trace>
  <inkml:trace contextRef="#ctx0" brushRef="#br0" timeOffset="-102910.14">582 12502 0,'-13'-14'0,"0"41"31,13-14-31,0 0 16,0 0-16,0 1 0,0-1 0,0 13 0,0 14 16,0-27-1,0 14-15,0-14 0,13 0 0,-13 27 16,13-40-16,-13 13 15,13 0-15,1-13 0,-1 14 16,0-28-16,13 14 0,-12-13 16,-1 0-16,0 0 15,0 13-15,-13-14 0,14 1 0,-14 0 16,13 13-16,-13-13 0,13 0 16,-13-1-1,13 1 1,1 40-1,-1-1 1,13-13 0,-13-13-16,-13 13 0,40-26 31,-27 13-31,1 0 0,-14-13 16,13 0-16,-13 0 15,0-1-15,0 1 0,0 0 16,-13-14-16,-1 27 15,14-13-15,-13 13 0,13-13 16,-13 13-16,0-13 0,-1 13 16,1 0-1,13-14 1,27 28 15,-14-14-31,13 0 16,-12 13-1,-1-13-15,0 13 16,0-13-16,0 13 16,1-13-1,-1 0 17,0-13-17,0 13 1,1-13-1,-1 13 1,0 0-16,0 0 16,1 0-16,-1-13 15,0 13-15,0-14 16</inkml:trace>
  <inkml:trace contextRef="#ctx0" brushRef="#br0" timeOffset="-102503.99">1138 12369 0,'-27'-79'16,"54"158"0,-54-132-1,40 67-15,-13-1 0,14 13 0,-14 1 16,13-14-16,-13 13 0,13 1 16,-13-1-16,13-12 0,-13-1 0,14 26 15,-14-25-15,13-1 16,-13 0-16,0 0 0,0 1 15,-13-14-15,13 13 0,-14-13 16,1 0 15,0 0-31,0-13 0,13-1 16,-14 1-16,14-13 16,0 12-1,0 1-15,0 0 0,14 13 0,-14-13 16,13 0-16,0-1 15,0 14-15,-13-13 0,14 13 16,-1 0-16,-13-13 0,13 13 0,0 0 16,14 0-16,-14 0 15,0 0-15,-13 13 16,13-13-16,-13 13 16,14 1-1</inkml:trace>
  <inkml:trace contextRef="#ctx0" brushRef="#br0" timeOffset="-102347.16">1349 12343 0,'0'-13'15,"0"39"16</inkml:trace>
  <inkml:trace contextRef="#ctx0" brushRef="#br0" timeOffset="-101819.27">1535 12343 0,'0'39'31,"0"-25"-31,13-1 0,-13 13 16,0-12-1,0-1 1,0 0-1,0-39 17,13-1-17,0 14 1,1 13 0,-1-13-1,0 13-15,0 0 16,-13 13-16,13-13 15,1 0-15,-1 0 16,0 0-16,0 0 0</inkml:trace>
  <inkml:trace contextRef="#ctx0" brushRef="#br0" timeOffset="-101248.34">1746 12343 0,'0'-13'0,"-13"13"15,13-27 1,13 67-1,-39-67 17,26 41-17,0-1 1,13-13 0,0 13-1,0-13 32,1 0-31,-1-13-1,0 13 1,-13-13 0,13 13-16,-13-14 15,14 14 1,-1-13 15,0 13 0,-13-13-15,13 0 0,-13-1-1,14 14 16,-1 0 16,0 14-31,0-28 0,0 14-1</inkml:trace>
  <inkml:trace contextRef="#ctx0" brushRef="#br0" timeOffset="-101114.3">1945 12224 0,'13'-40'32,"0"40"-1,-39 40-15,39-67-1</inkml:trace>
  <inkml:trace contextRef="#ctx0" brushRef="#br0" timeOffset="-99826.31">1416 12938 0,'-14'-13'16,"1"39"-1,13-12 1,0-1-16,13 0 0,-13 0 16,0 1-16,0-1 0,0 0 0,14 0 15,-14 0-15,0 1 16,0 12-16,13-13 0,-13 1 0,0-1 15,0 0-15</inkml:trace>
  <inkml:trace contextRef="#ctx0" brushRef="#br0" timeOffset="-99230.04">1336 13018 0,'0'0'16,"0"-14"-16,0 1 0,13 0 15,1 13-15,-1-13 16,0-1-16,0 14 15,1 0-15,-1 0 0,0 14 16,-13-1 0,0 0-16,0 14 15,0-14-15,0 0 16,-13-13-16,13 13 0,0 0 16,13-13-1,0 0-15,0 0 16,1 0-16,-1 0 0,0 0 15,0 14-15,1-14 0,-1 0 16,0 0-16,-13 13 0,13-13 16,-13 13-16,14 0 0,-28 14 15,14-14 1,-13 0-16,0 0 0,0 1 16,-1-1-16,1 0 15,0-13-15,0 13 0,-1-13 16</inkml:trace>
  <inkml:trace contextRef="#ctx0" brushRef="#br0" timeOffset="-99063.03">1680 12978 0,'13'13'16,"-13"0"-16,0 1 15,0-1-15,0 0 0,14-13 0,-14 13 16,0 14-16,0-14 16</inkml:trace>
  <inkml:trace contextRef="#ctx0" brushRef="#br0" timeOffset="-98902.59">1640 12898 0,'0'-13'0,"0"26"0</inkml:trace>
  <inkml:trace contextRef="#ctx0" brushRef="#br0" timeOffset="-98586.33">1773 12965 0,'0'26'16,"0"-13"-1,13 1-15,-13-1 0,0 0 31,0 0-15,13-13-16,0-13 31,1 0-15,-1 13 15,0 0-31,0-13 0,14 13 16,-14 0-1,0 0-15,0-14 0</inkml:trace>
  <inkml:trace contextRef="#ctx0" brushRef="#br0" timeOffset="-97852.11">2024 12846 0,'-13'0'0,"0"13"15,13 0 1,0 13-1,0-12-15,13-14 16,0 13-16,0-26 31,1 13-15,-1-14 0,-13 1-1,13 0-15,13 26 31,-12-13-15,-14 13-16,13-13 0,0 0 31,-13 14-15,0-41 46,0 14-46,0 0 0,0 0-16,13 13 15,-13-14-15,14 14 32,12 0-17,-26 14-15,13-14 16,0 13-1,1 0 1,-1-13-16,0-13 47,-13 0-31,0-1-1</inkml:trace>
  <inkml:trace contextRef="#ctx0" brushRef="#br0" timeOffset="-96901.05">1376 11152 0,'198'-40'0,"-171"40"0,-1-13 16,1 13-16,-14 0 0,13 0 0,-12 0 15,-1 0-15,13 0 0,1 27 16,-1-27-16,-13 13 0,14 13 15,-1 1-15,-12-1 0,12 14 0,0-14 16,1 27-16,-1-13 0,41 53 16,-41-54-16,0 14 15,14 0-15,-13-13 0,-1 13 0,0-13 16,1 12-16,-1-12 0,1 13 0,-1-13 16,1-1-16,-1 14 0,27 40 15,-26-53-15,-1-1 0,1 14 16,-1-13-16,-13-14 0,14 14 0,-14-14 15,40 54-15,-40-54 16,0 1-16,14 12 0,-14-12 0,13-1 16,-12 1-16,-1-1 0,0-12 0,-13 12 15,13-13-15,1 0 0,-14 1 16,13 12-16,-13-13 0,13 1 16,-13-1-16,0 0 0,0 0 0,0 1 15,-13-14-15,13 13 0,0 0 16,-13 13-16,-1-12 0,1-1 15,-13 13-15,-1-12 0,14 12 0,-13 1 16,-14-1-16,13-13 0,-12 27 16,-1-27-16,0 14 0,1 12 0,-94 14 15,54-26 1,26-27-16,27 0 0</inkml:trace>
  <inkml:trace contextRef="#ctx0" brushRef="#br0" timeOffset="-96119.05">185 11668 0,'-39'27'31,"25"-1"-31,14-13 0,-26 27 0,26-14 16,-13 1-16,13-14 0,0 66 15,0-52 1,13-1-16,0 1 0,0-1 0,27 54 15,-14-27-15,1-14 16,-1 1-16,14 13 0,-13-13 0,-1-1 16,14 14-16,-14-13 0,40 39 15,-26-39-15,0 0 0,-14 13 16,14-14-16,-1 14 0,-12-13 16,52 52-16,-52-52 0,12 0 15,14 39-15,-13-39 0,-14 0 16,-12-14-16,12 0 0,1 1 15,-14-1-15,13 1 0,1-1 16,-14 1-16,13-14 0,14 27 0,-13-40 16,-1 13-16,1-13 15,-1 13-15,0-13 0,27-13 0,-13 13 16,79-40-16,-66 27 0,13-13 16,0 12-16,0-12 0,1-1 15,-14 1-15,13 13 0,-13-1 16</inkml:trace>
  <inkml:trace contextRef="#ctx0" brushRef="#br0" timeOffset="-91835.51">3612 12250 0,'0'-26'0,"13"52"31,0 14-15,-13-27-16,0 0 15,0 1-15,13-1 0,-13 0 0,0 0 16,13 0-16,-13 1 16,0-1-16,14-13 15,-14-27 1,0 14-1,13 0-15,-13 0 16,0 0-16,13-1 0,-13 1 16,13 0-16,1 0 0,-1-1 15,0 14 1,0 0-16,1 14 0,-1-14 0,0 13 16,-13 0-16,13-13 15,0 13-15,-13 1 0,14-14 0,-14 26 16,13-26-16,-13 13 0,13-13 15,0 0 1</inkml:trace>
  <inkml:trace contextRef="#ctx0" brushRef="#br0" timeOffset="-91540.39">4022 12197 0,'-14'0'0,"41"27"16,-67-40-1,67-1-15,-54 54 0,27-27 16,0 0-16,0 1 0,13-14 16,-13 13-16,14 0 0,-1 0 15,0-13-15,0 0 16,14 0 0,-27-13-16,0 0 15,0 0-15,-27-27 31,1 14-15,-1 26 0,14 0-16,0 0 0,0 13 15</inkml:trace>
  <inkml:trace contextRef="#ctx0" brushRef="#br0" timeOffset="-90898.7">4141 12144 0,'0'14'16,"13"-1"-16,-13 0 16,13 0-16,-13 1 15,0 12 1,0-13-16,0 0 0,13 1 15,-13-1 1,14-26 31,-14-1-31,13 1-1,-13 0-15,13 13 16,0 0-1,1 13 1,-1-13 15,0 0 32,0 0-48,0-13-15,1 13 16,-1-13 0,0 13-16,-13-13 15,13 13-15,1-14 0,-1 14 16,0-13-16,0 13 0,-13-13 16,14 13-16,-1-13 0,0 13 15,0 0 16,-13 13-15,13 0 0,-13 0-1,0 1 1,0-1 0</inkml:trace>
  <inkml:trace contextRef="#ctx0" brushRef="#br0" timeOffset="-90767">4405 12025 0,'0'-13'0</inkml:trace>
  <inkml:trace contextRef="#ctx0" brushRef="#br0" timeOffset="-90418.92">4591 12105 0,'0'13'0,"0"0"15,0 0 1,0 1-16,0-1 16,0 0-1,13-39 17,0 12-1,0 1-16,0 13-15,1 0 16,-1 0-16,13 0 31,-12 0-31,-1 0 0,0 0 0</inkml:trace>
  <inkml:trace contextRef="#ctx0" brushRef="#br0" timeOffset="-89884.08">4895 12052 0,'-27'13'0,"27"0"32,14 0-17,-1 1 16,0-14-15,0 0 15,14-14-15,-14 14-16,0-13 0,-13 0 0,13 0 16,1 0-16,-1-1 0,-13 1 0,13 0 15,0 0-15,-13-14 0,14 14 16,-14 0-16,13-1 0,-13 1 15,13 13-15,-13-13 16,0 26 0,13 0-16,-13 1 0,0-1 0,0 0 15,0 0-15,13 1 0,-13-1 0,14 0 16,-1 0-16,0 1 16,0-1-16,14 0 0</inkml:trace>
  <inkml:trace contextRef="#ctx0" brushRef="#br0" timeOffset="-89081.04">4273 12965 0,'-40'39'16,"40"-25"-16,0-1 0,0 0 0,0 0 16,0 0-16,0 1 0,0 12 15,14-13-15,-14 1 0,13-1 0,-13 0 16,13 0-16,0-13 0,-13 13 16,13-13-16,1 0 0,-1 0 15,0 0-15,-13-13 16,13 0-16,-13 0 15,0 0-15,-13-1 16,13 1-16,0-13 0,-13 12 16,13 1-1,0 0-15,0 0 16,13 13 0,14 0-1,-14 13-15,0 0 16,0 0-16,1 1 0,-1-1 15,13 13-15,-13 1 16,1-14 0,-14 0-1,13-39 17,-13-1-17,0 14 1,13 13-16,0-26 15,-13 12-15,14 1 0,-1 0 16</inkml:trace>
  <inkml:trace contextRef="#ctx0" brushRef="#br0" timeOffset="-88663.79">4683 12779 0,'0'27'31,"13"13"-31,-13-14 16,0 0-16,0-12 0,14 12 0,-41-185 16,54 331-16,-14-145 0,-13-14 15,13 0-15,-13 1 0,13-1 16,-13 0 0,-13-13-1,0 0 1,13 13-16,-13-13 15,-1 0-15,14 13 16,-13-13-16,0 14 16,13-1-16,0 0 15,13-13 1,0 0 0,1 0-16,-1 0 15,0-13-15,0 13 0,0-13 16,1 13-16,-1 0 15,13 0 1,-12 13 0,-1 0-1</inkml:trace>
  <inkml:trace contextRef="#ctx0" brushRef="#br0" timeOffset="-88538.95">4895 12938 0,'26'40'0</inkml:trace>
  <inkml:trace contextRef="#ctx0" brushRef="#br0" timeOffset="-88215.06">5014 12912 0,'0'13'15,"0"13"1,0-12-16,0-1 15,0 0 1,0 0-16,13-26 47,0 13-31,-13-13-1,14 13 1,-1 0-16,-13-13 0,13 13 0,0-14 15</inkml:trace>
  <inkml:trace contextRef="#ctx0" brushRef="#br0" timeOffset="-87725.21">5292 12819 0,'-53'13'31,"53"1"-15,-13-1-16,13 0 16,0 0-1,66-79-15,-132 145 16,79-79-16,0 0 31,0 0-15,0 14-1,1-14 1,-1 13 0,13-13-1,-12-13 1,12-1-16,-13 14 0,-13-13 16,14 13-16,-1-13 0,-13 0 15,13 13-15,-13-13 0,13-14 16,-13 1-16,0 12 0,13 1 15,-13 0-15,0 0 0,0-1 0,0 1 16,0 0-16,0 0 0,14 13 16,-14 13 15,0 0-31,13 0 0,-13 1 0,0 12 16,0-13-16,13 1 15,-13-1-15,0 0 0,0 0 0,0 14 16,13-27-16,-13 13 0</inkml:trace>
  <inkml:trace contextRef="#ctx0" brushRef="#br0" timeOffset="-85160.5">4128 4498 0,'13'26'31,"-13"-12"-31,0 39 16,13-27-16,-13 0 0,0 27 16,0-13-16,0 0 0,13-14 15,-13 1-15,0-1 0,0 1 16</inkml:trace>
  <inkml:trace contextRef="#ctx0" brushRef="#br0" timeOffset="-84696.99">4286 5120 0,'13'119'15,"-13"-66"-15,14-14 16,-14-12-16</inkml:trace>
  <inkml:trace contextRef="#ctx0" brushRef="#br0" timeOffset="-84384.28">4313 5556 0,'0'27'15,"0"-1"-15,0-13 0,0 14 0,0-1 16,0-12-16,0 52 0,0-40 16,0 1-16,13-1 0</inkml:trace>
  <inkml:trace contextRef="#ctx0" brushRef="#br0" timeOffset="-84027.25">4286 6403 0,'13'119'0,"-13"-40"16,0-52-16,0-1 0</inkml:trace>
  <inkml:trace contextRef="#ctx0" brushRef="#br0" timeOffset="-83739.32">4247 6972 0,'0'39'15,"13"-12"1,-13-1-16,0 27 16,0-26-16,13 12 0,-13 1 15,0 0-15,0-1 0,13 1 0,-13-13 16</inkml:trace>
  <inkml:trace contextRef="#ctx0" brushRef="#br0" timeOffset="-83537.88">4352 8043 0,'-26'93'16,"52"-186"-16,-52 199 0,26-79 15,-13-14-15,13 13 0,0-12 0</inkml:trace>
  <inkml:trace contextRef="#ctx0" brushRef="#br0" timeOffset="-82226.83">6099 12700 0,'39'-13'0</inkml:trace>
  <inkml:trace contextRef="#ctx0" brushRef="#br0" timeOffset="-81924.1">5953 12475 0,'106'13'16,"-80"1"-16,-12-1 0,12 0 0,40 27 15,-53-27-15,14 13 0,-14-12 16,0 12-16,1-13 0,-14 14 15,0-14-15,13 0 0,-13 14 0,-13-14 16,13 0-16,0 14 0,-14-14 16,14 0-16,-13 0 0,0 1 0,0-1 15,13 0-15</inkml:trace>
  <inkml:trace contextRef="#ctx0" brushRef="#br0" timeOffset="-78846.62">7078 12184 0,'-14'13'16,"1"1"-16,13 12 0,-13-13 0,13 14 16,-13 12-16,-1-12 0,1 39 15,0-26-15,0-1 0,13 1 16,-13-14-16,-1 14 0,1 26 16,0-52-16,13 12 0,0-13 15,-13 14-15,-1-14 16,14 0-16,0 0 0,-13-13 0</inkml:trace>
  <inkml:trace contextRef="#ctx0" brushRef="#br0" timeOffset="-78646.78">6694 12422 0,'66'-26'31,"-53"26"-31,27 0 0,-14 13 15,14-13-15,0 13 0,0 0 16,12 1-16,-12-14 0,0 13 16,52 13-16,-65-26 0,-1 14 0,1-14 15,-14 13-15,0-13 0,0 13 16,1-13-16,-1 0 0</inkml:trace>
  <inkml:trace contextRef="#ctx0" brushRef="#br0" timeOffset="-76979.89">3678 12343 0,'-27'0'16,"14"-13"-16,0 13 0,0-14 16,-27 1-16,27 13 15,-27-26-15,27 12 0,-40-38 16,26 38-16,1-12 0,-1-1 15,1-12-15,-14-1 16,14 0-16,-14 1 0,14-1 0,-14 0 0,0-13 16,-26-39-16,40 39 15,-1 0-15,-12 13 0,12-13 0,1 0 16,-1-13-16,-26-40 16,27 53-16,-1 1 0,14-1 0,-13 0 15,12 0-15,-12 0 0,13 13 16,0-13-16,-14 0 0,14 14 15,-14-41-15,14 41 0,0-1 16,0 0-16,-1 1 0,1 12 0,0-52 16,0 39-16,0 0 15,-1-26-15,1 27 0,13-1 16,-13 0-16,0 0 0,-1 1 16,14-1-16,-13 0 0,13 14 0,-13-1 15,0-12-15,13 12 16,0 14-16,-14-13 0,14 12 0,0 1 15,-13 0-15,13 0 0,0-1 16,0 1-16,0 0 16,-13 0-16,13 0 0,0-1 15,0 1 1,0 0-16,-13 0 31</inkml:trace>
  <inkml:trace contextRef="#ctx0" brushRef="#br0" timeOffset="-76573.21">2328 9710 0,'-26'40'16,"26"-27"-16,-13 0 0,13 14 16,-14-14-16,14 0 0,0 14 15,-13-14-15,13 13 0,0-12 0,0 12 16,0-13-16,0 1 0,0-1 16,0 0-16,0 0 0,0 0 15,0 1-15,13-28 31,1 1-15,-14-13-16,0 13 0,13-1 0,-13-12 16,13-1-16,-13 14 0,13-13 15,1-14 1,-1 14-16,-13 12 0,26 14 16,-13-13-16,1 13 15,-1 13-15,0-13 0,14 14 0,12-1 16,-12 0-16,52 27 15,-52-27-15,-1-13 0,27 26 16,-27-26-16</inkml:trace>
  <inkml:trace contextRef="#ctx0" brushRef="#br0" timeOffset="-64307.72">5212 4419 0,'0'-27'0,"0"14"0,27 26 31,-14 27-31,-13-27 16,0 0-16,26 40 15,-26-13 1,14-27-16,-14 0 0,13 1 0,-13 12 0,13-13 16,-13 0-16</inkml:trace>
  <inkml:trace contextRef="#ctx0" brushRef="#br0" timeOffset="-59524.21">5186 5940 0,'26'-40'15,"-12"27"-15,12 0 16,-13 13-16,0 13 16,1 0-1,-14 0-15,0 14 16,0-14-16,0 14 0,-14-1 16,14-13-16,-13 40 15,0-40-15,13 1 0,0-1 16,0 0-16,13 0 15,-13-26-15,27 13 16,12-26-16,-12 12 16,13-12-16,-14-1 0,14 14 0,65-66 15,-52 52 1,-13 1-16,0 0 0,-1 12 0</inkml:trace>
  <inkml:trace contextRef="#ctx0" brushRef="#br0" timeOffset="-58764.77">5503 6324 0,'106'-93'0,"-93"80"0,14-27 15,-14 27 1,-13 0-16,13-14 0,1 14 0,12-67 15,-26 67-15,0-13 16,0-67 0,0 54-16,-13-1 0,-40-53 15,26 54-15,-39-1 16,27 27-16,-14-1 0,13 1 16,-13 13-16,-106 13 15,106 1-15,-105 78 16,118-52-16,0 0 0,1-1 15,-41 120 1,67-119-16,13-1 0,0 1 0,0 0 16,53 52-1,-27-78-15,80 39 16,-66-53-16,39 0 0,-26-14 16,-13 1-16</inkml:trace>
  <inkml:trace contextRef="#ctx0" brushRef="#br0" timeOffset="-58087.05">5080 4948 0,'53'-14'16,"-40"1"-1,0 13-15,14-13 0,-1 0 0,1 0 16,26-14-16,-27 1 0,1-1 16,-1 14-16,1-14 0,-1 1 15,40-67 1,-53 54-16,1 12 0,-1-52 16,-13 52-16,0-12 0,0-1 0,0 14 15,-40-80 1,14 66-16,-1 14 0,-26-14 15,14 14-15,12 12 0,-26 1 16,27 13-16,-14 13 0,0-13 16,-13 14-16,14 12 0,-14 0 0,13 1 0,0 13 15,1-1-15,12 1 0,1 13 16,13 0-16,13-14 0,-14 1 16,14 13-16,14-13 0,-1-1 0,13 1 0,40 53 15,-26-54 1,26-12-16,-13 13 0,13-14 0,1 0 0,65 1 15</inkml:trace>
  <inkml:trace contextRef="#ctx0" brushRef="#br0" timeOffset="-27367.12">7183 1733 0,'0'13'47,"0"40"-31,-39 93 0,-1-67-16,-105 119 15,39-78-15,0-41 16,-13 14-16,26-27 15,27-13-15,26-40 16,80-40 47,26-12-48,0-27 1</inkml:trace>
  <inkml:trace contextRef="#ctx0" brushRef="#br0" timeOffset="-26833.34">7342 1746 0,'-26'80'15,"12"12"1,-25 41 0,26-28-16,-14 1 0,-13 13 15,14-26 1,-14-14-16,27-52 16,0-14-16,-14 27 15</inkml:trace>
</inkml:ink>
</file>

<file path=ppt/ink/ink11.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11:13.532"/>
    </inkml:context>
    <inkml:brush xml:id="br0">
      <inkml:brushProperty name="width" value="0.05292" units="cm"/>
      <inkml:brushProperty name="height" value="0.05292" units="cm"/>
      <inkml:brushProperty name="color" value="#0070C0"/>
    </inkml:brush>
  </inkml:definitions>
  <inkml:trace contextRef="#ctx0" brushRef="#br0">21868 582 0,'13'-13'0,"0"13"32,14 40-17,-14-27-15,0 0 0,-13 13 16,40 54 0,-27-67-16,0 14 0,-13-1 0,14-13 15,-1 27-15,0-14 16,0-12-16,0-1 15,1-13 1,-1 0-16,0 0 0,0-27 16,1 14-16,-14 0 15,13-14-15,-13 1 0,26-80 16,-26 80-16,14-27 16,-14 13-16,0 27 15,13 0-15,-13-1 0,0 1 0,13 26 47</inkml:trace>
  <inkml:trace contextRef="#ctx0" brushRef="#br0" timeOffset="444.22">22410 701 0,'-13'-13'0,"0"13"15,0 13-15,-1 0 16,1 14-1,13-14-15,-13 0 0,13 1 16,13 12 0,0-13-16,1-13 15,-1 0-15,13 0 16,-13-13-16,14 0 16,-14-14-1,0 1 1,1 26-16,-14-13 15,13 13 1,0 0-16,0 0 16,0 26-1,1-13 1,-1 1 0,-13-1-16,13-13 0,0 0 15</inkml:trace>
  <inkml:trace contextRef="#ctx0" brushRef="#br0" timeOffset="896.77">22648 648 0,'14'-13'16,"-1"26"15,0 0-31,-13 1 15,0-1-15,13 0 0,-13 14 16,0-14-16,0 0 0,0 0 16,0 1-16,0-1 15,0 0-15,13-13 16,-13-13 15,14 0-15,-14-1-16,13 14 0,-13-13 0,13 0 15,-13 0-15,27-14 16,-14 27-16,-13-13 16,26 0-16,-12 13 15,-1-14 1,0 14-16,0 0 16,0 0-1,-13 14 1,14-1-16,-1 13 15,-13-12 1,0 12-16,0-13 16</inkml:trace>
  <inkml:trace contextRef="#ctx0" brushRef="#br0" timeOffset="1043.71">22953 635 0,'-14'-26'0</inkml:trace>
  <inkml:trace contextRef="#ctx0" brushRef="#br0" timeOffset="1506.55">23164 661 0,'-13'0'16,"26"0"-16,-26-13 0,0 13 16,0 0-1,-1 0 1,1 13-16,0-13 0,0 14 0,-1-1 16,1 13-1,0-12-15,13-1 16,0 0-16,13-13 15,0 0 1,1 0-16,25-13 16,-25 0-1,12-1 1,-13 14-16,-13-13 16,27 26-1,-14 1 1,-13-1-1,0 0-15,13-13 0,-13 13 16</inkml:trace>
  <inkml:trace contextRef="#ctx0" brushRef="#br0" timeOffset="1912.13">23349 437 0,'0'-14'16,"-13"28"-16,0 25 15,13-26-15,-13 40 16,13-39 0,-13 12-16,13-13 0,0 1 15,0 25-15,-14-26 16,14 1-1,14-14 1,12-14 0,0 14-1,-12-13 1,12 26 0,1 1-16,-14 12 31,-13 1-31,-13-14 15,-14 13 1,14-12-16,-14-14 16,14 0-1,0 0-15</inkml:trace>
  <inkml:trace contextRef="#ctx0" brushRef="#br0" timeOffset="2315.41">23535 384 0,'13'-14'0,"-13"41"31,0-14-31,-13 0 16,13 14-1,0-1-15,0 1 0,0-14 16,0 0-16,13 0 0,-13 1 0,13 12 16,-13-13-16,27 14 15,-14-27-15,0 0 16,0 13-16,14-26 0,-14 13 0,27-13 16,-27 13-16,27-27 15,-27 14-15,0 0 16,0 13-16,-13-14 0,13 1 0,-13 0 15,-13 39 17,0-26-32,13 27 15,0-14 1,13 0 0,-13 1-16,13-14 0</inkml:trace>
  <inkml:trace contextRef="#ctx0" brushRef="#br0" timeOffset="2702.37">22450 1111 0,'53'-13'0,"-106"26"0,132-39 0,-52 26 15,52-40-15,-26 27 0,79-14 16,-79 1-16,13 13 15,133-14-15,-159 27 16,26-13-16,79-13 16,-105 26-16,26-14 15,-53 14-15,0 0 0,14 0 16,-27 14-16,-13-1 31,-1-13-31</inkml:trace>
  <inkml:trace contextRef="#ctx0" brushRef="#br0" timeOffset="2964.11">22688 1177 0,'278'-39'15,"-225"25"-15,0 14 0,0-13 0,92-13 16,-105 13-16,-1 13 16,1-14-16,-13 14 0,-1 0 0,14-13 15,-27 13-15,0 0 16,27-13-16,-27 13 16</inkml:trace>
  <inkml:trace contextRef="#ctx0" brushRef="#br0" timeOffset="5414.17">10729 1124 0,'-13'-13'16,"-14"-40"0,1 27-16,12-14 0,-25 0 0,12 1 15,-12-14-15,12 0 16,-12-13-16,-1 13 0,13 0 0,-12 0 0,12 0 16,-12-13-16,25 40 0,1 12 15,0-25 1,13 25-16,13 14 15,40 14 1,-13-1-16,13 13 0,0 14 0,-1-14 16,1 1-16,0 13 0,-13-1 15,13-12-15,-13-1 0,-1 1 0,41 26 16,-67-40 0,13 13-16,-12-26 15,-14 14-15,-14-1 16,1-13-16,-40 13 15,13 0 1,1 0-16,-107 14 16,80-1-16,13-12 0,-92 25 15,105-26-15,-26-13 16,39 0-16,14 0 16,0 14-16,0-14 0,-1 0 0,14-14 15,14 1-15,-1-13 16,80-93-1,26-27-15,-80 93 16,1 0-16,-14 0 0,67-39 16,-80 65-1,0 1-15,1 13 0,-1 0 0,-13-1 16,13 41 0,-13 79-1,-13-67-15,13 27 0,0 1 0,-13-28 16,13 120-1,-14-106-15,14 13 16,0-40-16,0-12 0,14 12 0,-14 1 16,26 12-1,-13-39-15,1 0 16</inkml:trace>
  <inkml:trace contextRef="#ctx0" brushRef="#br0" timeOffset="6114.47">11576 1058 0,'-14'-26'15,"1"13"-15,0-27 16,0 13 0,-1 1-16,1-14 0,-13-13 0,-1 1 0,1-1 15,-1 0-15,-12 0 0,12 0 16,1 0-16,-1 0 0,1 13 16,-1 1-16,14 12 0,0 1 0,0-1 15,13 14-15,-14 0 0,14 0 0,0-1 16,14 14-1,65 53 1,-39-26-16,-1 12 0,14-12 0,-13 13 0,13-14 16,26 53-16,-39-52 15,0-1-15,-14 1 0,1-14 0,-1 13 16,27 14 0,-40-27-16,0-13 0,-13 14 0,0-1 15,-13-13 1,-26 26-1,25-26-15,-12 14 0,-14-14 0,0 13 16,1 0-16,-14 0 0,-93 14 16,93-14-1,-26-13-15,53 13 0,-1-13 0,1 0 16,12 0-16,1-13 0,-13-14 16,26 14-16,0-13 15,26-40-15,80-80 16,-80 93-16,14 13 15,40-52-15,-41 52 16,-26 14-16,14 13 0,-1-14 0,-12 14 16,-1 13-16,0 0 0,0 0 15,-13 13-15,14 0 0,-14 14 16,0 92-16,0-66 16,-14 13-16,1-13 0,0 0 0,0 13 15,-1-13-15,-25 79 16,39-106-16,-14 41 15,14-41-15,0-13 0,0 1 0</inkml:trace>
  <inkml:trace contextRef="#ctx0" brushRef="#br0" timeOffset="7060.04">12502 1111 0,'-106'-238'0,"53"132"0,26 40 0,1 13 16,-14-13-16,14 13 0,-1 0 0,-52-79 15,66 106-15,-1-1 16,1 14-16,13 0 0,0-1 16,27 41-1,65 26 1,-52-27-16,79 40 16,-93-52-1,14-1-15,-13 0 0,-14 0 0,0 0 0,14-13 16,-14 14-16,13-1 15,-26 0 1,13-13-16,-13 13 0,0 1 0,0-1 16,-13 40-1,13-27-15,-13 1 0,13 26 16,0-27-16,-13 1 0,13-1 16,-13 40-1,13-39-15,-14-1 0,14-13 0,-13 14 16,13-14-1,0 0-15,-13 0 16,0 1-16,-1-14 16,1-14-16,0 14 15,13-13-15,-13 13 0,-1-13 0,-25-14 16,26 1 0,-1-14-16,-12 14 0,13-1 0,-27-78 15,27 78 1,13 1-16,0-1 0,-13 14 0,13-13 15,0 12-15,0-12 0,13-27 16,0 40-16,27-40 16,-27 40-1,0-14-15,0 14 0,27-27 16,-27 40-16,-13-13 0,13 0 16,1 13-16,-1 13 15,-13 40 1,-13-13-16,13 12 15,-14 68-15,1-68 16,0 15-16,0-1 0,0 0 16,-1-13-16,1 0 0,0 0 0,0 13 15,-1 26-15,1-52 16,13 0-16,0-14 0,0-13 0,0 14 16,13-14-16</inkml:trace>
  <inkml:trace contextRef="#ctx0" brushRef="#br0" timeOffset="9020.19">12991 1363 0,'-13'-40'0,"13"13"0,0 14 0,-13-13 16,-1-67-16,14 53 16,0 1-16,-13-27 0,0 13 0,13 0 15,-13 13-15,-1-92 16,1 105-16,13 1 0,0 13 15,-13-27 1,13 27-16,-13 0 0,26 39 31,0 0-31,27 54 16,-14-54-16,-12 1 0,52 65 16,-27-52-1,-25-27-15,25 0 16,-39 1-16,0-1 15,0 0 1,-53 0 0,40-13-16,-13 0 0,-1 14 15,-26-1-15,27-13 16,-1 0-16,1 13 0,13-13 0,-40 0 16,40 0-1,-1 0-15,1-13 16,26-14-16,14 1 15,-14-1-15,14 1 0,52-67 16,-53 54 0,1 12-16,-14 1 0,14-1 0,-14 1 15,0 13-15,0-1 0,0 14 0,-13-13 16,14 26 0,-28 80-1,1-53-15,0 13 0,-40 105 16,27-105-16,-41 119 15,54-119 1,0-13-16,0 0 0,13-1 0,-27 41 16</inkml:trace>
  <inkml:trace contextRef="#ctx0" brushRef="#br0" timeOffset="11588.37">12330 344 0,'-67'145'15,"54"-105"-15,0 0 0,0 13 0,0 66 16,13-79-16,0-14 15,13 0-15,-13-12 0,13 12 16,0-13-16,0-26 16,27-27-1,-13 14-15,-14 0 0,0-14 0,0-13 16,0 0-16,40-106 16,-53 120-16,14-1 0,-14 13 15,13-12-15,-13 26 16,-40 39-1,-13 67 1,27-54-16,-1 14 0,14 0 0,0-13 16,-14 52-1,27-65-15,14-14 0,-14 0 0,0 1 16,39-14 0,-25-14-16,65-39 15,-53 14-15,1-1 0,39-53 16,-40 40-16,1 14 0,13-27 15,-27 39-15,-13 14 16,13 13-16,-13-13 0,-66 105 16,13 1-1,13-40-15,14 0 0,-1 13 16,1-13-16,13-13 0,-1-1 0,1 1 16,13-14-16,-13 1 0,13-14 0,13 0 15,-13 0-15,27-13 16,-14-13-16,13 0 15,1 0-15,-1-14 0,1-12 0,12 12 16,-25 1-16,25-27 16,-25 40-16,-1 13 0,-13-14 0,-27 54 15,-26 13 1,27-13-16,0-1 16,-1-12-16,1-1 0,12-13 0,-12 14 15,26-14-15,-13-13 0,13 13 16,13-39-1,0-1-15,14 14 16,52-132-16,-53 105 16,1-13-16,-14 13 0,0 14 15,1 0-15,-1 12 0,-13 1 0,-27 53 16,-26 26 0,27-26-16,-14-1 15,14 1-15,-27 13 0,40-27 16,13-12-16,-14-1 0,1-13 0,13 13 15,13-66 1,1 27-16,-1-14 16,13-119-1,-12 106-15,-1-13 0,-13 0 0,0-53 16,0 93 0,0-1-16,-13 27 0,-1 0 0,1 0 15,0 0-15,-27 27 0,14-14 16,-54 53-16,41-26 15,26-14-15,13-13 0,-14-13 16,14 13-16,27-39 16,39-53-1,-40 39 1,1-13-16,-14 0 0,13 13 0,1-39 16,-14 66-1,-13 0-15,-26 39 16,-27 53-16,26-39 15,1 13-15,-14-13 0,-13 52 16,27-52-16,13-14 0,-1 1 0,14-14 16,-13 0-16,13 1 0,13-1 15,1-26-15,-1 13 16,13-14-16,14 1 0,66-40 16,-80 40-16,14 13 15,-27 0-15,0 0 0,14 40 16,-27-14-16,0 14 0,-13 0 15,13 12-15,-14-12 16,1 79-16,0-79 16,13-27-16,13 14 0,-13-14 0,0 0 15,13 13-15,1-12 16,25 78-16,-25-52 16,-14 0-16,13 13 0,-13-14 0,0 14 15,-13 13-15,-1-13 0,1 0 16</inkml:trace>
  <inkml:trace contextRef="#ctx0" brushRef="#br0" timeOffset="12832.55">6641 1244 0,'198'-53'0,"-131"39"16,-1 14-16,0-13 0,79-13 15,-78 12-15,-15 14 0,1-13 16,0 13-16,106-13 16,-119 0-16,-1 13 0,54 0 15,-80 0 1,1-13-16,-1 13 0,0 0 0</inkml:trace>
  <inkml:trace contextRef="#ctx0" brushRef="#br0" timeOffset="13663.59">1931 1389 0,'14'-13'16,"78"13"0,-39-13-1,0 13-15,251-40 16,-211 27-16,0-1 0,118-12 16,-118 13-16,26 0 15,-26-1-15,-1 1 0,1 0 0,-14 0 16,159-14-1,-172 27-15,-13-13 0,93 0 16,-133 13 0,0 0-16,14 13 15</inkml:trace>
  <inkml:trace contextRef="#ctx0" brushRef="#br0" timeOffset="23399.29">21034 4617 0,'93'-40'0,"-67"40"16,1-13-16,13 13 0,65-13 15,-65 0-15,-13 13 0,-1 0 16,0 0-16,14 13 15,-13-13-15,-14 13 0,13-13 16,-12 13-16,-1 1 0,13 52 16,-13-40-16,1 1 0,-1 12 0,-13 1 15,26 92 1,-26-66-16,40 106 16,-27-119-16,1 13 0,-1-13 15,13 14-15,27 118 16,0-66-16,-40-66 15,14 13-15,-1-13 0,1-14 0,-1 14 16,1 0-16,-1-13 0,-13-14 16,53 67-1,-52-67-15,-1-12 0,0 25 16,-13-25 0,0-1-16,0 0 0,-13 0 15,-27 27-15,-39-14 16,39-12-16,-119 39 15,93-27-15,0-13 16,0 14-16,0-14 0,0 0 0,-80 14 16,67-14-16,13 0 15</inkml:trace>
  <inkml:trace contextRef="#ctx0" brushRef="#br0" timeOffset="24883.34">701 4802 0,'-66'13'0,"53"-13"0,-14 0 0,-12 14 15,12-14-15,1 0 16,-14 13-16,14-13 0,-27 13 15,26-13-15,-65 13 16,39 1-16,39-14 16,-12 0-16,13 13 0,-27-13 15,27 0-15,-14 13 16,14 0 0,0-13-16,0 13 0,13 14 15,-14-27-15,14 40 16,-13-14-1,13-13-15,0 14 0,0-14 16,-13 53-16,13-39 16</inkml:trace>
  <inkml:trace contextRef="#ctx0" brushRef="#br0" timeOffset="26553">26 5027 0,'14'13'47,"-1"27"-32,0-27-15,-13 0 0,13 14 16,-13-14-16,14 14 0,25 52 15,-25-39 1,-1-14-16,0 40 0,0-26 16,0 0-16,1-1 0,-14-12 0,39 92 15,-25-93-15,12 67 32,-13-67-32,1 41 15,-1-54-15,-13 0 0,13 13 0,-13-12 16,13-1-16,-13 0 0,13 27 15,1-27-15,-14 0 0,13 0 16,0 14 0,-13-14-16,0 0 0,13 1 15,-13-1 1,14-13-16,-14 13 16,0 0-1,13 1 16,0-1 1,0-13-17,0 13 1,1-13-16,-1 13 16,0 0-16,0-13 15,14 27 1,-14-27-16,0 13 15,1 0 1,12-13 0,-13 14-16,0-14 0,1 0 15,-1 13 1,13-13-16,-12 13 16,-1-13-16,0 0 0,0 13 15,14-13 1,-1 0-16,-13 0 0,1 0 15,-1 0 1,0 0-16,0-13 0,1 13 0,-1 0 16,0 0-1,0 0-15,0 0 0,1 0 16,-14-13 0</inkml:trace>
  <inkml:trace contextRef="#ctx0" brushRef="#br0" timeOffset="37871.08">8771 2566 0,'53'0'0,"-40"0"15,27-13-15,-27 13 16,13 0-16,-12 0 0,-1 0 0,0 0 16,14 0-16,26-13 15,-27 13-15,40 0 16,-39 0-16,-1 0 15,1-13-15,52 13 16,-53 0-16,1 0 0,39-13 16,-40 13-16,-12 0 15,52-14 1,-40 14-16,-13 0 0,14 0 0,-14 0 16,14 0-16,-1 0 15,1-13-15,-14 13 0,0 0 0,0 0 16,40 0-1,-40 0-15,14 0 0,-14 0 0,13 0 16,27-13 0,-26 13-16,-14 0 0,40 0 15,-27-13-15,14 13 16,-27 0-16,14 0 16,-14 0-16,0 0 0,1 0 0,-1-14 15,13 14-15,-13 0 0,1 0 16,-1 0-16,0 0 0,40 0 15,-40-13-15,1 13 0,25 0 16,-26 0-16,1 0 16,-1 0-16,13-13 0,-12 13 15,-1 0-15,0 0 0,0 0 0,1 0 16,38 0-16,-38-13 16,-1 13-16,0 0 0,0 0 15,1 0-15,12 0 16,-13 0-16,0 0 0,14 0 0,-14-14 15,0 14-15,1 0 0,-1 0 0,0 0 16,14 0-16,-14 0 0,0 0 16,0 0-16,0 0 0,1 0 0,25 0 15,-25 0-15,-1 0 0,0 0 16,0 0-16,14-13 0,-14 13 16,0 0-16,40 0 15,-40 0-15,1 0 0,-1 0 16,0 0-16,27 0 15,-14 0-15,-13 0 0,1 0 0,-1 0 16,13 0-16,-12 0 16,-1 0-16,0 0 0,0 0 15,0 0-15,1 0 0,-1 0 16,0 0-16,14 0 16,-14 0-16,0 0 15,0 0-15,-13 13 0,14-13 0,-1 0 0,0 0 16,0 0-16,0 0 0,1 0 15,-1 0-15,27 0 16,-27 0 0,0 0-16,0 0 0,27 0 15,-27 0-15,0 0 16,1 0-16,-1 14 0,0-14 16,0 0-16,1 0 0,-1 0 15,0 0-15,0 0 0,27 13 16,-27-13-16,0 0 15,1 0-15,-1 0 16,0 13-16,0-13 0,14 0 0,-14 0 16,0 0-16,0 0 0,1 0 0,12 0 15,27 13 1,-40-13-16,1 0 0,-1 0 0,13 0 16,-13 0-16,1 0 15,-1 0-15,0 0 0,0 0 0,40 14 16,-39-14-16,-1 0 15,13 0-15,-13 0 0,14 0 16,-14 0-16,0 0 0,14 0 16,-14 0-16,0 0 0,14 0 15,-14 0-15,13 0 16,1 0-16,-14 0 0,14 0 0,-14 0 16,0 0-16,0 0 0,14 0 15,26 0 1,-14 0-16,-25 0 0,-1 0 15,13 0-15,-13 0 0,1 0 0,12 0 16,-13 0-16,40 0 16,-26 0-16,-14 0 0,0 0 15,14 0-15,-14 0 0,13 0 0,-12 0 16,52-14 0,-53 14-16,0 0 0,14 0 0,-14 0 15,13 0-15,14 0 16,-27 0-16,0 0 0,14 0 0,-14 0 15,14 0-15,-14 0 0,13 0 0,-12 0 16,-1 0-16,26 0 16,-12 0-16,-14 0 0,14 0 15,-14 0-15,0 0 0,14 0 0,-14-13 16,13 13-16,-13 0 0,27 0 16,-27 0-16,1 0 15,12 0-15,-13 0 0,0 0 16,1 0-16,25 0 15,-25 0-15,-1 0 0,0 0 16,14 0-16,-14 0 0,0 0 0,27 0 16,-27 0-1,13 0-15,-12 0 0,-1 0 0,13 0 16,-12 0-16,12-13 0,-13 13 0,0 0 16,40 13-1,-26-13-15,-14 0 0,0 0 0,14 0 16,-14-13-16,0 13 0,14 0 15,26 0 1,-40 0-16,0 0 0,0 0 0,1 0 0,-1 0 16,13 0-16,-13 0 0,14 0 15,-14 0-15,0 0 16,1-13-16,-1 13 0,0 0 16,0 0-1,14 0 1,-14 0-1</inkml:trace>
  <inkml:trace contextRef="#ctx0" brushRef="#br0" timeOffset="47451.14">13772 3201 0,'0'-13'125,"13"13"-110,0 0 17,0 0-17,0 0-15,1-13 0,12 13 16,-13 0-16,1 0 15,-1 0-15,0 0 0,0 0 0,1 0 16,-1 0-16,0 0 0,0 0 0,0 0 16,1 0-16,-1 0 15,13 0-15,-12 0 0,-1 0 0,0 0 16,0 0-16,14-13 0,-14 13 0,0 0 16,0 0-16,1 0 0,-1 0 15,0 0-15,0 0 0,1 0 0,-1 0 16,0 0-16,0 0 0,14 0 15,-14 0-15,0 0 0,14 0 16,-14-13-16,0 13 0,0 0 0,1 0 16,-1 0-16,0 0 0,0 0 15,0 0-15,14 0 0,-14 0 16,0 0-16,1 0 0,-1 0 0,13 0 16,-12 0-16,-1 0 0,0 0 15,0 0-15,0 0 0,1 0 0,-1 0 16,0 0-16,0 0 0,1 0 0,-1-14 15,0 14-15,0 0 0,1 0 16,-1 0-16,0 0 0,0 0 16,0 0-16,1 0 0,-1 0 15,0 0-15,0 0 0,14 0 16,-14 0 0,0 0-16,-13-13 0,13 13 0,1 0 15,-1 0-15,0 0 0,0 0 16,1 0-16,12 0 15,-13 0-15,1 0 0,-1 0 16,-13-13-16,26 13 16,-13 0-16,14 0 15,-14 0-15,0 0 16,1 0-16,-1 0 16,0 0-16,0 0 0,1 0 15,-1-13-15,0 13 16,0 0-16,0 0 15,1 0 1,-1 0 0,0 0-1,0 0 17,-26-14 343</inkml:trace>
  <inkml:trace contextRef="#ctx0" brushRef="#br0" timeOffset="49012.51">18508 3135 0,'26'-13'31,"-13"13"-15,1 0-16,-1 0 0,0 0 15,0 0-15,0 0 0,1 0 16,12 0-16,-13 0 0,14 0 0,-14 0 16,53 0-16,-39 0 15,12 0-15,1 0 0,13 0 0,0-13 16,-13 13-16,12 0 0,1 13 16,0-13-16,-13 0 0,13 0 0,-13 0 15,-1 0-15,14 0 0,-13 0 0,13 0 16,0 0-16,-14 0 0,1 0 15,0 13-15,-1-13 0,-12 0 0,13 0 16,-14 0-16,14 0 0,-14 0 16,14 0-16,-14 0 0,1 0 0,-1 0 15,1 0-15,-14 0 0,13 0 16,1 0-16,-14 0 0,0 0 0,14 0 16,-14 0-16,0 0 0,0 0 0,1 0 15,-1 0-15,0 0 16,0 0-16</inkml:trace>
  <inkml:trace contextRef="#ctx0" brushRef="#br0" timeOffset="50660.27">14896 3241 0,'-13'40'15,"13"-27"-15,0 0 0,0 1 16,0-1-16,0 0 0,0 0 15,0 14 1,0-14-16,0 0 0,0 0 16,0 1-1,13-14-15,-13 13 0,13-13 16,0 13 0,1-13-16,12 0 15,-13 0-15,14 0 0,79-13 16,13 0 15,-80 13-31,14-14 0,0 14 0,0 0 16,0 0-16,119-13 15,-119 13-15,13 0 0,-13 0 16,13 0-16,-13 0 0,13 0 16,0 0-16,-13 0 0,13 0 0,-13 0 0,14 0 15,-15 0-15,15-13 0,-14 13 16,-1 0-16,54-13 0,-53 13 15,0 0-15,0 0 0,0-14 16,0 14-16,0 0 0,0 0 0,0-13 16,0 13-16,39-13 15,-52 13-15,0 0 0,-1-13 0,14 13 16,-13 0-16,-1 0 0,-12-13 0,13 13 16,-14 0-16,14 0 0,-1-14 15,1 14-15,0 0 0,-14 0 0,1-13 16,12 13-16,-12 0 0,-1 0 0,1-13 15,-1 13-15,14 0 16,-14 0-16,1 0 0,-14 0 0,14-13 16,-1 13-16,-13 0 0,14 0 15,-1 0-15,-13 0 0,14 0 16,13 0-16,-14 0 0,-13 0 16,14 0-16,-1 0 0,-13 0 0,14 0 15,-14 0-15,14 0 0,12 0 16,-12 0-16,12 0 15,-25 0-15,12 0 0,1 0 0,-1 0 16,-13 0-16,14 0 0,-1-14 16,1 14-16,-1 0 0,-13 0 0,14 0 15,-1 0-15,1 0 0,-14 0 0,13 0 16,-12 0-16,-1 0 0,13 0 16,-13 0-16,27 0 15,-27 0-15,1 0 0,-1 0 16,0 0-16,0 14 15,1-14-15,-1 0 16,0 0-16,0-14 0,0 14 16,1 0-1,-1 0 1,0 0 0,0 0-1,1 0 1,-1 0 15,-13-13 0,0 0-15,-13 0 0,13-1 15,-14 14-16,14-13-15,0 0 16,-13 13 15,0 0-31</inkml:trace>
  <inkml:trace contextRef="#ctx0" brushRef="#br0" timeOffset="54109.28">8281 1773 0,'-13'-14'0,"13"1"32,-13 13-1,0 0-31,0 0 15,-1 13 1,1-13-16,13 14 16,-13-14-16,13 13 0,-13-13 15,13 13-15,-14-13 0,14 13 0,-13 1 16,0-14-16,13 13 0,-13 0 0,-1 0 16,14 1-16,-13-1 15,13 0-15,-13-13 0,13 13 0,-13 0 16,13 1-16,-13-14 0,13 13 15,0 0-15,-14-13 0,14 13 0,0 1 16,-13-1-16,13 0 16,-13-13-16,13 13 0,0 1 15,-13-14-15,13 13 0,-14 0 16,14 0 0,0 0-1,-13 1-15,13-1 16,-13 0-16,13 0 15,0 1 1,0-1 0,-13 0-16,13 0 0,0 0 15,0 14 1,0-14 0,0 0-1,0 1-15,0-1 0,0 0 16,0 0-16,13 14 15,0-1 17,0 14-17,1-14 1,-1-26-16,-13 14 0,13-14 16,-13 13-16,13 0 0,14 0 15,-27 1-15,13-14 0,0 13 16,0-13-16,1 13 15,-1-13-15,0 13 0,0-13 0,1 0 16,-14 13-16,13-13 0,0 0 16,0 14-16,1-14 0,-1 13 15,0-13-15,0 0 0,0 0 16,1 13-16,-1-13 0,0 0 16,0 13-16,1-13 0,-1 0 15,0 0-15,0 0 16,1 14-16,12-14 0,-13 0 0,0 0 15,1 0-15,-1 0 0,13 0 16,-12 0-16,38 0 16,-38 0-16,-1 0 15,0 0-15,0 0 0,1 0 0,-1 0 16,13 0-16,-12 0 0,-1 0 16,0 0-16,0 0 0,0 0 0,1 0 15,-1 0-15,0 0 0,0-14 16,1 14-16,-1 0 15,0 0-15,0 0 0,1 0 16,-1 0-16,0 0 0,0 0 16,0 0-16,1-13 0,-1 13 15,0 0-15,0 0 0,1 0 16,-1-13-16,0 13 16,0 0-16,1 0 15,-1 0-15,0 0 16,0-13-16,0 13 15,14 0 1,-14-14-16,0 14 16,1 0-16,-1 0 0,27-13 31,-27 13-31,-13-13 0,13 13 0,0 0 16,0 0-16,1 0 0,-1-13 15,0 13-15,0 0 16,1 0-16,-1-13 15,0 13-15,0 0 0,0-14 16,1 14-16,-1 0 0,0-13 16,0 13-16,1 0 15,-1-13-15,0 13 16,0 0-16,1-13 0,-1 13 16,0 0-16,-13-14 15,13 14-15,0 0 0,1-13 16,-1 13-16,0 0 15,0-13-15,1 13 16,-1 0-16,-13-13 0,13 13 16,0 0-16,1 0 15,-14-14-15,13 14 16,0-13-16,0 13 16,0-13-1,1 13-15,-1 0 16,-13-13-16,13 13 0,-13-13 15,13 13 1,1-14 0,-1 1-1,0 13-15,-13-13 16,13 0 0,0-1-1,1 1 1,-14 0-1,13 13-15,-13-13 16,13-14 0,0-12 15,1 12-15,-14 14-1,0-14 1,0 14-16,-14 0 0,14 0 15,0 0-15,-13-1 16,13 1-16,-13 13 16,13-13-16,-13 0 0,-1-1 15,1 1 1,0 0-16,0 0 16,0-1-16,-14 1 15,14 0-15,0 13 16,-1-13-16,1 13 0,-13-13 15,-1-1-15,14 14 16,-13-13-16,12 13 0,-12-13 16,13 13-16,-1-13 0,-12 13 15,0-14-15,-1 14 0,14 0 16,-14-13-16,14 13 0,-27-13 16,1 13-16,12 0 15,14-13-15,-13 13 0,12 0 16,-25 0-16,26 0 15,-40-14-15,26 14 16,14 0-16,-14 0 0,14 0 16,-13 14-16,-14-14 15,27 0-15,0 0 0,-14 0 0,14 0 16,-14 13 0,14-13-16,-13 0 0,13 0 0,-1 0 15,-25 0-15,25 13 0,1-13 16,0 0-16,0 0 0,-1 0 15,1 0-15,0 0 0,0 13 0,-14-13 16,14 0-16,0 0 16,0 0-16,13 14 15,-14-14-15,-12 0 0,13 0 16,-1 13-16,1-13 16,0 0-16,0 0 0,0 13 15,-1-13-15,1 0 0,0 0 16,0 13-1,-14-13-15,14 0 0,0 14 16,0-14-16,-1 0 0,1 0 16,-13 0-1,12 13-15,1-13 0,-13 13 16,12-13 0,1 0-16,0 13 15,0-13-15,0 0 16,-1 13-16</inkml:trace>
  <inkml:trace contextRef="#ctx0" brushRef="#br0" timeOffset="55803.7">3334 2011 0,'0'-13'16,"0"-1"-16,13 1 16,-13 0-16,13 13 0,0-13 0,1-1 15,-1-12-15,53-27 16,-53 40-16,14 0 0,-1-14 15,1 14-15,-14 0 0,13-1 16,1-12-16,39 0 0,-26 12 16,26-25-16,-27 25 0,14-12 15,0 13-15,0 0 16,0-1-16,0-12 0,66-1 16,0-12-16,-53 25 0,-13 1 15,0 13-15,66-26 0,-53 13 16,53-1-16,-52 1 0,-1 13 15,-13-13-15,79 0 16,-79 13-16,0 0 0,13-14 16,-13 14-16,0 0 0,0 0 15,52 0-15,-52 0 0,0 14 16,53-1-16,-53-13 0,0 13 16,0-13-16,0 13 0,0-13 0,0 14 15,0-14-15,-1 13 0,1-13 16,0 13-16,0-13 0,0 0 0,0 13 15,0-13-15,0 0 0,0 13 16,0-13-16,-14 14 0,14-14 0,-13 0 16,13 13-16,-13-13 0,-1 13 15,14 0-15,-13-13 0,0 0 0,-1 14 16,1-14-16,-14 13 0,1-13 16,-1 13-16,1-13 0,-1 13 0,-13-13 15,14 0-15,-1 14 0,-12-14 16,-1 13-16,27-13 15,-27 13-15,0-13 16,0 0-16</inkml:trace>
  <inkml:trace contextRef="#ctx0" brushRef="#br0" timeOffset="56290.77">7183 1402 0,'14'27'31,"-1"-14"-15,-13 0-1,13 0-15,0-13 0,-13 14 0,14-14 16,-1 13-16,0 0 0,0-13 16,0 13-16,1-13 0,-1 14 15,0-14-15,0 13 0,1 0 16,-1-13-16,13 13 0,-26 1 16,14-14-16,-1 13 0,0 0 15,0 0 1,-26 0-1,13 1-15,-13-1 0,0-13 0,-1 13 16,-52 27-16,26-14 0,-12 1 16,12-1-16,-13-13 15,-40 40-15,54-39 0,-14-1 16</inkml:trace>
  <inkml:trace contextRef="#ctx0" brushRef="#br0" timeOffset="58775.27">4842 4167 0,'-13'0'15,"-1"0"-15,1 0 16,0 0-16,0 0 16,-1 0-16,1 0 0,0 0 15,0 0-15,-27 13 16,27-13-16,0 0 0,-1 0 0,-12 0 15,13 0-15,-14 0 16,14 0-16,-13 14 0,-27-14 16,13 0-16,14 0 0,-1 0 15,14 0-15,-14 0 0,14 0 16,-13 0-16,12 0 0,1 0 16,0 0-16,0 0 15,0 0-15,-1 0 0,1 0 16,0-14-1,0 14-15,13-13 32,-14 13-32,14-13 15,-13 13-15,13-13 16,0 0-16,-13 13 16,13-14-16,-13 1 15,13 0 1,-13 0-1,13-1-15,0 1 0,-14 13 16,14-13-16,-13 0 16,0-1-1,13 1-15,-13 0 0,-1 13 0,14-13 16,-13 0-16,0-1 16,0 1-16,13 0 15,-14 13-15,14-13 16,-13 13-16,13-14 0,0 1 15,-13 13-15,13-13 0,-13 0 16,13-1 0,0 1-16,0 0 15,0 0-15,0 0 16,0-1-16,0 1 16,0 0-16,0-14 15,0 14-15,0 0 16,13 0-1,-13-1-15,0 1 16,0 0-16,13 13 0,-13-13 0,13 0 16,1-1-1,-1 1-15,0 13 16,0-13-16,1 0 0,-1-1 16,0 14-16,0-13 0,14 0 15,-14 0-15,0-1 0,0 14 16,1-13-16,12 13 0,-13-13 15,1 0-15,12 0 0,0 13 16,-12-14-16,25 1 0,-25 13 16,25-13-16,-25 0 15,12 13-15,-13 0 0,0-14 0,27 1 16,-13 13-16,-14 0 16,0 0-16,0-13 0,14 13 0,-14 0 15,0 0-15,14-13 0,-14 13 16,27 0-16,-27-13 0,13 13 15,-13 0-15,1 0 0,12 0 0,-13 0 16,1 0-16,-1-14 0,0 14 16,0 0-16,14 0 15,-1 0-15,-13 0 0,1 0 16,12 0-16,-13 0 0,1 0 16,-1 0-16,0 0 15,0 0-15,1 14 0,-1-14 0,0 0 16,0 0-16,0 0 0,1 13 15,-1-13-15,0 0 16,0 13-16,1-13 0,-1 0 16,13 13-16,-12 0 0,-1-13 15,0 0-15,0 14 0,14-1 16,-14-13-16,13 0 0,-12 13 16,-1-13-16,0 13 0,0-13 0,1 0 15,12 14 1,-13-1-16,0-13 0,-13 13 0,14-13 15,-1 13-15,0 0 16,0 1-16,-13-1 16,14-13-16,-14 13 0,13 0 15,-13 1-15,13-14 16,-13 13-16,13 0 0,-13 0 16,13-13-16,-13 14 15,14-1-15,-14 0 16,13 0-1,0 0-15,-13 1 16,0-1-16,0 0 16,13 14-1,-13-14-15,0 0 16,0 0-16,-13 1 16,13-1-1,0 0-15,0 0 16,-13 0-16,13 14 15,-13-27-15,13 13 16,-14 0-16,14 1 16,-13-1-16,0 0 15,0 0-15,0 1 0,13-1 16,-14 0-16,1 0 16,0 0-16,13 1 0,-27-1 0,-12 27 15,26-27-15,-1-13 16,1 13-16,13 0 0,-26 1 15,-1-1-15,1 13 16,12-26-16,1 13 0,0 1 16,-27-1-16,27 0 15</inkml:trace>
  <inkml:trace contextRef="#ctx0" brushRef="#br0" timeOffset="59756.13">1958 3598 0,'-13'-13'0,"26"0"16,-13 0-16,13-1 16,0 1-16,1 0 0,-1 0 15,0-14-15,27 1 16,-1-1-16,-12 14 0,39-13 15,-40 12-15,54-12 16,-40 13-16,52-14 0,-52 14 16,13 13-16,-14-13 15,14 13-15,133-27 0,-133 14 16,92 0-16,-79 0 0,53 13 16,-53-14-1,40 14-15,0 0 0,-53-13 16,0 13-16,0 0 0,-14 13 15,28-13-15,-28 0 16,-12 0-16,-1 0 0,-13 14 0,14-14 0,-14 0 16,0 0-16,14 0 15,-14 13-15,0-13 0,1 0 16,-1 0-16,0 0 16,0 0-16,0 0 15,-13 13 1,14-13-1</inkml:trace>
  <inkml:trace contextRef="#ctx0" brushRef="#br0" timeOffset="60251.35">3850 3109 0,'13'13'31,"0"0"-31,0 1 16,1-1-16,12 0 15,-13 0-15,1-13 16,-1 13-16,0-13 0,0 14 0,0-1 15,14 0 1,-14-13-16,0 13 0,1-13 16,-14 14-1,0-1-15,0 0 16,-14 0-16,1 1 0,0-14 16,0 13-16,-14 13 15,1-13-15,13 1 16,-1-1-16,-12 0 0,13 0 0,-14-13 0,1 27 15,12-14 1,-12-13-16</inkml:trace>
  <inkml:trace contextRef="#ctx0" brushRef="#br0" timeOffset="63684.23">8136 4762 0,'-13'0'16,"39"14"31,-13-14-47,1 0 0,-1 0 0,13 0 15,1 0-15,-1 0 0,14-14 16,0 14-16,13 0 0,-1 0 16,54-13-16,-53 13 0,0 0 15,0 0-15,13-13 0,-13 13 16,0 0-16,13 0 0,-13-13 15,53 13-15,-53 0 0,13 0 16,-26 0-16,-14 0 16,14 0-16,-14 0 0,1 0 0,-1 0 15,-13 0-15,14 0 0,-14 0 16,27 0-16,-27 0 0,13 0 16,1 0-1,-14-13-15,0 13 16,1 0-1,-1 0 48</inkml:trace>
  <inkml:trace contextRef="#ctx0" brushRef="#br0" timeOffset="64413.37">11774 4696 0,'119'0'0,"-93"0"16,1 0-16,13 0 0,-14 0 0,67 14 15,13-14-15,-54 0 16,41 13-16,66-13 16,-106 0-1,0 13-15,0-13 0,-14 0 0,27 0 16,-26 0-16,-13 0 0,12 0 16,-12 0-16,-1 0 0,1 0 15,12 0-15,-12 0 0,-14 13 16,27-13-16,-27 0 15,0 0-15,0 0 0,1 0 16,12-13-16</inkml:trace>
  <inkml:trace contextRef="#ctx0" brushRef="#br0" timeOffset="65996.89">9274 4776 0,'0'39'47,"-14"-25"-47,14-1 0,0 0 16,0 14-16,-13-14 0,13 0 16,0 0-1,0 0-15,0 1 0,0-1 16,13-13-16,-13 13 0,14 0 15,-1-13 1,0 0-16,0 14 16,1-14-16,-1 0 0,0 0 0,0 0 15,0 0-15,1 0 0,12 0 16,14 0-16,-14 0 0,40 0 16,-26 0-16,13 0 0,-13 0 15,13 0-15,0 0 0,-1 0 16,1 0-16,0 0 0,0 0 0,0 0 15,0 0-15,0 0 0,0 0 16,40-14-16,-41 14 0,1 0 16,-13 0-16,13 0 0,0 0 15,-13 0-15,-1 0 0,41 0 16,12-13-16,-52 13 16,0 0-16,26 0 0,-40 0 15,14 0-15,-14 0 0,14-13 16,26 13-16,-13 0 15,-13 0-15,-14 0 0,1 0 16,-14 0-16,13 0 0,1 0 0,-1 0 16,1 0-16,-1 0 0,1 0 0,-1 0 15,14 0-15,-14 0 16,1 0-16,-1 0 0,-13 0 16,27 13-16,-13-13 15,-14 0-15,27 0 0,-27 0 0,13 0 16,-13 0-16,1 0 0,25 13 15,-12-13-15,12 0 16,-25 0-16,25 0 16,-25 0-16,-1 0 15,0 0-15,0 0 0,1 0 16,-1 0-16,0 0 16,0 0-16,0-13 0,1 13 15,-1 0-15,0 0 16,0 0-1,1 0-15,-1 0 16,-13-13 0,13 13-1,0 0 1,-13-13-16,0-1 16,14 14-1,-14-13-15,0 0 16,0 0-16,0 0 15,13-1-15,-13 1 16,0 0 0,13 13-16,-13-13 15,0-1 1,0 1 15,0 0 0,-13 13 94,0 0-109</inkml:trace>
  <inkml:trace contextRef="#ctx0" brushRef="#br0" timeOffset="66532.39">12197 4776 0,'-26'13'16,"13"-13"-16,-1 0 16,14 13-16,-13-13 0,0 0 15,-14 13-15,14 1 16,0-14-16,-13 13 15,12-13 1,1 13 0,0-13-16,13 13 15,26-26 32,-26 0-31,27 0-1,-14 13-15,-13-14 0,13 14 0,0 0 16,1-13-16,-1 13 16,0 0-1,0 0-15,1 0 16,-14 13-16,13-13 16,0 14-16,0-14 15,-13 13-15,14-13 16,-1 13-1,0-13-15,0 0 16,0 13 0,1-13-1</inkml:trace>
  <inkml:trace contextRef="#ctx0" brushRef="#br0" timeOffset="67780.34">9247 4802 0,'-26'0'16,"13"0"-16,13 13 16,-14-13-16,1 14 15,0-14-15,0 13 16,-1-13-16,14 13 15,-13-13-15,0 13 16,0-13 0,13 14-16,-14-14 15,41-27 32,-14 14-16,0 13-31,1-13 16,-1 13-16,0-14 16,0 14-1,1-13-15,-1 13 16,0 0-16,27 0 16,-27 0-1,-13 13-15,26-13 0,-12 0 16,-1 0-1,0 14-15,0-14 0,0 0 16,1 13-16,-1-13 16,0 0-1</inkml:trace>
  <inkml:trace contextRef="#ctx0" brushRef="#br0" timeOffset="73040.12">17859 7633 0,'0'-13'16,"-13"39"-16,13-12 0,-13-1 16,13 0-16,0 0 0,-13 14 15,13-1-15,0-12 0,0-1 16,-14 0-16,14 0 0,0 14 15,0-14-15,-13 0 16,13 0-16,0 1 16,-13-41 15,13-26-15,0 27-1,0 13-15,0-14 0,0 1 16,13-27-16,-13 26 0,13-26 15,-13 40-15,0 0 0,14-14 16,-14 14-16,13 0 0,0 0 16,0-1-16,1 14 15,-1 14-15,0-14 16,-13 13-16,13 13 16,1-12-16,-1 12 0,-13-13 15,13 1-15,-13 12 0,13-13 0,-13 0 0,13 14 16,-13-14-16,0 0 15,14 1-15,-14 12 0,0-13 16,13 1-16,-13-1 0,0 0 0,0 0 16,13-13-16,-13 13 15,0 1-15</inkml:trace>
  <inkml:trace contextRef="#ctx0" brushRef="#br0" timeOffset="73259.25">17873 7779 0,'13'-13'31,"0"-1"-15,14 14-16,-14 0 0,0-13 15,27 13 1,-27-13-16,0 13 16</inkml:trace>
  <inkml:trace contextRef="#ctx0" brushRef="#br0" timeOffset="73496.52">18177 7554 0,'0'-13'0,"0"52"47,0 1-31,0-14 0,0-12-16,0-1 15,0 0-15,0 0 0,0 1 0,0-1 16,0 0-16,0 0 15,0 1-15,0-1 16</inkml:trace>
  <inkml:trace contextRef="#ctx0" brushRef="#br0" timeOffset="73761.11">18296 7554 0,'13'13'47,"-13"0"-47,0 1 0,0-1 16,-13 0-16,13 0 0,0 0 15,0 1-15,0-1 0,0 13 16,0-12-16,0-1 0,0 0 0,0 0 15,0 1-15,0-1 16,13 0 0</inkml:trace>
  <inkml:trace contextRef="#ctx0" brushRef="#br0" timeOffset="74022.11">18587 7633 0,'0'27'31,"0"-1"-16,0-13-15,0 1 16,0-1-16,-13 0 16,13 0-16</inkml:trace>
  <inkml:trace contextRef="#ctx0" brushRef="#br0" timeOffset="74471.21">18693 7435 0,'13'13'16,"0"0"-16,-13 0 16,0 1-16,0-1 0,0 13 15,0 14-15,13-27 16,-13 14-16,0-1 0,0-13 16,0 1-16,0-1 0,0 13 15,0-12 1,0-1-16</inkml:trace>
  <inkml:trace contextRef="#ctx0" brushRef="#br0" timeOffset="74667.19">18680 7673 0,'26'-13'31,"-26"-1"-31,13 14 0,0 0 16,1-13-16,25 13 15,-25 0 1</inkml:trace>
  <inkml:trace contextRef="#ctx0" brushRef="#br0" timeOffset="75059.48">18984 7660 0,'0'-27'0,"0"14"16,-13 0 15,-1 26-15,1 0-16,13 0 15,0 1-15,-13-14 0,13 13 16,0 0-16,13-13 0,-13 13 0,13 1 16,1-1-16,12 0 15,-13-13-15,14 0 16,-1 0-16,1 0 16</inkml:trace>
  <inkml:trace contextRef="#ctx0" brushRef="#br0" timeOffset="75631.8">19209 7594 0,'0'26'31,"0"-13"-15,0 0-16,0 1 15,0-1-15,0 0 16,-13 0 0,26 1-1,0-28 1,-13 1-1,13 13-15,0-13 16,-13 0-16,14 13 16,-1-14-16,0 14 15,0 0-15,1 14 16,-14-1 0,13-13-1,-13 13-15,0 0 16,13-26 62,14-13-62,-14 26-1,0-14-15,13 14 16,-12 14-1,12-14 1,-13 0-16,1-14 0</inkml:trace>
  <inkml:trace contextRef="#ctx0" brushRef="#br0" timeOffset="75899.14">19606 7541 0,'-14'0'0,"28"0"16,-41 0 15,27 13-15,13 0-16,-13 0 0,0 1 16,14-1-1,-14 0-15,0 0 16,0 0-16,-14 1 15,1-14-15,0 13 16,0 0-16,-1-13 16,1 0-16,-13 13 0,13-13 15</inkml:trace>
  <inkml:trace contextRef="#ctx0" brushRef="#br0" timeOffset="76338.56">18547 7554 0</inkml:trace>
  <inkml:trace contextRef="#ctx0" brushRef="#br0" timeOffset="77056.12">20135 7514 0,'26'-13'16,"14"13"-1,-14-13-15,-12 13 16,25-14-16,-12 14 15,12 0-15,-12-13 16,-14 13-16,0 0 0,14 0 0,-14-13 16,0 13-16,1 0 0,12-13 15,-13 13-15,0 0 16,1-13-16</inkml:trace>
  <inkml:trace contextRef="#ctx0" brushRef="#br0" timeOffset="77432.5">20373 7276 0,'26'13'31,"1"-13"-15,-14 13 0,14-13-16,-1 0 0,-13 14 15,0-14-15,1 0 0,12 13 16,1-13-16,-14 13 16,0-13-16,0 0 0,1 0 0,-1 13 15,13-13-15,-13 14 0,1-14 16,-1 13-16,0 0 15,-13 0-15,13 1 16,-26 12-16,13-13 16,-13 0-16,13 1 15,-27 12-15,27-13 0,-13 1 16,0-1-16,-13 13 0</inkml:trace>
  <inkml:trace contextRef="#ctx0" brushRef="#br0" timeOffset="78564.46">18415 8255 0,'-26'0'32,"12"0"-32,-12 0 15,13 13-15,-1-13 0,1 13 16,0-13-16,0 14 0,-1-1 16,1-13-16,13 13 0,-13-13 0,13 13 15,0 1 1,0-1-16,13 0 15,0 0-15,1-13 16,-1 14-16,0-14 0,0 13 0,1-13 16,-1 0-16,0 13 0,14 0 15,-14-13-15,0 13 0,0 1 16,0-1-16,-13 0 16,-13 0-1,13 1-15,-13-14 0,0 13 16,0 0-16,-1-13 15,-12 13-15,13-13 0,-27 13 16,27-13-16,-1 14 16,1-14-16,0 0 15,0 0-15,0 0 16,-1-14-16</inkml:trace>
  <inkml:trace contextRef="#ctx0" brushRef="#br0" timeOffset="79024.78">18468 8387 0,'0'-13'0,"13"40"31,-13-1-15,0 0 0,13-12-1,-13-1-15,14 0 0,-1 0 16,0-13 0,0 14-16,1-14 0,-1 0 15,0 0 1,0-14-16,0 1 0,1 0 15,-1 0-15,0-1 16,-13 1-16,13 0 31,-13 0-31,14 13 0,-14 13 32,0 0-17,0 0-15,0 1 16,0-1-1,0 0-15,13 0 16,0 1 0</inkml:trace>
  <inkml:trace contextRef="#ctx0" brushRef="#br0" timeOffset="79503.5">18865 8123 0,'0'26'0,"-13"1"15,13-14-15,0 27 16,-14-1-16,14-26 0,0 14 16,0-14-16,-13 0 0,13 1 15,0-1-15,0 0 0,0 0 16,-13 1 0,39-28 15,-12 14-16,-1-13-15,0 13 0,0-13 16,0 13-16,1 0 0,-1-13 16,13 26-16,-12-13 15,-1 0-15,0 13 16,-13 0-16,0 1 16,-13-1-16,0 0 0,13 0 15,-14-13-15,-12 27 0,13-14 16,-1-13-1,1 0-15,0 0 16</inkml:trace>
  <inkml:trace contextRef="#ctx0" brushRef="#br0" timeOffset="79900.14">19116 8268 0,'0'13'31,"13"1"-31,1 12 0,-1 1 31,0-14-31,-13 0 0,0 0 0,13 1 16,-26 12-16,13-13 16,-13 0-16,0-13 15,13 14-15,-27-1 0,14-13 16,0 0-16,13 13 15,-14-13-15</inkml:trace>
  <inkml:trace contextRef="#ctx0" brushRef="#br0" timeOffset="80445.71">19328 8414 0,'40'-27'15,"-27"14"-15,0 0 16,-13 0-16,13-1 16,0 1-16,1 0 0,-14 0 15,0-1-15,13 14 16,-13-13-1,-13 40 17,13-14-32,0 0 15,0 0-15,0 1 0,0-1 16,13 0 0,0-13-16,0 0 0,1 0 15,-1 0-15,13-13 16,-13 13-16,27-27 0,-27 14 15,1 0-15,-1 0 0,0-14 16,0 14-16,1 0 0,-1-14 0,0 14 16,0 0-16,0-14 15,-13 14-15,0 0 0,14 0 0,-14-1 16,0 1-16,-14 40 31,14-14-31,0 0 16,0 0-16,0 1 0,-13-1 15,13 13-15,0-12 0,13 12 16,-13-13-16,14 0 16,-14 1-16,13-1 15,0-13-15,0 0 0,1 0 16,-1 0-16,0 0 0,0 0 16,1 0-16</inkml:trace>
  <inkml:trace contextRef="#ctx0" brushRef="#br0" timeOffset="80654.16">19645 8202 0,'-13'0'16,"26"-13"15,1 13-31,-1 0 0,0-13 0,0 13 15,0 0-15,14-14 0,-14 14 16,14 0-16,-14-13 0,0 13 0,0 0 16,1 0-16,25-13 15,-26 13-15</inkml:trace>
  <inkml:trace contextRef="#ctx0" brushRef="#br0" timeOffset="81205.62">20571 8083 0,'27'-13'15,"-1"13"1,-12 0-16,12-13 16,14 13-16,-27 0 0,13-14 15,-12 14-15,-1 0 0,13 0 16,1-13-16,-14 13 0,0 0 16,0-13-16,1 13 15</inkml:trace>
  <inkml:trace contextRef="#ctx0" brushRef="#br0" timeOffset="81545.3">20690 7911 0,'27'13'32,"-1"-13"-17,-12 14-15,-1-14 0,0 0 16,13 0-16,-12 13 0,-1-13 16,0 0-16,14 13 0,-14-13 15,0 0-15,0 13 0,1-13 0,-1 13 16,0-13-16,-13 14 0,13-14 15,0 13-15,-13 0 0,0 0 16,0 1-16,-13 25 0,-13-26 16,13 27-16,-14-13 0,1-1 15,-1 1-15,-52 52 16,66-53-16</inkml:trace>
  <inkml:trace contextRef="#ctx0" brushRef="#br0" timeOffset="83125.34">21074 7011 0,'0'-13'16,"0"40"-1,0-14-15,13 13 16,-13 1-16,0-1 16,0-12-16,0 12 0,0-13 15,0 0-15,14 14 0,-14-14 16,0 0-1,0 1-15,-14-1 16</inkml:trace>
  <inkml:trace contextRef="#ctx0" brushRef="#br0" timeOffset="83489.3">20995 6932 0,'13'-26'0,"-26"52"0,39-66 0,-13 27 16,1 13-16,-1 0 15,0 0-15,0 0 16,1 0-16,-1 13 0,0-13 0,-13 14 16,13-1-16,-13 0 15,13 0-15,-13 1 0,0-1 16,0 0-16,-13 13 0,13-12 16,-13-1-16,13 0 0,0 0 15,-13 1-15,0-1 0,13 0 16,-14-13-16,14 13 0,-13-13 15</inkml:trace>
  <inkml:trace contextRef="#ctx0" brushRef="#br0" timeOffset="83823.57">21259 6985 0,'-13'40'32,"26"-1"-17,-13-25 1,13-14-16,-13 13 0,14-13 0,-14 13 16,26-13-16,-13 0 15,1 0-15,-1 0 16,0-13-16,-13 0 15,13-1-15,-13 1 16,-13-13 0,13 12-16,0 1 0,-13 0 15,0 0-15,-1 13 0,14-13 16,-13 13-16,0 0 0,0 0 0,-14 0 16,14 0-1</inkml:trace>
  <inkml:trace contextRef="#ctx0" brushRef="#br0" timeOffset="84295.53">21339 6853 0,'13'13'0,"0"40"0,0-27 16,-13 14-16,14-27 0,-14 14 0,0-1 16,13 1-16,-13 12 15,13-25-15,-13 12 0,0-13 16,0 0-16,13 1 0,-13 12 16,0-13-16,0 1 0,0-1 15,0 0 1,13-39 15,-13 12-31,0 1 16,0 0-16,14-40 0,-14 27 15,26-67 1,-13 80-16,1-14 0,-14 14 16,13 0-16,0 0 15,0 13-15,-13-14 0,14 14 16,-1 14-16,-13-1 15,0 0-15,0 0 16,-13 0-16,13 1 0,-14-1 16,-12 13-16,26-12 0,-13-1 15,-1 0 1</inkml:trace>
  <inkml:trace contextRef="#ctx0" brushRef="#br0" timeOffset="85152.72">21709 6919 0,'0'-13'15,"-13"26"32,13 0-15,0 0-32,0 1 15,13-14-15,-13 13 16,13-13-16,1 0 15,-1 0 1,0 0-16,0-27 31,0 14-31,-13 0 16,14 39 31,-14-12-32,13-14-15,-13 13 0,13-13 16,-13 13-16,13-13 0,1 0 16,-1 0-16,0 0 15,0 0-15,1 0 0,-1-13 16,0 0-16,0-1 16,0 1-16,-13 0 15,0 0-15,14-1 0,-14-12 16,0 13-16,13-1 0,-13-25 0,0 12 15,0 14-15,0-13 16,13 12-16,-13 1 0,0 0 0,0 0 0,0 0 16,-13 39 15,13-13-15,0 0-16,0 1 0,0-1 15,0 0-15,0 14 0,0-14 16,0 0-16,0 0 0,0 27 0,0-27 15,0 0-15,13-13 0,-13 14 16,0-1-16,13 0 0,1 0 16,-1 1-16</inkml:trace>
  <inkml:trace contextRef="#ctx0" brushRef="#br0" timeOffset="85671.65">22225 6813 0,'-26'0'0,"-1"13"15,14-13 1,13 13-16,-13 1 0,-1-14 15,14 13-15,-13 0 16,13 0 0,13-13-16,1 0 15,12 0 17,-13-13-32,1 13 15,-14-13 1,13 13-16,0 0 31,-13 13-15,0 0-16,0 1 15,13-14-15,-13 13 16</inkml:trace>
  <inkml:trace contextRef="#ctx0" brushRef="#br0" timeOffset="85956.38">22437 6588 0,'0'-13'15,"0"26"-15,-14 0 31,28 27-15,-14-27-16,0 1 0,0-1 16,0 26-16,0-12 15,0-14-15,13 0 0,-13 14 0,0-1 16,13-13-16,-13 1 0,0-1 16,13 0-16,1 0 15</inkml:trace>
  <inkml:trace contextRef="#ctx0" brushRef="#br0" timeOffset="86295.64">22371 6813 0,'26'-13'15,"14"13"1,-14-13 0,-13 13-16,1 0 15,-1-14-15,0 14 0,0 0 0,-13-13 16,13 13-16,14 0 0,-1-13 31,-12 13-31,-1 0 16,-13 13-1,13-13 1,-13 13-16,0 1 0,0-1 16,13 0-1,-13 0 1,0 0-16</inkml:trace>
  <inkml:trace contextRef="#ctx0" brushRef="#br0" timeOffset="86448.87">22714 6615 0</inkml:trace>
  <inkml:trace contextRef="#ctx0" brushRef="#br0" timeOffset="87100.33">22767 6681 0,'0'13'15,"0"0"1,0 0 0,0 14-16,0-14 15,14-13-15,-14 13 16,13-13 0,0 0-16,0 0 15,14-13 1,-14 13-16,-13-13 15,13 13-15,0-13 16,-13-1-16,0 1 0,0 0 16,0-13 15,0 12-31,0 1 16,0 0-1,14 26 63,-1 0-62,-13 1 0,0-1-1,13-13-15,-13 13 16,0 0-1,13-13 1,1 0 0,12-13-1,-13 13-15,1 0 16,-1 0 0,0 0-1,0 0 1</inkml:trace>
  <inkml:trace contextRef="#ctx0" brushRef="#br0" timeOffset="88294.06">21312 7766 0,'-53'13'0,"40"-13"15,0 13-15,0-13 16,13 13-1,0 0-15,0 1 0,13-14 16,0 13 0,-13 0-16,13-13 0,0 0 15,1 13-15,-1-13 0,-13 14 0,13-14 16,0 13-16,1-13 16,-14 13-16,13-13 0,-13 13 15,0 1-15,0-1 16,-27 0-1,14 0-15,0 0 0,-27 1 16,14-1 15,13-13-31,-1 0 16</inkml:trace>
  <inkml:trace contextRef="#ctx0" brushRef="#br0" timeOffset="89280.12">21458 7766 0,'-14'0'0,"28"0"0,-54 13 15,27 0 1,0 0-16,13 0 16,-14 1-16,14-1 15,0 0-15,-13 0 0,13 1 16,13-14-16,-13 13 0,0 0 16,14-13-16,-1 0 15,0 0 1,0 0-16,-13-13 15,13 13-15,-13-13 16,14-1-16,-14-12 16,13 13-1,-13-1 1,13 41 15,0-14-15,1-13-1,-14 13-15,13-13 16,0 0 0,0 0-1,1 0-15,-1-13 16,-13 0-16,13 13 16,-13-13-16,13 13 0,0-14 31,1 14-31,-1 0 31,-13 14-31,13-14 0,-13 13 16,13 0-1,1-26 48,-1 0-32,0 13 0,0 0-15,1 0 15,-1 0-15,0 0 15,0 0-15,0 0-16,1-14 15</inkml:trace>
  <inkml:trace contextRef="#ctx0" brushRef="#br0" timeOffset="90005.37">21855 7501 0,'-14'-27'0,"1"41"47,13-1-47,0 27 16,0-27-16,0 13 0,0 1 15,0-14-15,0 13 0,0 1 0,0-1 16,0 1-16,0-1 0,13 1 15,-13-14-15,0 40 0,0-40 16,14 0-16,-14 14 0,0-14 0,0 0 16,13 1-16,-13-1 15,0 0-15,13 0 16,0-13 15,1 0-15,-1-13-1,0 0 17,0 13 15,-13-13 15,-13-1-46,26 1-1,-13 0-15,0-14 16,0 14 0,0 0-16,13-14 15,-13 14-15,0 0 0,14 0 0,-14 0 16,0-1-1,13 1-15,0 13 16,0 13 0,1 1-1,-14-1 1,0 0-16,0 0 16,-14 0-16,1 1 15,0-1-15,-14 13 16,14-26-16,0 14 15,0-28 1</inkml:trace>
  <inkml:trace contextRef="#ctx0" brushRef="#br0" timeOffset="90448.34">22106 7369 0,'0'0'16,"0"53"15,0-40-31,0 0 0,0 0 15,0 27-15,0-27 0,0 0 16,0 1-16,13-1 0,-13 0 16,13 0-16,1 1 15,-1-14-15,0 13 16,0-13-16,1-13 16,-1 13-16,0 0 0,-13-14 15,13 14-15,-13-13 0,13 0 16,-39 39 15,26-12-15,0-1-1,0 0 1,0 0-16,13-13 0,0 13 16</inkml:trace>
  <inkml:trace contextRef="#ctx0" brushRef="#br0" timeOffset="91645.14">23138 6390 0,'-27'53'0,"27"-40"16,0 0-16,0 0 0,0 1 0,0-1 15,0 13-15,0-13 0,14 1 0,-14 12 16,0-13-16,13 1 0,-13-1 15,13 0-15,-13 0 0,13 1 0,-13-1 16,14-13-16,-1 13 0,0-13 16,0 0-16</inkml:trace>
  <inkml:trace contextRef="#ctx0" brushRef="#br0" timeOffset="92115.19">23336 6628 0,'-13'-13'31,"13"-1"-31,0-12 16,0 13 0,0-1-16,13 1 0,-13 0 15,13 13 32,1 0-31,-1 0-1,0 0-15,0-13 16,1 0 0,-14-1-1,0 1-15,0 0 16,0 0-1,-14-1-15</inkml:trace>
  <inkml:trace contextRef="#ctx0" brushRef="#br0" timeOffset="92320.54">23416 6165 0,'0'0'16,"13"0"-16,0 0 0,0 0 15,1 13-15,-1 0 16,13 14-16,-13-1 0,-13 1 16,14-14-16,-1 13 0,-13 1 0,13-14 15,-13 13-15,0 1 0,0-1 16,0 1-16,0-1 0,0-12 0,-13 12 16,13 0-16,-13 1 0,13-14 0</inkml:trace>
  <inkml:trace contextRef="#ctx0" brushRef="#br0" timeOffset="92971.39">22397 7395 0,'-13'27'15,"0"-27"-15,13 13 0,0 0 0,0 0 16,0 0-16,0 14 0,13-14 16,-13 0-16,0 1 0,13 12 15,-13-13-15,13 1 16,0-1-16</inkml:trace>
  <inkml:trace contextRef="#ctx0" brushRef="#br0" timeOffset="93336.49">22569 7448 0,'-13'13'31,"13"14"1,0-14-32,0 0 31,13 0-16,0-26 1,14 13 0,-14 0-1,0 0 1,0 0 0,1 13-16,-1-13 15</inkml:trace>
  <inkml:trace contextRef="#ctx0" brushRef="#br0" timeOffset="93559.26">22728 7223 0,'26'13'16,"-13"1"-16,1-1 15,-1 0-15,-13 13 0,26 14 16,-26-13-16,0-14 0,0 13 16,0 1-16,0-14 0,0 13 0,-13 1 15,13-14-15,-13 14 0,13-14 0,0 0 16,0 0-16,-13 1 0</inkml:trace>
  <inkml:trace contextRef="#ctx0" brushRef="#br0" timeOffset="94388.23">23641 6443 0,'13'-14'16,"0"14"-16,0-13 16,0 13-16,1 0 0,-1-13 15,0 13-15,0 0 0,1 0 16,-1-13-16,0 13 0,13-14 15,-12 14 1,-1 0 0</inkml:trace>
  <inkml:trace contextRef="#ctx0" brushRef="#br0" timeOffset="94644.36">23812 6257 0,'27'0'16,"-14"14"-16,0-1 15,1 0-15,-14 0 16,0 1-16,0-1 0,0 26 15,0-25 1,0-1-16,-14 27 16</inkml:trace>
  <inkml:trace contextRef="#ctx0" brushRef="#br0" timeOffset="95115.46">24024 6059 0,'0'-13'16,"13"39"0,-13-13-16,0 1 15,14 12-15,-14 1 0,13-14 0,-13 13 16,0 1-16,13-1 16,-13 14-16,13-14 0,-13-12 0,0 12 15,0-13-15,14 0 0,-14 1 16,0-1-16,0 0 0,0 0 15,13 1-15</inkml:trace>
  <inkml:trace contextRef="#ctx0" brushRef="#br0" timeOffset="95532.28">23998 6085 0,'0'-26'0,"0"52"15,0-65-15,13 25 0,-13 1 16,13 0-16,0 0 0,1 0 16,-1 13-16,0 0 0,0-14 15,1 14-15,-1 0 0,0 0 0,13 14 16,-12-1-16,-14 0 16,13 0-16,-13 0 15,0 1-15,0-1 0,0 13 16,-13-12-16,13-1 0,-14 0 15,14 0-15,-13 1 16,0-1-16,13 0 0,-13-13 16,13 13-16</inkml:trace>
  <inkml:trace contextRef="#ctx0" brushRef="#br0" timeOffset="96180.16">24289 6138 0,'-27'14'31,"27"-1"-31,-13-13 16,13 13-16,-13 0 0,13 0 15,0 1-15,0-1 16,0 0-16,13 0 16,-13 1-16,13-14 15,1 0-15,-1 0 31,0-14-15,0 14-16,-13-13 16,0 0-16,0 0 0,0-1 15,0 1-15,13-13 16,-13 13 0,27 26 15,-27 0-16,13 0-15,-13 0 16,13-13-16,-13 14 16,14-1-16,-14 0 0,13-13 15,-13 13-15,13-13 16,0-13 15,-13-27-15,14 27-1,-14-13-15,0 13 0,13-1 16,-13 1-16,13 13 0,-13-13 16,0 0-16,13-1 0,-13 1 15,13 13-15,-13-13 16,14 13-16</inkml:trace>
  <inkml:trace contextRef="#ctx0" brushRef="#br0" timeOffset="96671.6">24633 6019 0,'-40'27'0,"27"-14"16,0 0-16,13 0 0,0 1 16,-14-14-16,14 26 0,0-13 15,0 14 1,0-14-16,14-13 31,-1 0-15,0-13-16,-13 0 15,13-1-15,0 1 16,-13 0 0,14 0-16,-14-1 15,13 28 32,-13-1-31,13 0-16,-13 0 15,0 1-15,13-14 16,-13 13 0,0 0-1,14-13 1</inkml:trace>
  <inkml:trace contextRef="#ctx0" brushRef="#br0" timeOffset="97204.86">24712 6059 0,'0'-13'0,"13"26"47,-13 13-32,0-12-15,14-1 32,-1-26 14,0-1-30,0 14 0,0 0 15,-13 14-15,14-1-1,-1-26 32,0 13-31,-13-14-16,13 1 15,1 0-15,-1 13 16,-13-13-16,13 13 0,0-14 16,1 14-1</inkml:trace>
  <inkml:trace contextRef="#ctx0" brushRef="#br0" timeOffset="97777.44">24990 6085 0,'0'0'0,"0"14"32,13-14-1,0 0-15,1-14-1,-1 1-15,0 0 16,-13 0-16,26-27 15,1 14-15,-27-1 16,13 1-16,-13 12 0,13-38 16,1 25-16,-14 14 0,0-14 15,13 1-15,-13 13 16,0-1-16,-13 28 31,-1-1-31,14 0 0,-13 0 16,13 14-16,0-14 0,-13 0 15,13 14-15,0-14 0,0 0 16,0 0-16,13 1 16,-13-1-16,13-13 0,-13 13 15,14-13-15,-1 0 16,13 0-16,-26-13 16,14 13-16,-1 0 15,0 0-15,0 0 16,0 13-1,1-13-15,-14 13 16,13-13 0</inkml:trace>
  <inkml:trace contextRef="#ctx0" brushRef="#br0" timeOffset="98052.44">25043 5900 0,'13'-13'0,"-26"26"0,39-26 15,-13 13-15,1 0 0,-1-13 16,0 13-16,14 0 0,-14 0 16,0 0-16,0 0 0,1 0 15,-1 0-15,0 0 0,0 0 16,0 0-16,1 0 0,-1 0 15,0 0-15,0 0 16,1 0-16,-1 0 16,0 0-1,0-13 1</inkml:trace>
  <inkml:trace contextRef="#ctx0" brushRef="#br0" timeOffset="98789.58">23098 7435 0,'40'-13'31,"-27"-1"-31,0 14 0,1 0 0,-1-13 15,0 13-15,0-13 0,0 13 16,1 0-16,-1-13 0,0 13 16,0 0-16,1-14 15</inkml:trace>
  <inkml:trace contextRef="#ctx0" brushRef="#br0" timeOffset="99035.53">23270 7197 0,'27'13'0,"-14"0"16,0-13-16,0 13 0,0 1 15,-13-1-15,14 0 0,-14 0 16,0 0-16,0 1 0,0-1 15,0 0-15,0 0 0,-14 1 0,14 12 16,-13-13-16,13 1 0,-26 12 16,26-13-16,-13 0 0,-1 1 15,14-1-15</inkml:trace>
  <inkml:trace contextRef="#ctx0" brushRef="#br0" timeOffset="99682.86">23786 7091 0,'-13'0'0,"0"0"16,-27 13-1,27-13-15,13 13 16,-14-13-16,1 0 0,0 14 0,0-14 15,13 13-15,0 0 16,0 0-16,13 0 16,13 14-1,-12-27-15,-1 13 0,0-13 16,0 13-16,1 1 0,-1-14 16,0 13-16,0-13 0,0 13 15,1 0-15,-1-13 16,-13 13-16,0 1 15,0-1-15,0 0 0,-13-13 16,13 13-16,-14-13 0,1 14 16,0-14-16,13 13 15,-13-13-15,0 0 16</inkml:trace>
  <inkml:trace contextRef="#ctx0" brushRef="#br0" timeOffset="99953.37">23958 6919 0,'13'-13'16,"-13"39"-1,0-13-15,0 1 0,0 12 16,13-13-16,-13 0 0,0 14 0,0-14 16,14 14-16,-14-1 0,0-13 15,13 14-15,-13-14 0,0 0 0,0 14 16,13-14-16,-13 0 0,0 0 16,13 1-16,-13-1 0,0 0 0,14 0 15</inkml:trace>
  <inkml:trace contextRef="#ctx0" brushRef="#br0" timeOffset="100147.63">23905 7263 0,'13'-13'0,"-13"-1"16,14 14-16,12-13 15,-13 0-15,0 13 0,1-13 16,12 13-16,-13 0 0,1-14 0,12 14 16,-13 0-16,1 0 0</inkml:trace>
  <inkml:trace contextRef="#ctx0" brushRef="#br0" timeOffset="100927.51">24355 7091 0,'-13'0'15,"-14"0"-15,14 0 0,0 13 16,0-13-16,-1 13 15,1-13-15,13 14 16,-13-14-16,13 13 0,-13-13 0,13 13 16,-14-13-16,14 13 0,0 0 31,14-13-15,-1 0-1,0 0 1,0 0-16,1 0 31,-14 14-15,13-14-16,0 13 15,27-26 17,-27-1-32,13 1 15,-12-13 1,-1 13-16,13-27 15,-26 13-15,14 14 0,-14-13 16,13-14-16,0 14 0,-13-1 16,0 14-16,13-14 0,-13 14 15,0 0-15,0 0 16,-13 26 15,13 0-31,0 0 0,0 14 16,-13-14-16,13 0 0,0 1 15,0 12-15,0 0 0,13-12 16,-13-1-16,13 0 16,-13 0-16,13 1 0,1-14 15,-1 13-15,0-13 16,0-13-16,1 13 16,-1 0-16,0-14 15,0 14 1,0 0-1,-13 14-15,14-1 16,-1 13 15,0-26-31,-13 14 16</inkml:trace>
  <inkml:trace contextRef="#ctx0" brushRef="#br0" timeOffset="101108.23">24514 6985 0,'39'0'0</inkml:trace>
  <inkml:trace contextRef="#ctx0" brushRef="#br0" timeOffset="101239.21">24712 6959 0,'13'0'16,"-13"13"0,14-13-1,-41-13-15,54 39 0,-27-13 16,0 0-16,0 1 15</inkml:trace>
  <inkml:trace contextRef="#ctx0" brushRef="#br0" timeOffset="101780.43">24739 6998 0,'-14'0'0,"28"0"16,-14 13-16,0 1 16,0-1-16,13-13 0,-13 13 15,13 0-15,0 1 0,0-1 16,1 0-16,-1 0 31,-13 1-31,13-1 0,-13 0 16,-13 0-1,0 0 1,-1 1-16,1-1 16,0-13-1</inkml:trace>
  <inkml:trace contextRef="#ctx0" brushRef="#br0" timeOffset="102287.48">24977 6773 0,'13'14'0,"-13"-1"0,0 0 16,0 0-16,0 0 0,0 14 0,13-14 15,-13 0-15,0 1 0,0-1 16,0 0-16,0 0 0,0 1 0,0-1 15,0 0-15,13 0 0,-13 0 16,0 1-16,0-1 0,14-13 0,-14 13 16,13 0-16,0 1 15</inkml:trace>
  <inkml:trace contextRef="#ctx0" brushRef="#br0" timeOffset="102612.24">24937 6998 0,'13'-13'16,"0"13"-16,1 0 0,-1-13 16,0 13-16,0 0 0,1 0 0,-1 0 15,0-13-15,0 13 0,0 0 16,1 0-16,-1-14 0,0 14 15,0 0-15,1-13 0,-1 13 16,0 0-16,0 0 16,-13-13-16,14 13 15,-1 13 1,-13 0 0,0 1-1,0 12 1,0-13-1</inkml:trace>
  <inkml:trace contextRef="#ctx0" brushRef="#br0" timeOffset="103120.19">25294 6826 0,'-13'27'15,"13"-14"1,13 0 15,0 14-15,1-14-1,-1 0-15,0 0 16,0 1 0,-13-1-1,14-13 1,-14 13-1</inkml:trace>
  <inkml:trace contextRef="#ctx0" brushRef="#br0" timeOffset="104315.86">22212 8202 0,'39'-26'16,"-25"12"-16,25 1 0,1 0 16,13-14-16,0 1 0,13 13 15,80-40-15,-54 13 0,27 14 0,-13-14 16,119-26-16,-93 26 16,1-13-16,-14 27 0,13-14 0,0-13 15,-13 14-15,14-1 0,-14 0 16,106-26-16,-40 13 15,-93 27-15,-12 12 0,-1 1 16,-13 0-16,53 0 0,-66-1 16,-26 14-16,-1-13 0,1 13 0,-14 0 15,0 0-15,-39 27 32,-1-27-32</inkml:trace>
  <inkml:trace contextRef="#ctx0" brushRef="#br0" timeOffset="104599.47">23085 8043 0,'66'-26'16,"-132"52"-16,172-65 0,-53 25 16,92-38-16,-52 12 0,13 0 15,-1 0-15,120-39 0,0 13 16,-119 26-16,0 14 16,-27-1-16,1 1 0,52-14 15,-66 14-15,-26 12 0,13-25 16,-53 26-16</inkml:trace>
  <inkml:trace contextRef="#ctx0" brushRef="#br0" timeOffset="105195.75">22463 7131 0,'132'-53'0,"-79"39"15,13-12-15,1-1 0,12-12 0,119-27 16,-78 26-16,-15 0 15,14 14-15,0-14 0,-13 14 0,0-14 16,0 14-16,-27-1 0,-13 14 16,67-14-16,-80 14 0,-14 0 15,-12 0-15,-1 13 0,1 0 0,-14 0 16,0-14-16,0 14 0,1 0 16</inkml:trace>
  <inkml:trace contextRef="#ctx0" brushRef="#br0" timeOffset="105455.96">22992 7091 0,'93'-40'16,"-53"14"-16,92-14 16,-53 14-1,1-1-15,12 1 0,14-1 0,0-13 0,106-12 16,-107 12-16,1 13 16,-26 14-16,-1-13 0,0 13 0,1-14 15,-1 14-15,-13 0 0</inkml:trace>
  <inkml:trace contextRef="#ctx0" brushRef="#br0" timeOffset="126060.23">9247 7818 0,'-26'14'16,"52"-28"-1,-13 14-15,1-13 0,12 13 16,-13 0-16,14-13 0,-14 13 0,13-13 0,14 13 15,-13-13 1,-14 13-16,0 0 0,14-14 0,-14 14 16,0 0-16,0 0 0,0-13 0,1 13 15,-1-13-15,0 13 0,0 0 16,1 0 0</inkml:trace>
  <inkml:trace contextRef="#ctx0" brushRef="#br0" timeOffset="126335.24">9485 7633 0,'-13'0'0,"26"-13"31,14 13-31,-14 13 0,0-13 15,0 0-15,1 13 0,-1-13 0,0 14 16,14 12-16,-14-13 0,0 1 16,14 25-1,-27-25-15,0-1 0,0 0 0,0 0 16,0 0-16,0 1 0,-14-1 16,14 0-16,0 0 0,-13 1 15,13-1-15,-13 0 0</inkml:trace>
  <inkml:trace contextRef="#ctx0" brushRef="#br0" timeOffset="126773.33">9790 7435 0,'0'-13'0,"0"39"62,0-13-62,0 0 0,0 27 16,0-27-16,-14 14 0,14 13 16,0-14-16,0-13 0,0 0 15,0 1-15,0-1 0,0 0 16,0 0-16,0 1 0,14-14 16,-1 13-16,0 0 15,0-13-15,0 0 16,1 0-16,-1 0 0,0-13 15,0 13-15,1 0 0,-1-13 16,27 13-16,-27-14 0,0 14 0,0-13 16,0 13-16,1 0 0</inkml:trace>
  <inkml:trace contextRef="#ctx0" brushRef="#br0" timeOffset="127697.38">10147 7527 0,'-27'0'0,"14"0"15,13 14-15,-13-14 0,0 13 16,-1-13-16,14 13 0,-13 0 16,0 1-16,0-1 0,13 0 15,0 0-15,-14 0 0,14 1 16,0-1-16,0 0 15,14 0-15,-1-13 16,13-13 15,-12 13-31,-14-13 0,13 0 16,-13-1-16,13 1 16,-13 0-16,0 0 15,0-14 1,13 27-16,-13-13 15,0 0 1,0 39 31,0 1-31,14-14-1,-1-13 48,0-13-48,0 0 1,0-1 0,1 14-1,-1 0 1,0 0-1,0 14-15,1-1 32,-14 0-32,13-13 15,-13 13-15,13-13 16,0-13 0,1 13-1,-14-13-15,13 13 16,13-13-1,-13-1 1,1 14 0,-1 14-16,0-1 15,0-13 1,-13 13 0,14-13-1</inkml:trace>
  <inkml:trace contextRef="#ctx0" brushRef="#br0" timeOffset="128100.87">10623 7302 0,'0'-13'16,"0"26"15,0 14-31,0-14 0,0 0 0,13 14 15,-13-14-15,13 0 16,-13 1-16,0-1 0,14 0 16,-14 0-16,13-13 0,-13 13 15,13-13 1,-39 14 15,-1-14-15,14 0-16,0 13 0,0-13 15,-14 13-15,14 0 0,0 1 0,-1-14 16,1 13-16,0-13 16,0 13-16,13 0 0,0 1 15,13-1 1,13-13 0,14-13-1,-27 13-15,27-14 16,-27 14-16,0 0 0</inkml:trace>
  <inkml:trace contextRef="#ctx0" brushRef="#br0" timeOffset="128619.58">11086 7316 0,'0'0'0,"-13"0"15,-14 13 1,14 0-16,13 0 16,-13-13-16,13 14 15,0-1 1,13 0-16,27-26 31,-14 0-31,-13 13 16,1-14-1,-1 14-15,0 0 16,0 14 0,1-1-1,-1-13 1,-13 13-16,13-13 0,0 13 31,1-13-31</inkml:trace>
  <inkml:trace contextRef="#ctx0" brushRef="#br0" timeOffset="129193.27">11404 7210 0,'39'-40'15,"-26"40"-15,1-13 0,12 13 16,-13-13-16,1 13 0,-1-13 0,0 13 16,0-14-16,1 14 15,-1 0-15,-13-13 0,13 13 0,0-13 16,-26 39 31,13 1-32,0-14 1,0 0-16,0 0 0,13 1 0,-13-1 16,0 13-16,13-12 0,-13-1 15,0 0-15,0 0 16,14 0-16,-14 1 0,0-1 0,-14 0 15,14 0-15,-13 1 16,0-1-16,13 0 16,-13-13-16,0 13 0,-1-13 15,1 0-15,13 14 0,-13-14 16,0 0-16</inkml:trace>
  <inkml:trace contextRef="#ctx0" brushRef="#br0" timeOffset="129498.29">11695 7263 0,'0'-13'0,"13"26"47,0 26-31,-13-25-16,13-14 15,1 13-15,-1-13 0,0 0 16,0 0-16,0 0 16,1 0-16,-1-13 15,0 13-15,-13-14 0,0 1 16,0 0 0,0 0-16,-13 13 15,0-13-15,-1-1 16,1 14-16,0 0 15,0 0-15,-27 0 16</inkml:trace>
  <inkml:trace contextRef="#ctx0" brushRef="#br0" timeOffset="129881.64">11906 7051 0,'13'27'0,"-13"-1"0,0-13 15,0 1-15,0 12 0,0-13 16,0 0-16,0 1 0,0-1 16,0 0-16,0 0 15,0 1-15,0-1 16,14-13-1,-1-13-15,0-1 16,0 14-16,-13-13 0,14 13 16,-1-13-16,0 13 0,0 0 15,1-13-15,-1 13 0,0 13 16,-13 0 0,0 0-1,-13-13-15,13 14 0,-13-1 0,-1 0 16,1 0-16,-27 27 15,27-27-15,0 0 16,-14 1-16,14-14 0,-13 13 16</inkml:trace>
  <inkml:trace contextRef="#ctx0" brushRef="#br0" timeOffset="130300.44">10755 7924 0,'146'-66'0,"-106"53"0,-1-14 15,1 14-15,13 0 0,0 0 0,79-40 16,-53 26 0,-39 27-16,-27-13 0,14 13 15,-14 0-15,0 0 16,0 0-16</inkml:trace>
  <inkml:trace contextRef="#ctx0" brushRef="#br0" timeOffset="130584.05">10755 8017 0,'93'-27'15,"-67"14"-15,-145 53 0,278-93 0,-119 40 0,13 13 16,-14-13-16,14-14 15,106-13-15,-106 27 16,26-13-16,-39 12 0,0 1 16,-14 0-16,-13 0 0,14 13 15,-14-13-15,0 13 0,1-14 0,-1 14 16,0 0-16,0-13 0,0 0 16,1 0-1</inkml:trace>
  <inkml:trace contextRef="#ctx0" brushRef="#br0" timeOffset="133623.78">2143 6588 0,'27'-13'0,"-14"13"0,0-13 16,13 13-16,1 0 0,-1-14 16,14 1-16,0 13 0,13-13 0,13 0 15,0 0-15,0-1 0,0 1 16,14 0-16,78-14 0,14 1 15,-79 13-15,0-1 16,-14 1-16,14 0 0,-1 0 0,1 0 16,-1-1-16,80-12 0,-92 13 15,65-14-15,-65 27 16,-27-13-16,-14 13 0,14 0 0,-26-13 16,-1 13-16,1 0 0,12 0 15,-26 0-15,-26 13 31,0-13-31,-13 13 16</inkml:trace>
  <inkml:trace contextRef="#ctx0" brushRef="#br0" timeOffset="134008.35">2897 6707 0,'-13'0'0,"53"-13"16,26 0-1,-27 0-15,1-1 0,26 1 16,-13 0-16,13-14 0,1 14 0,-1 0 15,66-27-15,-53 27 16,-13 0-16,14-14 0,52 1 16,-66 13-16,0-1 0,-13 1 15,0 13-15,-13-13 0,0 0 16,39-1-16,-53 14 0,-12 0 16,12 0-16,-13-13 0,1 13 15,-1 0-15,0 0 0,-26 13 31,0-13-31,-1 14 16,1-14-16,0 0 0,-14 13 0</inkml:trace>
</inkml:ink>
</file>

<file path=ppt/ink/ink12.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13:32.265"/>
    </inkml:context>
    <inkml:brush xml:id="br0">
      <inkml:brushProperty name="width" value="0.05292" units="cm"/>
      <inkml:brushProperty name="height" value="0.05292" units="cm"/>
      <inkml:brushProperty name="color" value="#0070C0"/>
    </inkml:brush>
  </inkml:definitions>
  <inkml:trace contextRef="#ctx0" brushRef="#br0">8903 1191 0,'27'-14'0,"-14"14"0,0 0 15,0 0-15,1-13 0,12 13 0,1-13 16,-1 13-16,0-13 0,-12 13 16,52-14-1,-26 1-15,-14 13 0,-13 0 16,14-13-16,-14 13 0,0 0 16,0 0-16,14-13 0,-14 13 15,0 0-15,-13-13 16</inkml:trace>
  <inkml:trace contextRef="#ctx0" brushRef="#br0" timeOffset="370.99">9115 1177 0,'0'27'0,"13"-27"15,-13 13-15,13 14 0,-13-14 0,14 0 16,-14 0-16,13 0 0,0 27 15,-13-27-15,0 1 16,0-1-16,0 0 0,0 0 0,0 14 16,-13-14-16,0 13 0,-1-12 15,1-1-15,0 0 16,0 0-16,-1-13 0,1 0 0,13 14 16,-13-14-16,0 0 0,0 0 0,-14 0 15,27-14 1,-13 14-16</inkml:trace>
  <inkml:trace contextRef="#ctx0" brushRef="#br0" timeOffset="885.06">9313 1323 0,'0'0'0,"0"-13"16,0 39-1,0 1 1,0-14-16,0 0 16,0 0-16,0 1 15,0-1-15,14 0 0,-1 0 16,0 0-16,0-13 15,0 14-15,1-14 16,-1 0-16,0-14 0,0 14 16,1-13-16,-14 0 15,0-13 1,-14-14 0,1 40-16,13-13 0,-13-1 15,0 14-15,-1-13 0,1 13 16,0 0-1,0 0-15</inkml:trace>
  <inkml:trace contextRef="#ctx0" brushRef="#br0" timeOffset="1357.83">9604 1058 0,'0'27'16,"14"26"15,-14 13-31,0-26 16,0-14-16,0 0 0,0-12 15,0 25-15,13-25 0,-13 12 16,0-13-16,0 1 0,0-1 15,0 0-15,0 0 0,0 0 16,13-39 15,14-14-15,-14 27 0,0 0-1,0 13-15,0 0 16,1 0-16,-1 0 0,0 0 15,-13 13-15,13-13 0,1 13 0,-1-13 16,-13 14-16,13-14 0,-13 13 16,0 0-16,-13 0 15,13 0-15,-13-13 0,-1 14 0,-12-1 16,-1 0-16,14 0 16,0-13-16,0 0 0,0 0 15,-1 0-15,1 0 0,0 0 0,0 0 16</inkml:trace>
  <inkml:trace contextRef="#ctx0" brushRef="#br0" timeOffset="1892">10464 966 0,'0'-14'16,"0"54"-16,14 40 16,-1-54-16,-13 40 15,0-39-15,0 12 0,0-12 16,0-1-16,0 1 0,0 26 16,0-27-16,0 1 0,0-14 15,-13 13-15,13-13 0,0 1 0,0-1 16,0 0-16,0 0 0,0 1 15,0-1 1</inkml:trace>
  <inkml:trace contextRef="#ctx0" brushRef="#br0" timeOffset="2235.13">10385 1204 0,'13'-53'15,"0"40"-15,40-1 16,-39 14-1,25 14 1,-26-1-16,1 0 0,-1 0 16,-13 1-16,0-1 0,0 0 15,-13 0-15,-1 1 16,1-1-16,13 0 0,-39 0 16,25 0-16,1-13 0,13 14 15,-26-14 1</inkml:trace>
  <inkml:trace contextRef="#ctx0" brushRef="#br0" timeOffset="2541.21">10623 1177 0,'26'0'16,"-26"14"-16,14-14 0,-14 13 15,13-13-15,-13 13 0,13 0 0,-13 1 16,13-1-16,-13 0 0,0 0 16,0 0-16,14 1 0,-14-1 15,0 0 1,13-39 15,-13-1-15,0 14-16,13 0 15,-13 0-15,13-1 16,1 1-16,-1 0 0,26-14 16</inkml:trace>
  <inkml:trace contextRef="#ctx0" brushRef="#br0" timeOffset="2831.34">10993 1138 0,'-26'26'16,"26"1"-16,-13-27 16,13 13-16,0 0 0,0 0 15,0 1-15,13-14 0,-13 13 16,0 0-16,13-13 0,0 0 16,1 13-16,-1-13 0,0 0 15,0 0-15,-13-13 0,14 13 16,-14-13-16,13 13 15,-13-13-15,0-1 0,0 1 0,-13 0 16,13 0-16,0-1 0,-14 1 16,14 0-16,-13 13 0,0-13 15,13-1-15,-13 14 16,-1 0-16,1 0 16</inkml:trace>
  <inkml:trace contextRef="#ctx0" brushRef="#br0" timeOffset="3309.95">11218 1098 0,'-26'0'0,"13"13"0,13 0 15,13 1-15,0 25 16,0-25-16,-13-1 16,14 0-16,-1 0 0,0 1 15,-13-1-15,13-13 0,-13 13 16,0 0-16,0 0 15,0 1-15,-13-14 16,13 13-16,-13-13 0,0 0 16,-14 13-16,14-13 15,0 0-15,-1 0 16</inkml:trace>
  <inkml:trace contextRef="#ctx0" brushRef="#br0" timeOffset="3770.56">11351 1005 0,'13'-13'0,"0"40"32,0-1-32,-13-13 0,14 80 15,-1-53 1,-13-1-16,0 27 0,13-26 15,-13-13-15,0 12 0,0-12 16,13 52 0,-13-52-16,0-1 0,0-13 0,0 1 15,0-1-15,0 0 0,0 0 16,0 0 0,0-52 15,0 12-31,0 14 15,0-13-15,0-14 0,13 0 0,-13 1 16,14-1-16,-1 0 0,0 0 16,0 14-16,-13 0 0,14 12 0,-1-12 15,0 13-15,0-1 0,1 14 16,-1 0-16,0 0 16,-13 14-1,0-1-15,0 27 16,-13-27-16,13 0 15,-13 0-15,-1-13 0,14 13 16,-13 1-16,13-1 0</inkml:trace>
  <inkml:trace contextRef="#ctx0" brushRef="#br0" timeOffset="4424.43">11761 1270 0,'13'-26'0,"0"12"0,-13 1 15,0 0 17,0 0-32,-13 39 31,0-13-16,13 1-15,13 25 32,13-39-32,-12 0 15,-1 0-15,0 0 0,0 0 16,1-13-16,-1 13 0,0-13 0,13 13 16,-12-13-16,-1-14 0,0 14 0,0 0 15,-13-1-15,14-12 0,-1-1 16,-13 14-16,0-13 0,13 13 15,-13-14-15,0 14 0,0 0 0,0-1 16,0 1-16,0 0 16,0 0-16,-13 39 31,13-13-15,0 1-16,-13 118 15,13-119 1,0 0-16,0 1 0,13-1 0,-13 0 15,0 0-15,13 1 0,0-1 16,1-13-16,-1 0 0,0 0 16,13 0-16,-12 0 15,-1-13-15</inkml:trace>
  <inkml:trace contextRef="#ctx0" brushRef="#br0" timeOffset="4600.66">11893 1111 0,'26'0'31,"-12"0"-31,-1 0 0,40-13 16,-40 13-1,14 0-15,-14 0 0</inkml:trace>
  <inkml:trace contextRef="#ctx0" brushRef="#br0" timeOffset="4807.46">12250 1045 0,'0'27'47,"0"-14"-32,0 0-15,0 0 0,0 0 0,13 1 0,-13-1 16,0 0-16,0 0 15,0 1-15,0-1 16,0 0-16,-13-13 0,0 27 16,0-14-16,0-13 15,13 13-15,-14-13 0,1 0 0,13 13 16</inkml:trace>
  <inkml:trace contextRef="#ctx0" brushRef="#br0" timeOffset="5716.82">12938 913 0,'-40'13'0,"27"0"0,13 0 16,-13-13-16,0 14 0,0 25 15,13-25-15,0-1 16,0 0-16,13 0 15,-13 1-15,13-1 16,0 0-16,0-13 0,1 13 0,-1-13 16,0 0-16,0-13 15,1 13-15,-1 0 0,0-13 0,0 0 16,1 13-16,-1-14 0,0 1 0,-13-13 16,13 12-16,-13 1 0,13 0 15,-13 0-15,0-1 0,0 1 16,-13 0-16,13 0 0,-13 0 15,0-1-15,0 14 16,-1 0-16,1 0 16,0 0-16,0 0 15,13 14-15,13-1 16,13 13 0,-12-26-1,-1 13-15,0-13 0,0 0 16,0 14-16,1-1 0,-1 0 15,0 14-15,14 12 16,-14-12-16,-13-1 0,13 14 0,0-14 0,-13 14 16,13-13-16,-13 12 0,0-12 15,0-1-15,-13 14 0,0 13 16,0-27-16,0 1 0,13-14 16,-14 0-16,1 0 0,13 1 0,-13-14 15,13 13-15,-13-13 0,-14 0 31,27-13-31,0-1 0,13 1 16,-13-13-16,14 12 0,-1-12 16,0 0-16,0-1 0,14 1 0,-1-1 15,1 1-15,-1-1 0,1 14 16,-1 0-16,1-14 0,-1 14 0,-13 13 16,14-13-16,-14 0 0,0 13 15,0-14-15</inkml:trace>
  <inkml:trace contextRef="#ctx0" brushRef="#br0" timeOffset="6152.73">13944 873 0,'-27'27'15,"14"-27"-15,13 13 0,13 0 16,0 0-16,1 0 15,-1-13-15,26 53 16,-25-39-16,12-1 0,27 27 16,-40-27-1,1 13-15,-1-13 0,0-13 16,-13 14-16,0-1 0,0 0 16,0 0-16,-13-13 15,0 14-15,-1-14 16,1 0-16,0 0 0,0 13 0,-1-13 15,-12 0-15,-1-13 16,14 13-16</inkml:trace>
  <inkml:trace contextRef="#ctx0" brushRef="#br0" timeOffset="6383.92">14274 847 0,'0'-14'0,"14"14"16,-1 27 15,-13-14-31,0 0 0,0 14 16,0 12-16,13-39 0,-26 27 16,13-14-16,0 14 0,13-14 15,-13 13-15,-13-12 0,26-1 0,-13 13 16,0-13-16,0 14 0,0-14 15,13-13-15</inkml:trace>
  <inkml:trace contextRef="#ctx0" brushRef="#br0" timeOffset="6588.78">14182 1045 0,'39'0'0,"-25"-13"15,-1 13-15,0 0 16,0 0-16,1-13 0,-1 13 16,40 0-16,-40 0 0</inkml:trace>
  <inkml:trace contextRef="#ctx0" brushRef="#br0" timeOffset="6959.72">14579 952 0,'-27'14'0,"27"12"15,0-13 1,0 1-16,-13-14 16,26 26-16,0-13 15,1 1 1,-1-14-16,13-14 16,-13 14-16,1-13 15,-1 13-15,-13-13 16,26 13-1,-12 0 17,-14 13-32,13-13 0,-13 13 15,0 1-15,0-1 16,0 0-16,13-13 0,-13 13 16,13 0-16</inkml:trace>
  <inkml:trace contextRef="#ctx0" brushRef="#br0" timeOffset="7910.79">15240 728 0,'-26'39'16,"26"-25"0,-27 91-16,14-65 15,13-14-15,0 14 16,0-27-16,0 1 16,0-1-16,0 0 0,0 0 15,0-39 32,-27 13-31,27-1-16,-13 14 0,0 0 15,0 0-15,-1 0 0,1 0 16,0 0-16,0 0 0,0 14 0,-1-14 16,1 13-16,0-13 0,-27 26 15,27-12-15,13-1 16,0 0-16,0 0 15,0 0-15,13 1 0,0-14 16,1 0-16,-1 0 0,0 0 0,14 0 16,-1 0-16,0 0 15,1-14-15,13 14 0,-14-13 0,1 13 16,25-26-16,-38 26 0,12-13 16,-13-1-16,1 1 0,-1 13 15,0-13-15,-13 0 0,13 13 0,-13-14 16,14 1-16,-14 0 15,-27 26 17,14 14-17,13-14 1,0 0 0,13 0-16,-13 1 0,13-14 15,-13 13-15,14-13 16,-1 0-16,0 0 15,0 0-15,0 0 16,1-13-16,12-1 16,-13 14-16,-13-13 15,14 13-15,-1-13 16,0 26 15,0-13-31,-13 27 16,0-14 15,0 0-15,14-13-1,-1-13 1,0 13-16,0 0 0,-13-13 16,13 13-16,1 0 15,-1 0-15,0 0 16,0 0-16,1 0 15,-1 0 1,13 0 0,-13 0-16,-13-14 0</inkml:trace>
  <inkml:trace contextRef="#ctx0" brushRef="#br0" timeOffset="8158.57">15954 833 0,'0'-26'0,"-26"39"47,26 0-47,-13 14 16,-1 26 0,1-14-16,13-25 15,0-1-15,-13 13 0,13-12 16,0-1-16,0 0 15,13 0 1,14-26 0</inkml:trace>
  <inkml:trace contextRef="#ctx0" brushRef="#br0" timeOffset="8372.82">15610 952 0,'40'0'31,"-27"0"-31,1 0 0,-1 0 0,26 0 16,-12-13-1,13 13-15,-14 0 0,1 0 0,12-13 16,-12 13-16,39 0 15,-40 0-15</inkml:trace>
  <inkml:trace contextRef="#ctx0" brushRef="#br0" timeOffset="8655.83">16510 913 0,'-13'0'15,"26"-13"1,13 13 0,-12 0-16,25 0 0,-25 0 0,25-14 15,1 14 1,-27 0-16,0 0 0,27 0 15,-27 0-15,1 0 0,-1 0 16,0-13-16,0 13 0,1 0 0</inkml:trace>
  <inkml:trace contextRef="#ctx0" brushRef="#br0" timeOffset="8918.82">16722 675 0,'26'13'15,"-13"0"-15,1-13 0,-1 13 16,0 1-16,0-1 0,1 0 16,-1 14-16,0-14 0,0 0 0,0 13 15,1 1-15,-1-14 0,-13 14 0,0-14 16,0 13-16,-13-13 15,13 1-15,-14 12 0,-12 27 0,0-26 16,12-1-16,-12-13 0,13 0 16,-14 1-16,14-1 0,0 0 15</inkml:trace>
  <inkml:trace contextRef="#ctx0" brushRef="#br0" timeOffset="9394.73">17899 661 0,'0'27'16,"0"-14"-16,0 0 0,0 1 16,0-1-16,0 13 0,0-12 0,0 12 15,0-13-15,0 14 0,0-1 0,0-13 16,0 1-16,0 12 0,0-13 15,0 0-15,0 1 0,0-1 16</inkml:trace>
  <inkml:trace contextRef="#ctx0" brushRef="#br0" timeOffset="9857.61">17886 741 0,'26'13'15,"-12"0"1,-14 1-16,13-1 0,0 13 16,-13 1-16,13-14 0,0 0 15,-13 0-15,14 1 0,-1-1 16,-13 0-16,13 0 0,0-13 0,1 13 16,-1-13-16,0 0 15,0 0-15,1 0 16,-1-13-1,-13 0-15,0 0 0,13 0 0,-13-14 16,13 14-16,-13-14 0,13 1 0,-13-14 16,14 14-16,-14-1 0,13 1 15,0-1-15,-13 14 0,0 0 16,13-13-16,1 39 47</inkml:trace>
  <inkml:trace contextRef="#ctx0" brushRef="#br0" timeOffset="10518.02">18362 582 0,'-26'27'0,"12"-1"16,14-13-1,14 14-15,-1-14 16,-13 0-16,13-13 0,0 13 16,1-13-16,-1 0 0,0 0 15,0 0-15,14 0 0,-14 0 0,0-13 16,14 0-16,-1 0 15,-13-1-15,1 14 0,-14-13 16,13 13-16,-13 13 31,0 14-31,-13-1 16,-1 1 0,-12 13-16,26-14 0,-13-13 15,-14 40-15,14-26 0,13-1 16,-13-13-16,13 0 0,-27 14 15,27-14-15,-13 0 16</inkml:trace>
  <inkml:trace contextRef="#ctx0" brushRef="#br0" timeOffset="11319.83">18759 675 0,'-13'26'15,"13"-13"-15,0 14 16,0-14-16,0 0 0,0 1 16,0-1-16,13 0 0,-13 0 15,0 0-15,13 1 0,-13-1 16,13 0-16,1 0 0,-1-13 16,0 0-16,0 0 0,1 0 15,-1 0-15,-13-13 0,13 0 16,0 0-16,0-14 15,1 1-15,-14 13 0,0-14 16,13 14-16,-13-14 0,0 14 16,0-13-16,13-1 0,-13 14 15,0 0-15</inkml:trace>
  <inkml:trace contextRef="#ctx0" brushRef="#br0" timeOffset="11633.13">17952 1244 0,'40'-14'16,"-14"14"-16,1-13 0,12 13 15,1-13-15,0 0 0,13 13 0,-14-14 16,67 1-16,-53 13 16,0-13-16,0 13 0,-13-13 15,12 13-15,-12-14 0,0 14 0,-14-13 16,1 13-16,-14 0 0,0 0 0,0 0 15</inkml:trace>
  <inkml:trace contextRef="#ctx0" brushRef="#br0" timeOffset="11841.99">18111 1283 0,'26'0'0,"1"0"0,52-13 32,-26 13-32,-13 0 0,13 0 0,-1-13 15,-12 13-15,13 0 0,26 0 16,14-13 0,-53 13-16,-14-14 0,27 14 15</inkml:trace>
  <inkml:trace contextRef="#ctx0" brushRef="#br0" timeOffset="12748.49">10398 1707 0,'27'-27'0,"-1"27"0,1-13 16,-1 13-16,14-13 0,-1 13 0,67-14 16,-40 1-16,0 0 0,1 0 15,12 13-15,0-13 0,80-14 16,-80 14-16,1 13 0,-1-13 16,1-1-16,-1 1 0,-13 13 15,-13-13-15,0 13 0,-13 0 0,-1-13 16,-25 13-16,-1 0 0,0 0 15,0 0-15</inkml:trace>
  <inkml:trace contextRef="#ctx0" brushRef="#br0" timeOffset="13018.74">10649 1931 0,'93'-26'16,"-66"26"-16,12-13 0,14 0 16,13-1-16,0 1 0,14 0 15,65-14-15,-65 14 0,65 0 16,-79 0-16,1-1 0,-15 1 15,-12 13-15,13-13 0,-26 13 16,-1-13-16,-13 13 0</inkml:trace>
  <inkml:trace contextRef="#ctx0" brushRef="#br0" timeOffset="16028.04">1826 2606 0,'13'27'31,"-13"-14"-31,0 0 0,0 14 0,0-14 16,0 13-16,0 40 16,13-39-16,-13 26 15,0-40-15,0 13 0,0 14 16,0-13-16,0-14 15,0 13-15,0-13 0,0 1 0,0-1 16,0 0 0</inkml:trace>
  <inkml:trace contextRef="#ctx0" brushRef="#br0" timeOffset="16515.7">1733 2686 0,'13'-53'0,"0"39"0,1 14 16,-1-13-1,0 13-15,0 0 0,1 0 0,-1 13 0,0-13 16,0 0-16,14 14 0,-14-1 0,0-13 16,0 13-16,1 0 15,-1 1-15,0-1 0,-13 0 0,0 0 16,0 0-16,-13 1 0,13-1 0,-13 13 16,-14 1-1,27-14-15,-13-13 0,-13 27 16,12-27-16,14 13 15,-13-13-15,13 13 0</inkml:trace>
  <inkml:trace contextRef="#ctx0" brushRef="#br0" timeOffset="17095.62">2117 2910 0,'-14'0'0,"28"0"0,-28-13 15,1 26 1,0 1-1,13-1-15,0 0 0,0 0 16,0 1-16,13-1 0,-13 0 16,0 0-16,13 0 0,-13 1 0,14-1 15,-1-13-15,0 13 16,0-13-16,1 0 0,-1 0 16,0 0-16,0 0 15,0-13 1,-13 0-16,14-1 0,-14 1 15,0 0-15,0 0 0,0 0 16,-14-1-16,14 1 0,-13 0 16,13 0-16,-13 13 0,13-14 15,-13 1-15,0 13 0,-1-13 16,1 13-16,-13 13 16</inkml:trace>
  <inkml:trace contextRef="#ctx0" brushRef="#br0" timeOffset="17591.04">2342 2805 0,'13'26'15,"-13"-13"-15,0 1 16,0-1-16,0 13 0,13 1 0,-13 65 16,13-52-1,-13-14-15,0 1 0,0 26 16,13-27-16,-13-13 0,0 14 16,0 13-16,0-27 0,0 0 15,0 0-15,0 1 0,0-1 16,0 0-1,-13-39 1,0-1 0,13 14-1,0-14-15,0 14 0,0-13 0,0-1 0,0 1 16,-13-1-16,26-26 16,-13 27-16,0 13 0,0-14 15,13 14-15,-13 0 0,13 0 0,-13-1 16,14 14-16,-1-13 0,0 13 15,0 0-15,1 0 16,-1 0-16,-13 13 0,13-13 0,-13 14 16,0-1-16,0 13 15,-13-13-15,-14 14 16,14-1 0,0-26-16,0 0 0</inkml:trace>
  <inkml:trace contextRef="#ctx0" brushRef="#br0" timeOffset="18390.53">2593 2990 0,'0'26'47,"13"-13"-31,-13 1-16,0-1 0,13 0 15,1-13-15,-14 13 0,13-13 16,0 0-16,0 14 16,1-14-16,-1 0 15,0-14-15,0 14 0,0-13 16,14 0 0,-27 0-1,13 13 1,0 0-1,1 26 1,-1-26 0,0 13-16,0-13 15,1 0-15,-1 0 16,0 0-16,0 0 0,-13-13 16,13 13-16,1-13 0,-14 0 0,13-1 15,-13 1-15,0 0 0,0-13 16,13 12-16,-26-12 15,13 13-15,0-14 0,0 1 0,0-1 16,0 1-16,0-1 0,0 14 0,0 0 16,0 0-16,0-1 0,0 1 15,0 40 17,13-14-32,-13 0 0,0 0 15,0 14-15,13 26 0,-13-27 16,14-13-16,-14 14 0,13-14 15,0 14-15,0-1 16,0-26-16</inkml:trace>
  <inkml:trace contextRef="#ctx0" brushRef="#br0" timeOffset="19360.72">3294 2924 0,'0'-14'0,"-13"14"16,0-13 15,-1 13-15,1 0 0,0 0-1,0 0 1,-1 13-16,14 1 15,-13-14-15,13 13 0,-13-13 16,13 13-16,0 0 0,-13 1 16,26-1-1,0-13 1,14 0 0,-14 0-1,0 0 1,0 0-1,1 0 1,-14 13 0,13 0-16,0-13 15,0 13 1,1-26-16,12 13 16,-13-13-16,0 13 15,1-13-15,-1 0 0,-13-1 16,13 14-16,0-13 0,1 0 0,-1-27 15,-13 27-15,13-13 16,-13-1-16,13 1 0,-13 12 0,13-12 16,-13 13-16,14-14 0,-14 14 15,0 0-15,0 0 16,13 39 15,-13-13-31,0 53 31,0-52-31,13 12 0,-13-13 0,0 1 16,13-1-16,-13 0 0,14-13 16,-1 13-16,0-13 0,14 0 15,-14 0 1,0-13-16,0 13 0,-13-13 16,13 13-16,1-13 0,-1-1 0,0 1 0,-13 0 15,13 13-15,1-13 0,-14-1 16,13 1-16,0 0 15,-13 26 17,0 0-32,0 1 15,0-1-15,13 0 16,-13 0-16,0 1 16,14-1-16,-1-13 31</inkml:trace>
  <inkml:trace contextRef="#ctx0" brushRef="#br0" timeOffset="19780.81">3294 2778 0,'40'-13'31,"-27"13"-31,13 0 16,-12 0-16</inkml:trace>
  <inkml:trace contextRef="#ctx0" brushRef="#br0" timeOffset="20547.8">3889 2805 0,'-13'13'15,"13"0"-15,-13 14 16,13-14-1,0 0-15,13 0 0,14 0 32,-1-13-32,-13 0 15,1 0-15,-1-13 16,0 13-16,0-13 0,0 0 16,-13 0-16,14-1 0,-14 1 15,0 0-15,13 0 0,-13-1 16,0 1-16,-13 0 0,13 0 15,0-1-15,-14 1 16,1 0 0,0 26 15,13 0-15,26 1-1,-12-14 1,-1 13-16,0-13 15,0 13-15,14 0 16,-14-13 0,-13 14-16,13-14 0,1 13 15,-1-13 1,0 0 0,0 0-1,0 0 1,14 0-16,-14 0 15,0 0 1,1-13-16,12 13 16,-26-14-1</inkml:trace>
  <inkml:trace contextRef="#ctx0" brushRef="#br0" timeOffset="20770.59">3678 2514 0,'-14'0'16</inkml:trace>
  <inkml:trace contextRef="#ctx0" brushRef="#br0" timeOffset="21111.59">3387 2791 0,'132'-39'16</inkml:trace>
  <inkml:trace contextRef="#ctx0" brushRef="#br0" timeOffset="21795.12">4710 2566 0,'-14'0'0,"14"-13"0,0 0 16,0 0 0,14 13-16,-1 0 15,0 0 1,-13 13-16,13-13 0,-13 26 16,13-26-16,-13 14 0,0-1 15,0 13-15,0-12 0,0-1 16,0 13-16,0 14 0,-13-27 0,13 0 15,0 14-15,-13-1 16,13-12-16,0-1 0,0 0 16,0 0-16,0 1 0,0-1 0</inkml:trace>
  <inkml:trace contextRef="#ctx0" brushRef="#br0" timeOffset="21914.85">4762 3069 0</inkml:trace>
  <inkml:trace contextRef="#ctx0" brushRef="#br0" timeOffset="42244.47">4762 3135 0,'0'14'16</inkml:trace>
  <inkml:trace contextRef="#ctx0" brushRef="#br0" timeOffset="43761.01">4591 2606 0,'13'-13'31,"0"0"-15,-13-1-16,13 1 16,0 13-1,1-13 1,-1 0-16,0 13 16,0 0-1,1 0 1,-1 0-1,0 13 1,0 0 0,0-13-16,-13 27 15,14-27-15,-14 13 16,0 0-16,0 0 0,13 1 16,-13-1-1,0 0 1,13 14-1,-13-14-15,0 0 16,0 0-16,0 14 16,0-14-16,0 27 15,0-27 1,0 0-16,0 0 16,0 1-16,0-1 15,13 0 1,-13 0-1,14 0 1</inkml:trace>
  <inkml:trace contextRef="#ctx0" brushRef="#br0" timeOffset="44270.71">4776 3162 0,'-14'0'78,"1"-13"-62,0 13-1,0-14 1,0 28-1</inkml:trace>
  <inkml:trace contextRef="#ctx0" brushRef="#br0" timeOffset="46612.03">6178 2831 0,'0'-26'0,"0"65"16,0-12-16,0 26 16,0-27-16,-13 14 0,13 26 15,-13-26-15,13-14 0,0 14 16,-14-27-16,14 13 0,-13 14 16,13-13-16,0-14 15,-13 0-15,13 0 0,0 1 0</inkml:trace>
  <inkml:trace contextRef="#ctx0" brushRef="#br0" timeOffset="47235.71">6138 2858 0,'27'0'31,"12"0"-16,-12 0-15,-1 13 0,27-13 0,-13 0 16,53 13-16,-54-13 0,14 0 0,-13 0 16,0 13-16,13-13 0,-14 0 15,-12 0-15,12 0 0,-12 0 16,-1 0-16,1 0 0,-14 13 0,0-13 16,0 0-16,1 0 0,-1 0 15,0 0-15,0 0 0,-13 14 16,14-14-16,-14 13 15,13-13-15,-13 13 16,0 0-16,13 1 0,-13-1 0,0 0 0,13 13 16,0-12-16,-13-1 0,14 0 15,-14 14-15,13-14 0,0 27 16,0-14-16,1-13 0,-1 0 0,-13 14 16,13-14-16,-13 0 15,0 1-15,13-1 0,-13 0 0,-13 0 16,13 1-16,-13-1 0,13 0 15,-27 0-15,14 0 0,0 1 16,-14-1-16,1-13 0,0 13 0,-14 0 16,-40 1-16,41-1 15,-1-13-15,0 13 0,1-13 0,12 0 16,-12 0-16,12 0 0,-13 0 0,14 0 16,0 0-16,-14 0 0,13 0 15,1 0-15,-1 0 0,14 0 0,-13-13 16,13 13-16</inkml:trace>
  <inkml:trace contextRef="#ctx0" brushRef="#br0" timeOffset="47528.53">6363 2950 0,'13'66'0,"-13"-53"0,0 54 15,0-41 1,0 1-16,0-1 0,-13-13 0,13 14 15,0 12-15,0-25 0,-13 25 16</inkml:trace>
  <inkml:trace contextRef="#ctx0" brushRef="#br0" timeOffset="47799.76">6615 2963 0,'0'-13'0,"13"13"15,-13 13 1,13 40 0,-13-26-16,0-1 15,-13 1-15,13-1 0,0 1 0,0-1 16,0 14-16,-13-14 0,13 1 15,0-1-15,0 14 0,0-27 16,0 13-16,0-12 0,0-1 16,0 0-16,0 0 0</inkml:trace>
  <inkml:trace contextRef="#ctx0" brushRef="#br0" timeOffset="48087.67">6085 3162 0,'40'-27'15,"-13"14"-15,78-13 16,-52 26-16,80-27 16,12 14-1,-105 0-15,0 13 16,-1 0-16,1-14 0,13 14 16,-27 0-16,-13 0 0</inkml:trace>
  <inkml:trace contextRef="#ctx0" brushRef="#br0" timeOffset="48327.68">6085 3254 0,'186'14'0,"-133"-14"16,-14-14-16,14 14 0,0 0 0,0 0 16,0-13-16,-13 13 0,13 0 15,-1-13-15,1 13 0,-13 0 0,0-13 16,-1 13-16,-12 0 0,13-14 16</inkml:trace>
  <inkml:trace contextRef="#ctx0" brushRef="#br0" timeOffset="48993.04">7726 2977 0,'-13'-14'16,"79"14"31,-40 14-47,1-14 0,-1 0 0,14 0 15,39 0-15,-39 0 0,-14 13 16,14-13-16,-14 0 0,14 0 16,-13 0-16,-1 0 0,1 0 0,-14 0 15,26 0-15,-12 0 16,-14 0-16,0 0 0</inkml:trace>
  <inkml:trace contextRef="#ctx0" brushRef="#br0" timeOffset="49347.58">8189 2871 0,'53'13'31,"-40"0"-31,0-13 0,0 13 0,14 1 16,-14-1-16,0 0 0,14 0 0,-14 1 15,0-1-15,14 0 16,-14 0-16,-13 0 0,13 14 16,-13-14-16,0 0 0,0 1 0,0-1 15,-13 0-15,0 0 0,0 14 16,-14-14-16,1 0 0,-1 14 0,1-14 16,12 0-16,-12-13 0,0 13 0,12 1 15,1-14-15</inkml:trace>
  <inkml:trace contextRef="#ctx0" brushRef="#br0" timeOffset="49999.14">9340 2686 0,'0'0'0,"-13"26"31,13-13-31,0 0 15,-14 14-15,1 39 16,-13 40 0,26-80-16,0 1 0,0-1 15,0-13-15,13 40 16,0-39-16,0-1 0,1 0 16,-1-13-16,13 13 0,-13-13 0,1 0 15,12 0-15,-13 0 0,1 0 16,39 0-16,-40 0 15,-13-13-15</inkml:trace>
  <inkml:trace contextRef="#ctx0" brushRef="#br0" timeOffset="50210.89">9155 2963 0,'39'-13'16,"-25"13"0,12 0-16,0-13 0,1 13 0,-1 0 15,1 0-15,-1 0 0,1-13 0,12 13 16,-12 0-16,-1 0 0,1 0 16,-1 0-16,-13 0 0,14 0 0</inkml:trace>
  <inkml:trace contextRef="#ctx0" brushRef="#br0" timeOffset="51263.4">9816 2937 0,'0'0'0,"-13"-13"0,0 13 0,-1 0 16,1 0-16,0 0 15,-14 13 1,14-13-16,-13 26 16,26-12-1,-13-1 1,13 0-16,13 0 0,0-13 15,0 0 1,0 0-16,1-13 16,-1 13-16,0-13 15,0 26 17,-13 0-17,14 0 1,-1-13-16,-13 14 0,13-14 15,0 0-15,0 13 16,1-13-16,-1 0 16,0-13-16,0 13 0,1 0 0,-1-14 15,13-12 1,14-14 0,-27 14-16,-13-1 0,13 1 0,-13 13 15,14-14-15,-14 1 0,0-1 16,13 14-16,-13 0 0,0 0 15,0-1-15,0 1 0,0 0 0,0 0 16,-13 39 0,-1 14-1,1-27 1,13 14-16,0-1 0,-13-13 16,13 14-16,0-14 0,0 13 0,0-12 15,0-1-15,0 0 0,0 0 0,13 1 16,-13-1-16,0 0 0,13 0 15,1 0-15,-1-13 16,-13 14-16,13-14 0,0 0 16,1-14-16,-1 14 15,0 0-15,0-13 16,1 13-16,-14-13 0,13 0 16,-13 0-16,13 13 15,-13-14-15,0 1 0,0 0 0,0 0 16,0-1-16,0 1 0,0 0 0,0 0 15,13-14-15,-13 1 16,0 13-16,0-1 0,0 1 0,0 0 16,13 0-16,1-1 15,-1 14-15,13-13 16,-12 26-16,-1-13 16,0 14-16,0-1 15,-13 0-15,-13 0 16,13 1-16,-13-1 0,0-13 0,-14 40 15,1-27 17,12 0-32,1-13 0,13 13 0,0 0 31,0 1-15,13-14-16,14 0 15,-14 13 1,0-13-16,1 0 0,-1 0 15,0 13-15</inkml:trace>
  <inkml:trace contextRef="#ctx0" brushRef="#br0" timeOffset="52718.86">10742 2818 0,'-13'0'0,"-14"0"16,1 13-1,13 0-15,13 1 0,-14-14 16,1 13-16,0 0 0,13 0 0,-13-13 15,13 13-15,0 1 0,-13-14 16,13 13-16,13 0 16,0-13-1,13 0 1,-26-13-16,14 13 0,-1-13 16,0-1-1,0 14 1,-13 14-1,14-1 1,-14 0 0,13-13-16,0 13 15,14-13 1,-14 14-16,0-14 0,13-14 16,-12 14-16,12-26 15,1 13 1,-14-40-16,0 26 15,-13 14-15,13-13 0,-13-1 16,14 1-16,-14 12 0,13-12 16,-13 13-16,0 0 0,0-1 0,0 1 15,0 0-15,-13 39 32,13-12-32,-14 25 15,1 27 1,13-52-16,13 25 15,-13-25-15,14-14 0,-1 13 16,0 0-16,0-13 0,0 0 16,1 0-16,-1 0 0,0-13 0,0 13 15,14-13-15,-1-14 0,-13 14 16,1-14-16,-1 14 0,0-13 16,0 12-16,-13 1 0,14 0 0,-14 0 15,0 39 16,0-13-31,0 1 16,0 12-16,0-13 16,0 1-16,0-1 0,0 0 0,0 0 15,13 1-15,-13-1 0,13 0 0,-13 0 16,13-13-16,1 13 0,-1-13 16,0 0-16,0 14 0,0-14 15,1 0-15,-1 0 0</inkml:trace>
  <inkml:trace contextRef="#ctx0" brushRef="#br0" timeOffset="53043.9">11827 2487 0,'0'-13'15,"-13"66"17,13-27-32,0-13 0,0 14 0,0-14 15,-14 14-15,14-1 0,0-13 16,0 14-16,0-14 0,0 0 0,0 14 15,-13-14-15,13 13 0,0-12 16,0-1-16,0 0 16,0 0-16</inkml:trace>
  <inkml:trace contextRef="#ctx0" brushRef="#br0" timeOffset="53730.52">11642 2712 0,'39'0'31,"-12"0"-31,-14 0 0,0 0 16,1 0-16,-1 0 0,13 0 15,-13 0-15,14-13 0,-14 13 0,14 0 16,-1-13-16,-13-1 16,0 1-16,1 13 0,-1-13 0,0 0 15,0-1-15,-13 1 0,14 0 16,-14 0-16,13-1 0,-13-12 16,13 13-16,-13 0 15,0-1-15,13 1 16,-13 0-1,-13 39 1,13-12-16,-13-14 0,13 13 16,-27 40-1,27-40-15,0 13 0,-13-12 0,13-1 16,0 0-16,-13 0 0,13 1 0,0-1 16,0 0-16,0 0 15,0 0 1,13-13-1,0 14 1,1-14 0,-14 13-1,13-13-15,0 0 16,27 0 0,-27 0-16,-13-13 0,13 13 15,0 0-15,1-14 0,-1 14 0,0-13 16,0 0-1,-13 0-15,14 13 16,-28 26 31,28-26-47,-14 13 16,26 1-1,1-1 1</inkml:trace>
  <inkml:trace contextRef="#ctx0" brushRef="#br0" timeOffset="54396.24">12991 2540 0,'-66'-13'16,"53"13"-1,26 26 1,0-13-1,0 1-15,-13-1 0,14 0 0,12 14 16,-13-14-16,1 0 16,-1 0-16,0 1 0,-13-1 0,13 0 15,0 27 1,-26-27-16,13 0 0,-13 0 16,0 1-16,0-14 15,-14 13-15,14 0 16,0-13-16,-14 0 15,14 0 1</inkml:trace>
  <inkml:trace contextRef="#ctx0" brushRef="#br0" timeOffset="54631.82">13229 2421 0,'13'-13'0,"-26"26"0,40-13 47,-27 53-32,-14-40-15,14 14 0,0-14 16,0 13-16,0 1 0,0-14 16,0 13-16,0-12 0,14 12 15,-14-13-15,0 1 0,13 12 0,-13-13 0,13 0 16,14 14-1,-14-27-15,0 0 16</inkml:trace>
  <inkml:trace contextRef="#ctx0" brushRef="#br0" timeOffset="55172.13">13150 2659 0,'0'-13'16,"13"0"0,13-1-1,-12 14-15,-1 0 0,0 0 0,14-13 0,-14 13 16,13 0-16,1-13 0,-1 13 16,40-13-1,-52 13-15,12 0 0,-13-14 0,1 14 16,-1 0-16,0-13 15,0 13-15,0 0 16,-13-13 0,14 13-16,-14 13 47,-14 14-32,28-1 1,-14-13-16,13 1 15,0-1 1,0-13 0,1 0-16,-1 0 0,0 0 15,0-13-15,0-1 16,1 14 0,-1 14 15,-13-1-16,0 0-15,13 0 16,0 1 0,-13-1-16,14-13 0,-1 0 15</inkml:trace>
  <inkml:trace contextRef="#ctx0" brushRef="#br0" timeOffset="55978.45">14142 2355 0,'0'-13'0,"-13"39"32,13-13-32,0 14 0,-13-14 0,13 13 15,-27 41-15,27-41 16,-13-13-16,13 14 0,0-14 15,0 0-15,0 0 0,0 1 0,0-1 16,0 0-16,0 0 0,0-39 47,-13 13-31,13-1-1,-14 14-15,-25-13 16,25 13-16,1 0 0,0 0 0,0 0 15,0 0-15,-14 27 16,14-14-16,0 0 16,13 14-1,13-27-15,0 13 0,0-13 16,1 0-16,12 0 0,40 0 16,-39 0-1,-1-13-15,1-1 0,-14 14 0,13-13 0,-13 0 16,27-14-16,-27 14 15,1 0-15,-14 0 0,13 13 0,-13-14 16,13 1-16,-13 0 0,-13 26 47,0-13-31,13 13-1,0 1 1,13-1-16,0-13 15,0 0 1,1 0-16,-1 0 16,0 13-1,0-13 1,0 0 0,-13 13-16,14-13 15,-1 14 1,0-14-1,0 0 1,1 0 0,-1 0-1,0 0-15,0 0 16,14-14 0,-14 14-16,27-13 15</inkml:trace>
  <inkml:trace contextRef="#ctx0" brushRef="#br0" timeOffset="56166.5">14777 2342 0,'0'-27'0,"0"54"15,-13-14-15,13 0 0,0 13 16,-13 27-1,13-26-15,0-14 0,0 53 16,0-39 0,0-1-16</inkml:trace>
  <inkml:trace contextRef="#ctx0" brushRef="#br0" timeOffset="56367.96">14552 2514 0,'27'0'31,"-14"0"-31,26 0 16,-25 0-16,12 0 15,40 0 1,0 0-16</inkml:trace>
  <inkml:trace contextRef="#ctx0" brushRef="#br0" timeOffset="56562.68">14922 2487 0,'0'0'31,"-26"13"1,26 1-17,13 12 1,-13 0-1,0 1 1,0-14-16,-13 14 16,0-27-1,-27 13 1,40 0-16,-13-13 0</inkml:trace>
  <inkml:trace contextRef="#ctx0" brushRef="#br0" timeOffset="57742.36">15650 2474 0,'-13'0'0,"53"0"32,-14 0-17,-13 0-15,14 0 0,-1 0 0,1 0 16,-14 0-16,13 0 0,14 13 16,-14-13-16,-12 0 0,12 0 15,-13 0-15,1 0 0,12-13 16,-13 13-16,1 0 0</inkml:trace>
  <inkml:trace contextRef="#ctx0" brushRef="#br0" timeOffset="57989.95">15888 2328 0,'27'14'15,"-14"-14"-15,13 26 16,1-26-16,-14 13 16,0 0-16,14 14 0,-14-14 0,0 0 15,-13 1-15,13-1 16,-13 13-16,0-12 0,0-1 0,-26 53 16,0-40-16,-1-12 15,14 12-15,-14 1 0,14-14 16,-27 26-16</inkml:trace>
  <inkml:trace contextRef="#ctx0" brushRef="#br0" timeOffset="86911.5">16775 3149 0,'-14'66'15,"14"-53"-15,0 40 16,0-40-16,0 0 0,0 1 15,0-1-15,-13 26 16,13-25-16,0-1 16,0 0-16</inkml:trace>
  <inkml:trace contextRef="#ctx0" brushRef="#br0" timeOffset="87330.76">16761 3201 0,'0'-26'0,"14"26"16,-1 13-1,0 0 1,0 1-16,-13-1 0,14-13 16,-14 13-16,13 0 0,0 1 15,0-1 1,0 0-16,1-13 16,-1 0-1,0-13 1,0-27-1,-13 27-15,0 0 16,14-1-16,-14 1 0,0 0 0,13 0 16,-13 0-1,0-1 1,0 1-16</inkml:trace>
  <inkml:trace contextRef="#ctx0" brushRef="#br0" timeOffset="87608.06">17066 3149 0,'26'66'0,"-26"-53"0,13 0 0,1-13 16,-14 13-16,13-13 15,0 0-15,13 0 16,-12-13-16,-1 13 16,-13-26-1,0 12-15,0 1 16,0 0-16,-13 0 0,-14 0 16,14 13-16,0 0 15,0 0-15,-14 0 0,1 0 16</inkml:trace>
  <inkml:trace contextRef="#ctx0" brushRef="#br0" timeOffset="88530.62">16616 2474 0,'13'13'0,"14"14"16,-14-14-1,0 0-15,0 0 16,0 0-16,14-13 16</inkml:trace>
  <inkml:trace contextRef="#ctx0" brushRef="#br0" timeOffset="88753.94">16933 2381 0,'-26'13'32,"-1"14"-17,27-14-15,-13 14 0,0-14 16,0 13-16,-27 40 16,27-39-16,-14 39 15,14-53-15,13 1 16,-13 12-16,13-13 0,-13 0 0,13 1 15,0-1-15</inkml:trace>
  <inkml:trace contextRef="#ctx0" brushRef="#br0" timeOffset="89200.91">17066 2619 0,'13'-39'0,"-26"25"31,-1 28-15,1-1-1,13 13 1,0 14 0,0-27-16,0 1 0,13-14 15,14 13-15,-14-13 16,0 0-16,14 0 16</inkml:trace>
  <inkml:trace contextRef="#ctx0" brushRef="#br0" timeOffset="89438.77">17317 2527 0,'-13'0'15,"26"0"-15,-39 0 0,12 0 16,1 13 0,26 0-16,-13 0 15,14 1-15,-1-1 0,-13 0 16,13 14-16,0-27 15,-13 13-15,0 0 0,13 14 16,-13-14-16,-13 0 16,0 0-16,0 0 15,0-13-15,-1 14 16,1-14-16,0 13 0</inkml:trace>
  <inkml:trace contextRef="#ctx0" brushRef="#br0" timeOffset="109070.73">17833 3122 0,'-13'27'0,"13"-14"0,0 0 0,-14 13 16,14-12-1,0-1-15,0 0 0,-13-13 16,13 27-16,0-14 16,-13 13-1,13-12-15,0-1 16</inkml:trace>
  <inkml:trace contextRef="#ctx0" brushRef="#br0" timeOffset="109534.59">17846 3135 0,'27'40'0,"-14"-14"16,0-12-1,-13-1-15,13 0 16,1 0 0,-14 1-16,13-14 15,0 0 1,0 0-16,-13-14 16,13 1-1,-13-13 1,14 26-16,-14-14 15,0 1 1,13 0 0</inkml:trace>
  <inkml:trace contextRef="#ctx0" brushRef="#br0" timeOffset="109869.91">18124 3069 0,'13'27'16,"-13"12"-1,0-25-15,0 12 16,0-13 0,0 14-16,13-14 15,1-13-15,-1 13 16,0-13-1,14 0-15,-14-13 16,-13 0 0,13-14-1,-13 14-15,-13 0 0,13-14 16,-13 27-16,13-13 0,-14 13 16,1-13-1,-13 13-15,-1 13 16,14-13-16,0 13 0,0 1 15</inkml:trace>
  <inkml:trace contextRef="#ctx0" brushRef="#br0" timeOffset="112112.75">16761 3043 0,'93'0'16,"-40"-14"-16,0 14 0,39-13 16,-39 13-16,0-13 15,80 0-15,-54 13 0,-13-13 16,80-1-16,-67 1 15,-13 0-15,0 13 0,14-13 0,-27 13 16,13-14-16,79-12 16,-105 26-16,0 0 0,-1-13 15,-12 13-15,65-13 16,-65 13-16,-14 0 0,13-14 16,-12 14-16,-1 0 15,0 0-15,14 0 0,-1 0 16,-13 0-16,14 0 15,-14 0 1,0 0-16,0 14 16,1-1-1,-14 0 1,0 0-16,0 0 0,13 40 16,-13-39-1,0 12-15,0-13 0,0 14 0,0-14 16,0 13-16,0-12 0,0 12 0,0 14 15,0-27-15,0 40 16,0-40-16,0 0 16,13 1-16,-13-1 0,0 13 15,0-12-15,13-1 16,-13 0-16,0 0 0,0 0 16,0 1-1,0-1 1,-13-13-16,0 13 15,0-13-15,-1 0 16,-38 13 0,25-13-16,1 14 0,-1-14 0,-13 13 15,1-13-15,-54 13 16,53 0-16,-12 0 0,12-13 0,-13 14 16,0-1-16,-53 0 15,53 0-15,-13 1 0,13-14 16,0 13-16,0-13 0,-66 26 15,-26 1-15,-27-1 16,119-13-16,0-13 16,0 14-16,0-14 0,-106 26 15,107-26-15,-1 13 0,-40 1 16,53-14 0,1 0-16,12 0 0,-13 13 0,14-13 0,-14 0 15,-39 13-15,52-13 16,-39 13-1,53-13-15,0 0 0,0 0 0,-1 0 16,-12 0-16,13 0 16,-1 0-1,1 0-15,13-13 16,-13 13 0,0-13-1,13 0-15,0-14 16,0 1-16,0-27 15,0 26-15,-13 1 0,13-1 16,0-26-16,0 27 0,0 0 16,0-1-16,-14 1 0,14-40 15,0 52-15,0-12 16,0 13-16,-13-14 0,13 1 16,0-1-1,0 14-15,0 0 0,0-14 16,0 14-1,0 0 1,0 0-16,0-1 16,13 14-16,-13-13 15,14 13-15,-1-13 16,0 13-16,0-13 16,0 13-16,1-14 15,25 1 1,-12 13-16,26-13 15,-27 0-15,1 13 0,12 0 16,1-13-16,0 13 0,66-14 16,-67 1-16,1 13 0,0 0 15,-1 0-15,-12-13 0,-1 13 16,14 0-16,39-13 16,-52 13-16,-1 0 0,1 0 0,-14 0 15,13-14-15,14 14 16</inkml:trace>
  <inkml:trace contextRef="#ctx0" brushRef="#br0" timeOffset="122033.75">17542 2328 0,'0'-13'0,"13"13"31,0 13-15,1 1-16,-1-14 15,-13 13-15,13 0 0,0 0 16,0 0-16,1 14 15,-1-27-15,13 26 16,-12-26-16,-1 0 16</inkml:trace>
  <inkml:trace contextRef="#ctx0" brushRef="#br0" timeOffset="122243.03">17873 2315 0,'-40'40'0,"27"-27"0,-1 0 15,1 27-15,0-14 16,0-12-16,0 12 0,-1-13 0,-12 40 16,13-26-16,13-14 15,-14 0-15,14 0 16,-13 1-16</inkml:trace>
  <inkml:trace contextRef="#ctx0" brushRef="#br0" timeOffset="122591.02">17926 2540 0,'0'-13'0,"0"0"16,0-1-1,0 1 1,-27 26-1,14 14 1,0-14 0,13 0-16,0 0 15,0 14-15,13-27 16,13 13-16,1-13 16,-14 0-16,0 0 15</inkml:trace>
  <inkml:trace contextRef="#ctx0" brushRef="#br0" timeOffset="122833.93">18177 2434 0,'-13'0'16,"26"0"-16,-40 13 15,41 1 1,-14-1-16,0 0 15,13 0-15,-13 1 16,0-1-16,13 0 0,-13 0 16,-13 14-16,0-14 15,-1 0 1,-12 14 0,13-27-16,0 13 0,-1-13 0</inkml:trace>
  <inkml:trace contextRef="#ctx0" brushRef="#br0" timeOffset="123354.23">17462 2275 0,'14'53'31,"-1"-26"-31,-13-1 0,13 40 16,0-39-16,-13-1 0,14 67 15,-14-80 1,13 14-16,-13 26 16,13-40-16,-13 0 0,0 13 15</inkml:trace>
  <inkml:trace contextRef="#ctx0" brushRef="#br0" timeOffset="123934.83">17462 2222 0,'67'-13'16,"-54"0"-16,13 13 0,80-26 15,-66 26-15,0-14 0,12 1 16,-12 13-16,53-13 15,-54 0-15,54-1 16,-80 14-16,14 0 0,-14-13 0,0 13 16,0 0-16,14 0 15,-14 0-15,14 0 16,12 13 0,-39 1-16,40 12 15,-27 1 1,0-14-16,1 13 0,-1-13 0,0 14 0,0-1 15,27 27-15,-40-39 16,13 12-16,27 27 16,-40-40-16,13 0 0,0 1 15,-13-1-15,14 0 0,-14 0 0,13 1 16,-13 12 0,13-26-16,-13 13 0,0 14 15,-13-14 1,0 0-16,-1 0 15,1-13-15,-13 14 0,12-14 0,-38 13 16,-94 27 0,67-14-1,39-26-15,0 0 0,-13 13 16</inkml:trace>
  <inkml:trace contextRef="#ctx0" brushRef="#br0" timeOffset="124479.79">16536 2461 0,'80'304'0,"-80"-278"0,13 1 0,-13-14 0,0 0 16,13 1-16,1 25 15,-14-26 1</inkml:trace>
  <inkml:trace contextRef="#ctx0" brushRef="#br0" timeOffset="125298.89">16470 2421 0,'40'-27'15,"0"14"-15,-14 0 0,1 13 0,39-26 16,-27 12-16,1 1 15,79-27-15,-79 27 16,0 0-16,-1 13 0,-12-13 0,26-1 16,0 1-1,-40 13-15,0 0 0,0-13 0,0 13 16,14 0-16,-14 0 16,-13-13-16,13 13 0,1 0 15,-1 0 1,0 0-1,0 13 1,1 0-16,-14 0 0,13 14 16,0-14-16,-13 0 15,13 1-15,-13-1 0,27 40 16,-14-40-16,0 27 16,0-27-16,-13 0 15,14 14-15,-1-14 0,-13 0 0,26 27 16,-26-14-16,13-13 15,1 1-15,-14-1 16,0 0-16,13 0 0,-13 1 16,13 12-1,-13-13-15,13 1 16,-13-1-16,14 0 31,-14 0-15,0 0-16,0 1 31,0-1-15,-14 0 15,1-13-15,-13 13-16,12 1 15,-12-14-15,13 0 16,0 13-16,-54 0 15,41 0-15,-53 1 0,39-1 16,-13 0-16,13 0 0,1 0 16,-80 27-1,92-27-15,1-13 0</inkml:trace>
  <inkml:trace contextRef="#ctx0" brushRef="#br0" timeOffset="129330.98">18111 2752 0,'-13'0'0,"-1"0"16,1 0-1,0 0-15,0 13 16,-1-13 0,-12 0-1,13 13-15,-1-13 16,1 0-16,0 0 0,0 0 15,0 0-15,-1 13 0,-25-13 16,25 0-16,1 0 16,0 14-16,-27-14 15,27 0 1,0 0-16,-14 13 16,14-13-1,0 0 1,0 0-1,-1 0 17,1-13-17,0 13 32,13-14-31,-13 14-1,-1-13 17,14 0-17,-13 0-15,13-1 16,0-12 0</inkml:trace>
  <inkml:trace contextRef="#ctx0" brushRef="#br0" timeOffset="132532.54">19024 3043 0,'0'13'31,"0"13"-31,0 1 16,0-14-1,0 0-15,0 14 16,0-14-16,13 0 15,13-13 1,-13 0 0,54-13-16,-41 0 0,14-14 0,-1 14 15,1-13-15,53-14 16,-40 13-16,-14 1 0,80-27 16,-79 27-16,-13 12 15,-1 1-15,0 0 0,14 0 16,-27 0-16,1 13 0,-1 0 15,0-14 1</inkml:trace>
  <inkml:trace contextRef="#ctx0" brushRef="#br0" timeOffset="133189.19">18904 2844 0,'-119'185'0,"106"-145"0,0-13 15,0 65-15,26 1 16,53-14-1,13-39 1,-39-27-16,13 0 0,66 1 16,-53-14-16,0 0 0,14 0 15,-1-14-15,-13 1 0,14 0 0,-1 0 16,-13-14-16,0 14 0,53-27 16,-52 14-16,144-93 15,-118 66 1,-67 26-16,14 1 0,-14 13 15,41-67 1,-54 67-16,0-13 0,0-1 0,-13 14 16,0-13-16,0 12 0,-13-12 15,-27-67-15,14 67 16,-67-40 0,54 52-16,-1-12 0,-26 13 0,13-1 15,-132 1-15,132 13 16,-119 13-1,106 1-15,-1-1 0,1 0 0,-119 67 16,119-54 0,0 0-16,0 1 0,13 13 0,-66 26 15,53-40-15,-54 40 16</inkml:trace>
  <inkml:trace contextRef="#ctx0" brushRef="#br0" timeOffset="135586.76">21299 2209 0,'13'13'0,"0"-13"16,-13 14-1,0-1-15,14 0 0,-14 0 16,0 14-16,0-14 16,0 0-16,0 1 0,0-1 15,0 0-15,0 13 16,13-12 0</inkml:trace>
  <inkml:trace contextRef="#ctx0" brushRef="#br0" timeOffset="136093.63">21286 2090 0,'26'13'16,"-13"1"-16,1-14 16,-1 13-16,0-13 15,14 0-15,-14 13 0,0-13 0,13 13 16,1-13-16,-1 14 16,-12-14-16,25 26 15,-25-13-15,-1-13 0,-13 13 0,13-13 16,0 27-1,0-14-15,-13 40 16,0-40-16,0 1 16,-13-1-16,13 0 15,-13 13-15,0-12 0,0 12 0,-14 1 0,14-14 16,0 0-16,-14 14 0,1 12 16,12-26-16,1 1 15,0-1-15,0-13 0</inkml:trace>
  <inkml:trace contextRef="#ctx0" brushRef="#br0" timeOffset="143186.66">13679 3029 0,'106'-39'15,"-53"26"-15,-14-1 0,94-12 16,-80 13-16,-14-1 0,14 1 15,-13 0-15,13 0 0,39-14 16,-52 14-16,0 13 0,-14-13 0,1 13 16,12-13-16,-25 13 15,-1 0 1</inkml:trace>
  <inkml:trace contextRef="#ctx0" brushRef="#br0" timeOffset="143409.66">13877 3096 0,'40'0'16,"-27"0"-16,14-14 0,12 14 16,41-26-16,-1-1 15,-39 27-15,79-39 16,-93 39-16,54-27 15,-54 27-15,-13-13 16,14 13-16,13-13 16,-40 0-16</inkml:trace>
  <inkml:trace contextRef="#ctx0" brushRef="#br0" timeOffset="160682.72">22225 2064 0,'0'-13'0,"0"52"31,0-26-31,0 54 16,0-41-16,0-13 16,0 14-16,13 12 0,-13-12 15,0-14-15,0 14 0,0-14 0,0 0 16,0 0-16,0 0 0,0 1 16,0-1-16,0 0 0,13-13 15,-39-13 16,26 0-31,-13-1 16,-27-12 0,14 26-16,12-13 15,-25 13-15,25 0 0,1 0 16,0 0-16,-27 0 0,27 13 16,0-13-16,0 13 0,13 0 15,-14-13-15,14 14 0,0-1 16,0 0-16,14 0 0,-14 1 15,13-14-15,0 13 0,0-13 16,1 0-16,-1 13 0,0-13 16,0 0-16,0 0 0,1 0 0,12 0 15,-13 0-15,1-13 0</inkml:trace>
  <inkml:trace contextRef="#ctx0" brushRef="#br0" timeOffset="160882.68">22463 2302 0,'0'26'32,"0"1"-17,-13-14-15,13 0 0,0 0 16,0 1-16,0-1 0,0 0 15</inkml:trace>
  <inkml:trace contextRef="#ctx0" brushRef="#br0" timeOffset="161039.59">22397 2262 0,'-13'0'16</inkml:trace>
  <inkml:trace contextRef="#ctx0" brushRef="#br0" timeOffset="161344.9">22635 2275 0,'-13'14'16,"13"-1"-1,0 0 1,0 0-16,0 1 0,13-14 15,-13 13-15,0 0 16,0 0-16,13-13 0,-13 13 16,0 1-1,0-1-15,0 0 16,-13-13-16,0 13 16,0-13-1</inkml:trace>
  <inkml:trace contextRef="#ctx0" brushRef="#br0" timeOffset="161565.18">22741 2170 0,'13'13'31,"-13"0"-16,13 13-15,-13-12 0,0-1 16,0 0-16,14 27 0,-1 0 31,-13-14-31,13-13 0,-13 0 16</inkml:trace>
  <inkml:trace contextRef="#ctx0" brushRef="#br0" timeOffset="161753.98">22767 2342 0,'53'-14'0,"-26"1"16,-1 13-16,-13 0 15</inkml:trace>
  <inkml:trace contextRef="#ctx0" brushRef="#br0" timeOffset="162378.89">23058 2249 0,'-13'-13'16,"0"26"0,0-13-16,0 0 0,13 13 15,-14 0-15,1 1 16,-13-1-16,26 0 15,-14 0 1,28 1-16,-14-1 16,13-13-1,0 0-15,14-13 32,-14 13-32,0-14 0,0 1 15,0 0 1,-13 0-16,14 13 15,-1-14 17,-13 28-17,13-1 1,-13 0 0,13-13-16,-13 13 15,14-13 1,-1 0-16,0 0 31,0 0 0,1 0-31,-1 0 16,0 0 0,0 0-16,0 0 31,1 0-31,-1 0 15</inkml:trace>
  <inkml:trace contextRef="#ctx0" brushRef="#br0" timeOffset="162605.76">23349 2170 0,'0'-40'15,"0"80"-15,-13-107 0,13 54 16,0 40 31,0-14-47,-13 0 0,13 0 15,0 14-15,0-14 0,0 0 16,0 0-16,0 14 16,13-14-16,-13 0 0,0 1 31</inkml:trace>
  <inkml:trace contextRef="#ctx0" brushRef="#br0" timeOffset="162791.92">23244 2249 0,'13'-13'15,"-26"26"-15,39-26 0,-13-1 0,1 14 16,38-13-1,-25 0-15,-1 13 0,14-13 0,-13 0 16,-14 13-16,13 0 16,-13-14-16,1 14 0,12 0 0,-13 0 15</inkml:trace>
  <inkml:trace contextRef="#ctx0" brushRef="#br0" timeOffset="163783.79">21392 3016 0,'-14'-26'16,"28"26"-16,-14-13 0,13 13 15,0 0-15,0 0 16,0 0-16,1 13 15,-14 0-15,13-13 0,-13 13 16,-13 27-16,13-27 16,0 0-16,-14-13 0,14 14 15,-13-1-15,13 0 16,0 0-16,-13-13 0,13 14 16,13-1-1,0-13-15,1 0 16,12-13-16,-13 13 15,1 0-15,-1-14 0,0 14 0,14 0 16,-1-13-16,-26 0 0,13 13 16,-13-13-16</inkml:trace>
  <inkml:trace contextRef="#ctx0" brushRef="#br0" timeOffset="164039.79">21590 2778 0,'13'0'16,"-26"0"-16,53 0 0,-27 13 15,0-13-15,0 14 0,14-1 16,-1 13-16,1-12 0,-14-1 0,0 13 16,0-13-16,1 1 0,-1 12 15,-13-13-15,13 1 0,-13 12 16,0-13-16,0 0 0,-13 27 15,0-27-15,-1 1 0,1 12 0,-13-13 16,13 14-16,-1-14 0,1 0 16,0 0-16</inkml:trace>
  <inkml:trace contextRef="#ctx0" brushRef="#br0" timeOffset="164821.04">22185 2963 0,'0'40'31,"0"-27"-31,0 0 0,0 1 16,0 25-1,0-25-15,0-1 0,0 0 0,14 14 16</inkml:trace>
  <inkml:trace contextRef="#ctx0" brushRef="#br0" timeOffset="165330.17">22318 3016 0,'13'40'0,"-13"-27"15,0 0-15,0 1 16,13-14 15,14-14-15,-27 1-16,13 13 15,0 0 1,0-13-16,0 13 0,1 0 16,-14 13-16,26-13 0,-26 13 15,13-13-15,1 0 0,-14 14 16,13-14-16,0 13 0,0 0 16,0-13-16</inkml:trace>
  <inkml:trace contextRef="#ctx0" brushRef="#br0" timeOffset="165603.19">22701 2712 0,'0'-13'0,"0"39"46,0-13-46,13 14 0,-13-14 16,0 14-16,0 52 16,0-53-16,0 1 0,0-14 15,14 0-15,-14 14 0,0-14 0,13 0 16,-13 0-16,0 1 16,13-14-16,-13 13 0,13-13 15</inkml:trace>
  <inkml:trace contextRef="#ctx0" brushRef="#br0" timeOffset="165796.18">22609 2950 0,'-14'-13'16,"1"13"-16,26-13 31,1 13-31,12-14 15,1 14-15,-14-13 0,0 13 16,0 0-16,40-13 16,-40 13-16,1 0 15,-1 0-15</inkml:trace>
  <inkml:trace contextRef="#ctx0" brushRef="#br0" timeOffset="166104.57">22953 2963 0,'0'-13'15,"-14"0"-15,14 0 0,-13-1 31,0 28 1,0-14-32,13 13 0,0 0 15,0 0-15,0 1 0,0-1 16,13-13-16,-13 13 16,13-13-16,-13 13 0,13-13 15,27 0-15</inkml:trace>
  <inkml:trace contextRef="#ctx0" brushRef="#br0" timeOffset="166392.53">23072 2950 0,'13'-40'0,"0"27"15,-13 40 1,13-27-1,-13 13-15,0 0 0,0 0 32,0 1-32,0-1 15,27-26 17,-14-1-17,-13 1-15,13 0 16,-13 0-1,14-1 1</inkml:trace>
  <inkml:trace contextRef="#ctx0" brushRef="#br0" timeOffset="166743.76">22053 2910 0,'-13'0'0,"26"0"15,0-13 1</inkml:trace>
  <inkml:trace contextRef="#ctx0" brushRef="#br0" timeOffset="167377.76">23349 2818 0,'0'66'31,"0"-53"-15,0 0-16,-13 1 0,13-1 16,0 13-1,0-12 1,27-28 15,-27 1-15,13 0-16,0 13 0,-13-13 15,13 13-15,1 0 0,-1-14 16,0 14-16,0 0 16,1 14-16,-1-1 15,0 0 1,-13 0-16,13-13 15,-13 14-15</inkml:trace>
  <inkml:trace contextRef="#ctx0" brushRef="#br0" timeOffset="167671.87">23641 2765 0,'-14'0'0,"1"0"31,13 13-31,0 0 0,0 1 16,13-1-16,-13 0 16,0 0-16,14 1 0,-14-1 15,0 0-15,0 0 0,0 0 16,0 1-16,0-1 15,0 0-15,0 0 0,-14 1 16,1-14 0,13 13-16,-13-13 15</inkml:trace>
  <inkml:trace contextRef="#ctx0" brushRef="#br0" timeOffset="168024.62">23786 2606 0,'0'-13'0,"13"39"31,-13-12-15,0-1-16,0 13 0,0-12 15,0-1-15,0 0 0,0 0 0,0 14 16,0-14-16,0 0 15,0 14-15,0-14 16,0 0-16,13-13 16,1 0-1,-1 0 1,0 0-16,0 0 0,1 0 16,-1 13-16,0-13 0,0 14 15,1-14 1,-14 13-16,13-13 0,0 0 15,-13 13-15,13-13 0,0 0 16</inkml:trace>
  <inkml:trace contextRef="#ctx0" brushRef="#br0" timeOffset="168204.16">24117 2738 0,'-13'40'15,"-1"-13"1</inkml:trace>
  <inkml:trace contextRef="#ctx0" brushRef="#br0" timeOffset="168414.79">24143 2461 0,'-39'0'16,"25"0"-16</inkml:trace>
  <inkml:trace contextRef="#ctx0" brushRef="#br0" timeOffset="168848.82">24315 2447 0,'13'14'16,"-26"25"0,13-12-16,0-1 0,0 14 15,-13-14-15,13 14 0,-13 0 0,13-1 16,-13 1-16,13 0 0,-14-14 15,14 1-15,-13 26 0,0-14 16,13-25-16,-13-14 16,13 13-16,0 0 0,-14 0 15,28-52 1,-14 25 0,13 1-16,0-13 0,0-1 15,1 1-15,38-54 16,-38 67-16,-14 0 15,13 0-15,13-1 16,-12 28-16,-1-14 16,0 13-16,-26 13 15,0-12 1,13-1-16,-14 0 0,1-13 0,0 13 16,0 1-16,-14-1 0,14-13 0,0 13 15,0-13-15</inkml:trace>
  <inkml:trace contextRef="#ctx0" brushRef="#br0" timeOffset="169962.66">21550 3664 0,'27'0'0,"-14"0"0,0 14 16,-13-1 0,0 0-16,0 0 15,-13 1-15,0-1 16,13 0-16,-13-13 0,13 13 16,0 1-1,26-1 1,-13-13-16,0 0 15,-13 13-15,14-13 0,-1 13 16,-13 0-16,13-13 16,-26 14-16,13-1 15,-13-13-15,13 13 16,-27-13-16,14 13 0,0-13 0,-14 14 16</inkml:trace>
  <inkml:trace contextRef="#ctx0" brushRef="#br0" timeOffset="170218.97">21524 3440 0,'119'52'16,"-79"-38"-16,-14 12 0,1-13 15,25 40-15,-25 0 16,-14-13-16,0-14 0,-13 27 16,0-26-16,0 12 0,-13 1 15,0 0-15,-14 0 0,14-14 0,-13 14 16,-1-14-16,14 1 0,-13-1 0,-1 1 16,14-1-16,-14-26 0,1 26 15</inkml:trace>
  <inkml:trace contextRef="#ctx0" brushRef="#br0" timeOffset="171204.64">22437 3651 0,'13'27'16,"-13"12"-1,-13-25-15,13-1 0,-14 53 16,14-53-16,-13 14 16,13-1-16,0-13 0,0 1 0,0-1 15,0 0-15,0 0 16,0 1-16,0-1 0,13 0 15,1 0-15,-1-13 16,0 0-16,14 0 16,-1 0-16,0-13 15,1 13-15,-14 0 0,0 0 0,1-13 16,-1 13-16,0 0 0,-13-13 16,13 13-16</inkml:trace>
  <inkml:trace contextRef="#ctx0" brushRef="#br0" timeOffset="171376.75">22529 3850 0,'40'-14'0,"-27"14"15,0 0-15,1-13 0,-1 13 0,0 0 16,0 0-16,1-13 0,-1 13 15</inkml:trace>
  <inkml:trace contextRef="#ctx0" brushRef="#br0" timeOffset="171692">22476 3704 0,'0'0'0,"27"-13"16,-1 13-1,1-13 1,-14 13-16,13 0 0,-12 0 0,12 0 16,1-14-16,-1 14 0,-13 0 15,14 0-15,39-13 16,-53 13-16,0 0 0,1-13 16,-1 13-1,0 13-15,0 0 16,-13 1-16,0-1 15,-13 0-15,13 14 16,0-14-16,-13 27 0,0-27 16,13 13-16,-14-13 0,14 27 15,-13-27-15,13 1 0,-13-1 16,13 0-16,0 0 0</inkml:trace>
  <inkml:trace contextRef="#ctx0" brushRef="#br0" timeOffset="171896.67">22741 3784 0,'26'13'32,"1"0"-17,-14-13-15,27 26 16,-27-26-16,13 0 15,-12 0-15,-1 0 0,13 0 0,-12 14 16,-1-14-16,0 0 0</inkml:trace>
  <inkml:trace contextRef="#ctx0" brushRef="#br0" timeOffset="172523">23111 3585 0,'-13'0'0,"0"0"15,0 13 1,13 1-16,-14 12 15,14-13-15,0 0 0,-13 1 0,13 12 16,0-13-16,0 14 16,13-14-16,-13 0 0,14 1 15,-14-1-15,13-13 0,0 13 0,0 0 0,1-13 16,-1 13-16,0-13 0,0 0 16,1 0-16,-1 0 0,0 0 0,0 0 15,0-13-15,1 13 16,-1-13-16,0 0 0,-13 0 0,13-1 15,-13 1-15,0-13 0,14 12 0,-14-12 16,0 13-16,0-1 16,13-25-16,-13 26 0,0-1 15,0 1-15,-13 0 16,-1 26 15,1 0-31,13 1 0,0-1 16,-13 0-16,13 27 31,13-27-15,0 0-1,-13 0-15,14-13 0,-14 14 16,13-14 0,0 0-16,-13 13 0,13-13 0,0 13 15,1-13 1,-1 0-16,0 0 15,0 0-15,1 0 16,-1 0-16,0 0 0</inkml:trace>
  <inkml:trace contextRef="#ctx0" brushRef="#br0" timeOffset="172964.54">23588 3651 0,'0'-13'47,"-14"13"-31,1 0-1,0 13 17,-14 14-17,14-14-15,13 0 16,-13 14-1,13-14 1,13 0 0,-13 0-16,13-13 15,14-13 1,-1 13 0,-12-13-16</inkml:trace>
  <inkml:trace contextRef="#ctx0" brushRef="#br0" timeOffset="173410.77">23680 3638 0,'-13'13'31,"13"14"-15,0-14-1,0 0 1,13 0 0,14-26 15,-14 13 0,0 0-15,0 0-16,1 0 0,-1 0 15,0 0-15,0 0 16,0 0-16,14 0 16,-14 0-16</inkml:trace>
  <inkml:trace contextRef="#ctx0" brushRef="#br0" timeOffset="173864.28">23945 3612 0,'-13'-14'16,"26"54"15,-13-14 0,13-12-31,-13-1 0,0 0 0,0 0 16,-13 1-16,13-1 0,0 0 15,-13 0 1,13 1-16,26-14 31,-13-14-31,0 1 16,1 13-16,-14-13 0,13 0 16,0-1-16,0 1 0,1 0 15,-1 0-15,0-1 0,-13 1 16,0 0-16,-13 26 47,0 0-32,13 1 1,26-1 0,-26 0-16,13-13 0,1 0 15,-14 13-15,13-13 16</inkml:trace>
  <inkml:trace contextRef="#ctx0" brushRef="#br0" timeOffset="174272.91">23085 4088 0,'251'-93'15,"-211"80"1,13 0-16,-13 13 0,-14-13 15,14 13-15,13-14 0,-40 14 0,0 0 16,0 0-16</inkml:trace>
  <inkml:trace contextRef="#ctx0" brushRef="#br0" timeOffset="174451.54">23283 4167 0,'40'-26'16,"-27"26"0,0 0-16,1-13 0,12 13 15,-13-14-15,1 14 0,12-13 0,1 13 16,-14-13 0,0 13-16</inkml:trace>
  <inkml:trace contextRef="#ctx0" brushRef="#br0" timeOffset="177947.62">21881 4630 0,'-40'13'16,"27"1"-16,0-1 15,0 0-15,-1-13 0,14 13 16,-13-13-16,13 14 0,-13-1 0,0 0 16,26 0 15,13-13-31,-12 0 15,-1 0-15,0 0 0,0 0 16,14 0-16,-1 0 0,-12-13 16,12 13-16,-13 0 0,0 0 0,1-13 15,-1 13-15,0-13 16</inkml:trace>
  <inkml:trace contextRef="#ctx0" brushRef="#br0" timeOffset="178139.3">21947 4604 0,'-13'-13'16,"13"39"-1,0 0 1,0-12-16,-13-1 0,13 0 0,0 14 16,0-14-16,0 13 0,0-13 0,-13 14 15,13-14-15,0 0 16,0 1-16,0-1 0,0 0 0,0 0 0,0 1 15</inkml:trace>
  <inkml:trace contextRef="#ctx0" brushRef="#br0" timeOffset="178442.57">21934 4419 0,'79'66'0,"-65"-53"0,-1 13 16,13 1-16,-13 13 0,1-14 0,-1 0 15,-13 14-15,13-13 0,-13-1 16,0 0-16,-13 67 16,0-53-16,-1-14 0,1 1 15,0-1-15,0-13 0,0 14 0,-1-14 16,1 0-16</inkml:trace>
  <inkml:trace contextRef="#ctx0" brushRef="#br0" timeOffset="180520.78">22688 4591 0,'13'26'0,"-13"-13"16,0 0-16,0 1 0,13-1 16,-13 0-16,0 0 0,0 14 15,0-14-15,0 0 0,0 0 0,0 1 16,14-1-16,-14 0 0,0 0 0,0 1 15,0-1-15,0 0 16,0 0-16</inkml:trace>
  <inkml:trace contextRef="#ctx0" brushRef="#br0" timeOffset="180875.05">22648 4591 0,'0'-27'0,"0"14"15,0 53-15,14-93 0,-14 39 0,13 14 16,0-13-16,13 13 15,-12 0-15,12 0 0,-13 13 16,1-13-16,-1 14 16,0-14-16,0 13 0,-13 0 0,14 0 15,-14 1-15,0 12 16,0-13-16,-14 0 16,14 1-16,-13-1 0,0 0 0,0 0 15,-1 1-15,14-1 16,-13-13-16</inkml:trace>
  <inkml:trace contextRef="#ctx0" brushRef="#br0" timeOffset="181447.22">22966 4643 0,'-40'27'16,"27"-14"0,13 0-16,0 1 15,0-1-15,0 0 16,13 0-16,-13 0 15,13-13 1,1 0-16,-1 0 16,0-13-1,0 0 1,-13 0 0,14 0-16,-1-1 15,-13 1 1,13 13-16,-13-13 0,13 13 15,14 13 1,-14 0 0,0-13-16,-13 14 15,13-14-15,-13 26 16,0-13 0,0 0-1,14-39 48,-1 13-48,-13 0-15,13-1 16,0 14-16,-13-13 16</inkml:trace>
  <inkml:trace contextRef="#ctx0" brushRef="#br0" timeOffset="181658.85">23336 4432 0,'0'-13'16,"13"39"0,-13 0-1,0-12-15,0 12 0,0-13 16,0 14-16,14 13 0,-14-27 15,0 13-15,0-13 0,0 14 0,0-14 16,0 0-16,13 1 0,-13-1 16,0 0-16</inkml:trace>
  <inkml:trace contextRef="#ctx0" brushRef="#br0" timeOffset="181868.65">23283 4683 0,'14'-13'0,"12"0"16,-13-1 0,0 14-16,1-13 0,-1 13 0,0 0 15,0 0-15,1-13 0,-1 13 16,0 0-16,0 0 0,1 0 0</inkml:trace>
  <inkml:trace contextRef="#ctx0" brushRef="#br0" timeOffset="182101.86">23680 4485 0,'13'-14'0,"-13"41"31,14-1-15,-14-12 0,0-1-16,0 0 0,0 0 15,0 1-15,0 12 0,-14 14 16,14-27 0,0 0-16,0 0 0,0 1 15</inkml:trace>
  <inkml:trace contextRef="#ctx0" brushRef="#br0" timeOffset="182480.77">23667 4683 0,'13'-13'16,"0"0"0,1 13-16,-1 0 0,0-14 15,0 14-15,1 0 0,-1-13 16,0 13-16,0 0 0,0-13 0,1 13 16,-1-13-16,0 13 15,0-13-15,1 13 0,-14-14 16,13 14-16,0 0 15,0-13-15,1 26 32,-14 1-17,0-1-15,13 0 16,-13 0-16,0 14 16,13-14-1</inkml:trace>
  <inkml:trace contextRef="#ctx0" brushRef="#br0" timeOffset="182975.64">24024 4511 0,'0'0'16,"0"13"-16,0 1 15,13-14 1,-13 13 0,14-13-1,-1 0 1,0 0-1,0 0 1,1 0-16,-1 0 0,0 0 16,0 0-16,0 0 15,1 0 1,-1-13 0</inkml:trace>
  <inkml:trace contextRef="#ctx0" brushRef="#br0" timeOffset="183559.8">24249 4511 0,'27'-40'0,"-14"40"16,-13-13-16,0 40 31,0-1-15,0-13-1,13-13-15,-13 14 0,13-1 16,14 0 0,-14-13-16,-13 13 15,13-13-15</inkml:trace>
  <inkml:trace contextRef="#ctx0" brushRef="#br0" timeOffset="183736.66">23998 4392 0,'0'0'15</inkml:trace>
  <inkml:trace contextRef="#ctx0" brushRef="#br0" timeOffset="189032.63">22251 5305 0,'-13'0'15,"-13"13"1,13-13-1,13 27 1,0-1 0,13-13-16,13 27 15,-26-27 1,13-13-16,-13 13 0,0 1 0,14-1 16,-28 0-1,14 0-15,-13-13 0,13 14 0,-13-1 16,0-13-16,0 13 0,-1-13 15,1 13-15,0-13 16,0 0-16,-1-13 16</inkml:trace>
  <inkml:trace contextRef="#ctx0" brushRef="#br0" timeOffset="189254.64">22238 5120 0,'80'13'15,"-54"13"1,-13 1-16,1-14 0,-14 14 16,13-14-16,-13 13 0,0 1 0,0-1 15,0 1-15,0-1 0,0 1 0,0-1 16,-13 0-16,13-12 15,0 25-15,0-25 0</inkml:trace>
  <inkml:trace contextRef="#ctx0" brushRef="#br0" timeOffset="189476.64">23363 5199 0,'0'-13'16,"0"26"-16,0 0 31,0 1-31</inkml:trace>
  <inkml:trace contextRef="#ctx0" brushRef="#br0" timeOffset="189595.63">23389 5450 0,'0'14'16,"0"-1"-16,-13 13 15</inkml:trace>
  <inkml:trace contextRef="#ctx0" brushRef="#br0" timeOffset="189730.7">23349 5715 0,'0'0'0,"14"0"16,-1 0 15</inkml:trace>
  <inkml:trace contextRef="#ctx0" brushRef="#br0" timeOffset="190827.62">22490 6152 0,'-14'39'0,"14"-26"16,14 1-16,-14-1 0,0 0 16,0 0-16</inkml:trace>
  <inkml:trace contextRef="#ctx0" brushRef="#br0" timeOffset="191375.63">22516 6046 0,'-13'26'31,"0"-13"-31,13 1 0,-14-1 16,14 13-16,-13-12 0,0 52 15,13 13 1,13-66-1,-13 1-15,13-1 0,-13 0 0,14-13 16,-1 13-16,0-13 0,-13 13 16,13-13-16,0 0 15,1-13-15,-28 0 32,1 0-32,-13 13 15,26-13 1,-13 13-16,-14-14 15,14 14-15</inkml:trace>
  <inkml:trace contextRef="#ctx0" brushRef="#br0" timeOffset="191596.94">22569 5927 0,'40'0'16,"-80"0"-16,93 13 15,-40-13-15,0 13 0,1 0 16,-1 14-16,0-14 0,0 13 16,-13 1-16,13-1 0,-13 1 0,0-1 15,14 1-15,-14-1 0,0 1 0,0-14 16,0 13-16,0 1 0,0-14 16,0 0-16,0 1 0,0-1 15,0 0-15,0 0 0</inkml:trace>
  <inkml:trace contextRef="#ctx0" brushRef="#br0" timeOffset="191812.42">23336 6099 0,'0'-14'16,"-13"41"15,13-14-15</inkml:trace>
  <inkml:trace contextRef="#ctx0" brushRef="#br0" timeOffset="191954.53">23349 6284 0,'14'13'16,"-28"0"31,14 1-31,0-1-16</inkml:trace>
  <inkml:trace contextRef="#ctx0" brushRef="#br0" timeOffset="192063.6">23349 6469 0,'0'13'0,"0"1"31</inkml:trace>
  <inkml:trace contextRef="#ctx0" brushRef="#br0" timeOffset="194032.19">7091 2831 0,'-13'-40'0,"13"27"0,0 0 16,0 0-16,-14-1 16,14 1-16,-13 0 0,0 13 0,13-26 15,-27 12-15,14 1 0,0 0 0,-27 0 16,14-1-16,-1-12 0,-12 13 16,12 13-16,-12-14 0,-1 1 0,0 0 15,-13 13-15,14 0 0,-14-13 16,13 13-16,-13 13 0,13-13 0,-13 0 15,1 13-15,12 0 0,-53 14 16,40-1-16,14-12 0,-1 12 16,0 1-16,1-1 0,12 0 15,1 1-15,-1 13 0,1-1 0,-1 1 16,14 0-16,0-1 0,0 1 16,-1 0-16,14 13 0,0-14 0,0 14 15,27 66-15,-14-66 16,14 0-16,-1-13 0,14 13 0,-14-14 15,14 14-15,-1-13 0,14-14 16,0 14-16,0-13 0,0-1 0,13-13 0,-13 14 16,13-27-16,-13 13 15,0-13-15,0 0 0,79-13 16,-65 0-16,-1-1 0,0 1 0,-13-13 16,13-1-16,-13 14 0,13-14 15,-26-12-15,13 12 0,26-26 16,-53 27-16,1-1 0,-1 1 0,1 0 15,-14-1-15,0 1 0,0-1 16,1 1-16,-14-1 0,0 1 0,0-1 16,0-12-16,0-14 0,0 13 15,-27-66-15,14 53 0,-13 0 16,-1 14-16,1-1 0,-14 0 16,-13 14-16,-53-27 0,53 27 15,0 12-15,0 14 0,-52-13 16,52 13-16,0 13 0,-13 1 15,0-1-15,13 0 0,-14 13 0,15-12 16,-1 12-16,13-13 16,0 14-16</inkml:trace>
  <inkml:trace contextRef="#ctx0" brushRef="#br0" timeOffset="198539.97">8903 2315 0,'-13'27'32,"13"-1"-32,13-13 0,-13 53 15,0-13-15,0-13 0,0 13 16,0 0-16,0 13 0,0 0 0,0 0 16,0 106-1,0-132-15,0 13 0,0 0 0,0-14 16,0 14-16,0-13 0,0 0 15,0 13-15,0-27 0,0-13 16,0 14-16,0-14 0,0 0 0</inkml:trace>
  <inkml:trace contextRef="#ctx0" brushRef="#br0" timeOffset="200660.03">8744 2540 0,'27'0'16,"-14"0"-16,0-13 15,14 13-15,-14 0 0,0 0 0,14-13 0,-1 13 16,1-14-16,-1 14 0,1-13 16,12 0-16,14 0 0,-13-1 15,0 1-15,13 0 0,-1 0 0,15-1 16,-15 1-16,1-13 0,14 13 15,-15-14-15,81-13 0,-67 27 16,0 0-16,0-14 0,0 14 0,0 0 16,54-27-16,-68 27 15,1 0-15,14 13 0,-15-13 0,15-1 16,-14 1-16,-1 0 0,15 0 16,-15 0-16,15-1 0,-1 1 15,-13 0-15,13-14 0,66 1 0,-66 13 16,0-1-16,1-12 0,-1 13 15,0 0-15,-13 13 0,0-14 16,0 1-16,0 13 0,-1-13 0,1 0 16,0 13-16,0-14 0,0 14 0,0 0 15,13-13-15,0 0 0,0 13 16,1-13-16,65-1 0,-53 1 16,-13 0-16,1 13 0,-1-13 15,13 13-15,-26 0 0,0 0 0,13-13 16,-13 13-16,13 0 0,0 0 0,0-14 15,1 14-15,-1 0 16,0 0-16,-13-13 0,13 13 0,-13 0 16,0 0-16,53-13 0,-40 13 15,-27 0-15,14 0 0,53 0 16,-66 0-16,0 0 0,-14 0 16,14 0-16,-14 0 0,14 0 0,0 0 15,-14 0-15,14 0 0,-14 0 16,14 0-16,-14 13 0,14-13 0,-14 0 15,41 0-15,-28 0 0,-12 0 16,-1 13-16,14-13 0,-14 0 16,1 0-16,-1 0 0,1 0 15,-1 14-15,1-14 0,-1 0 0,-13 0 16,14 0-16,-14 0 0,27 0 16,-14 0-16,-13 0 0,1 0 15,-1 13-15,0-13 16,0 0-16,0 0 15,1 0-15,-1 0 16,0 13 0,0 0-1,-13 0-15,14 1 16,-14-1-16,0 0 16,0 14-16,13-14 0,-13 13 0,0 1 15,0 52-15,0-52 16,0-1-16,13 14 0,-13-1 15,0 1-15,0-13 0,0 39 0,0-27 16,0-12-16,0 13 0,0-14 16,0 14-16,0-14 0,0 1 15,0 12-15,0 14 16,0-26-16,0-1 0,0 1 0,13-1 16,-13-13-16,0 14 0,0-14 15,0 13-15,14 1 0,-14-1 0,13-12 16,-13-1-16,0 0 0,13 14 15,-13-14-15,13 13 0,-13-13 16,13 1-16,-13-1 16,0 0-16,14 0 15,-14 1-15,0-1 16,0 0 0,0 0-1,-14 0 1,1-13-16,0 0 15,0 14-15,0-14 16,-1 0-16,1 0 16,0 0-16,-40 13 0,26-13 15,1 0-15,-14 13 0,1-13 0,-14 13 16,0-13-16,0 14 0,0-14 16,-40 13-16,40 0 0,1-13 15,-1 13-15,-53 1 16,53-1-16,0-13 0,0 13 0,0-13 15,13 13-15,1-13 0,-14 13 16,13-13-16,0 0 0,-12 14 16,12-14-16,-13 13 0,-66 0 0,53 0 15,-67 14-15,1-14 16,66 0-16,-13-13 16,-67 27-16,67-14 0,13-13 15,-1 13-15,1 0 0,0 1 16,0-1-16,-66 0 0,66 0 15,-53 14-15,52-14 0,28 0 16,-27 0-16,13 1 0,-14-1 16,-25 13-16,39-12 15,13-1-15,-13-13 0,0 13 0,14 0 0,-14 1 16,0-14-16,13 13 16,-13 0-16,14 0 0,-14-13 0,13 13 0,-13 1 15,13-1-15,1-13 0,-1 13 16,-13 0-16,-26 14 0,39-27 15,-26 26-15,13-12 16,13-14-16,14 0 0,-1 13 16,1-13-16,-1 13 0,1-13 15,0 13-15,-1-13 0,-39 13 16,40-13-16,-1 14 0,1-14 16,-1 0-16,-39 13 0,26 0 15,-52 0-15,39-13 16,-27 14-16,41-14 0,-41 13 15,54-13-15,-14 13 0,14-13 16,-14 0-16,14 0 0,-14 0 16,13 13-16,-39-13 15,27 0-15,12 0 0,1 0 0,-1 0 0,1 0 16,-1 0-16,1-13 0,-1 13 16,14 0-16,-13 0 0,-1 0 15,14 0-15,0 0 0,0 0 0,-1-13 16,-12 13-16,13 0 0,-1 0 0,1 0 15,0 0-15,0 0 16,-14 0-16,1 0 16,13 0-16,-1 0 15,1 0-15,0 0 0,0-13 16,-1 13-16,1-14 0,13 1 16,-13 0-16,13 0 0,-13-1 15,13-12-15,-13 0 0,13-1 16,-14 14-16,14-14 0,-13 1 15,13 13-15,-13-14 0,13 1 16,0-1-16,-13 14 0,13-13 0,0 12 16,0-12-16,0 13 0</inkml:trace>
  <inkml:trace contextRef="#ctx0" brushRef="#br0" timeOffset="201900.02">9353 4128 0,'-13'-14'16,"0"28"-1,-1-14-15,1 13 16,0 0-16,-40 0 15,0 27-15,13-14 0,14 1 16,-67 26-16,54-14 16,-54 14-16,40-13 0,0-14 15,0 14-15,0-13 0,0 12 16,-66 27-16,66-39 0,-13 13 16,13-14-16,-79 40 0,66-39 15,0 12-15,0-12 0,0-1 16,-1 1-16,-78 26 0,-1 0 15,67-40-15,0 13 16,-1-13-16,1 1 0,-1-1 16,-65 13-16,66-12 0,-1-14 0,14 13 15,-13-13-15,-14 0 0,14 13 0,-1-13 16,1 0-16,0 0 16,-1-13-16,1 13 0,13-13 0,-1-1 0,1 1 15,-106-53-15,119 40 16,1-1-16,12 1 15,-53-41-15,27 15 16,26 25-16,14 1 0,0-14 0,-14 13 16,13 1-16,1 0 0,-1-1 15,-25-26-15,38 27 0,-12-14 16,-1 14-16,14-1 0,-13 1 16,12-1-16,-12 14 0,13-13 15,0 12-15,-1 1 0,-12-27 16,13 1-16,-1 25 0,1-12 15,0 13-15,0 0 0,-14-27 16,14 27-16,0-14 0,0 14 0,-1-13 16,1 12-16,0-12 15,0 13-15,-1-14 0,-12 1 16,13 12-16,-1 1 0,1 0 16,0 0-16,13 0 15,-13 13-15,0-14 0,13 1 16,0 0-1,0 0 1,13-1-16</inkml:trace>
  <inkml:trace contextRef="#ctx0" brushRef="#br0" timeOffset="202500.74">4723 3903 0,'-53'158'0,"53"-131"0,0-1 16,-13 1-16,13 12 0,-14-12 15,14-1-15,0 1 0,-13-1 0,13 1 16,0-1-16,-13 1 0,13-14 16,0 13-16,-13-12 0,13 12 0,0-13 15,-13 14-15,13-14 0,0 0 16,-14 0-16,14 1 15,0-1 1,14-53 15,-14 27-31,0 0 0,26-106 32,-26 66-32,0 13 15,13 14-15,-13-14 0,0 13 0,0 1 16,0 0-16,0-1 0,0 1 0,13 12 15,-13-12-15,0 13 0,14-14 16,-14 14-16,0 0 16,13 0-16,0-1 0,0 14 15,1 0-15,-1 0 16,0 0-16,13 14 0,-12-1 16,12-13-16,-13 13 0,14 0 0,-1 0 15,14 1-15,13-1 16,-27 0-16,27 0 0,-39-13 15,-1 14-15</inkml:trace>
  <inkml:trace contextRef="#ctx0" brushRef="#br0" timeOffset="206754.83">7422 5424 0,'0'26'0,"0"-12"16,0-1-16,-14 0 0,14 0 16,0 14-16,0-14 0,-13 13 0,13-12 15,-13 12-15,13-13 0,0 14 16,-13-14-16,13 0 0,0 14 15,-14-14-15,14 0 0,0 0 0,0 1 16,-13-1-16,13 0 16,0 0-16,13 14 15,1-27-15,-1 0 16,0 0-16,0 0 16,1 0-16,-1 0 0,0 0 0,0 0 15,0-13-15,14 13 0,-14 0 16,0-14-16,1 14 0,-1-13 15,0 13-15,0-13 0,1 13 0</inkml:trace>
  <inkml:trace contextRef="#ctx0" brushRef="#br0" timeOffset="206957.75">7474 5675 0,'27'-13'32,"-27"0"-32,26 0 15,-12 13-15,-1 0 0,0-14 16,0 14-16,-13-13 0,14 13 16</inkml:trace>
  <inkml:trace contextRef="#ctx0" brushRef="#br0" timeOffset="207143.65">7369 5503 0,'-14'-13'0,"41"13"31,-14 0-31,0 0 0,1 0 0,-1 0 15,0 0-15,0 0 0,14 0 16,-14 0-16,0-13 0</inkml:trace>
  <inkml:trace contextRef="#ctx0" brushRef="#br0" timeOffset="207318.99">7805 5437 0,'13'27'16,"-26"-1"-1,13-13-15,0 1 0,-13-1 16,13 0-16,-13 13 16,13-12-16,-13 12 0,13-13 15,-14 14-15,14-14 0,-13 0 0,13 1 0,-13-1 16,13 0-16</inkml:trace>
  <inkml:trace contextRef="#ctx0" brushRef="#br0" timeOffset="207535.15">7646 5609 0,'0'0'16,"14"0"0,25 13 15,-12 1-31,-27-1 0,13-13 15,0 13-15,14-13 0,-14 0 16,0 13-16,14-13 0,-1 0 16,-13 0-16</inkml:trace>
  <inkml:trace contextRef="#ctx0" brushRef="#br0" timeOffset="208043.51">8017 5252 0,'-13'26'31,"13"27"-15,0-26-16,13-14 0,-13 14 0,0-14 16,0 13-16,13-13 0,-13 14 0,0-14 15,0 0-15,0 1 0,13-1 16,-13 0-16,0 0 15,27-26 1,-14-13 0,0 26-16,-13-14 0,13 1 15,1 13-15,-1-13 0,0 0 16,14 13-16,-14-14 16,0 14-16,0 14 0,1-14 15,-1 13-15,0 0 16,-13 0-16,13 1 15,-13-1-15,13 0 0,-13 0 16,14-13-16,-14 13 16,13-13-16</inkml:trace>
  <inkml:trace contextRef="#ctx0" brushRef="#br0" timeOffset="208435.07">8480 5358 0,'-13'-13'0,"-14"26"0,14-13 16,13 13-16,-13-13 0,13 13 0,-13 1 0,-1-14 15,14 13-15,0 0 16,-13 0-16,13 0 0,0 1 15,13-14-15,-13 13 16,14-13-16,-1 0 16,0 0-16,-13-13 15,13 13-15,-13-14 0,13 1 16,1 0-16,-14 0 16,13 13-1,0 0 16,-13 13-31,13 0 16,1 0 0,-1-13-16,0 14 15,0-14-15</inkml:trace>
  <inkml:trace contextRef="#ctx0" brushRef="#br0" timeOffset="208786.9">8639 5331 0,'-14'27'47,"14"-1"-32,0-12-15,14-1 16,-14 0-16,13-13 0,0 0 16,0 0-1,1 0 1,-1-13-16,0 13 0,-13-13 16,13-1-1,-13 1-15,0 0 16,0 0-16,13-1 15,-13 1 17</inkml:trace>
  <inkml:trace contextRef="#ctx0" brushRef="#br0" timeOffset="210792.95">9075 5239 0,'0'-13'0,"-26"13"32,13 13-17,-1-13-15,1 13 0,0-13 16,0 13-16,-1-13 0,14 13 16,-13-13-16,0 14 0,0-1 15,26 0 16,0 0-15,0-13 0,1 14-16,-1-14 15,-13 13-15,13-13 0,-13 13 32,-13 14-17,13-14-15,-13-13 0,13 13 16,-14-13-16,1 13 0,0-13 15,0 13-15,-14 1 0,14-14 16,0 0 15</inkml:trace>
  <inkml:trace contextRef="#ctx0" brushRef="#br0" timeOffset="211052.04">9141 5054 0,'0'-14'16,"14"28"15,-14-1-31,13 0 16,-13 0-16,0 0 0,13 1 15,-13 39-15,13-27 0,-13-13 16,0 14-16,0 12 0,14-12 15,-14-14-15,0 0 0,0 14 16,13-14-16,-13 0 0,13 1 16,-13-1-16,13 0 15</inkml:trace>
  <inkml:trace contextRef="#ctx0" brushRef="#br0" timeOffset="211398.76">9115 5371 0,'0'-13'15,"13"0"1,27-1 0,-27 14-16,14-13 15,-14 13-15,26-13 16,-25 13-16,-1 0 0,0-13 15,0 13-15,1-14 16,-1 14-16,0 0 16,0 0-1,0 0 1,1 14 0,-14-1-16,13 13 31,0 1-16,-13-14 1</inkml:trace>
  <inkml:trace contextRef="#ctx0" brushRef="#br0" timeOffset="211555.62">9446 5186 0,'-14'-27'16,"28"54"0</inkml:trace>
  <inkml:trace contextRef="#ctx0" brushRef="#br0" timeOffset="212176.59">9499 5226 0,'26'13'32,"-13"0"-17,-13 0-15,13 0 16,1-13-16,-1 14 15,-13-1-15,13 0 0,0 0 16,1-13 15,-14-13-15,13 13-16,-13-13 16,13 0-1,-13-1-15,13 1 16,14 0 15,-14 0-31,0 13 0,-13-13 16,27-1-16,-14 1 15,0-13-15,0 12 16,-39 41 46,39-14-46,0-13-16,14 0 16,-14 0-1,0 0-15</inkml:trace>
  <inkml:trace contextRef="#ctx0" brushRef="#br0" timeOffset="212595.79">8136 5927 0,'40'-27'0,"-27"14"0,13 13 15,14-26-15,53-1 16,-40 1-16,13-1 0,53-13 15,13 1-15,-66 12 0,-13 1 16,13 13-16,53-27 16,-26 13-16,-53 14 0,13 0 15,-14 0 1,-12 13-16,-14 0 0,0 0 16</inkml:trace>
  <inkml:trace contextRef="#ctx0" brushRef="#br0" timeOffset="212882.81">8546 5993 0,'93'-40'0,"-54"27"0,1 13 16,0-27-16,-1 14 0,14 0 0,0-13 16,0 12-16,13-12 0,-26 13 15,13-1-15,-13-12 0,-1 13 16,67-27-16,-79 27 0,-1 0 16,0 13-16,-12-14 15,-1 14-15,13-13 0,-26 0 0,27 13 16,-27-13-16,13 13 15</inkml:trace>
  <inkml:trace contextRef="#ctx0" brushRef="#br0" timeOffset="-213565.25">10821 5014 0,'0'-13'0,"27"13"16,-14 0 0,0 0-16,14 0 0,-14-14 0,27 14 15,-14 0-15,1 0 0,-1 0 0,14-13 16,-14 13-16,1 0 0,12 0 15,-12 0-15,-1-13 0,14 13 16,-14 0-16,-12 0 0,-1 0 0,0 0 16,0 0-16,1 0 0,-1 0 15</inkml:trace>
  <inkml:trace contextRef="#ctx0" brushRef="#br0" timeOffset="-213293.9">11245 4829 0,'39'26'0,"1"1"16,-13-14-16,-1 0 15,-13 13-15,1-12 16,-1-1-16,0 0 0,0 0 0,-13 1 16,13-1-16,-13 13 0,0-12 0,0-1 15,0 0-15,0 0 0,0 0 16,-13 1-16,0 12 0,0-13 0,0 1 16,13-1-16</inkml:trace>
  <inkml:trace contextRef="#ctx0" brushRef="#br0" timeOffset="-211349.74">11880 4921 0,'0'-13'16,"0"0"0,0 39-1,-13 27 1,13-40-16,0 14 0,0-1 16,0 1-16,0-1 0,-14 1 15,14-1-15,0 1 0,0-14 0,0 13 16,0-12-16,0-1 0,0 13 15,0-13-15,0 1 16,0-1-16</inkml:trace>
  <inkml:trace contextRef="#ctx0" brushRef="#br0" timeOffset="-210993.82">11853 4868 0,'40'-26'0,"-27"26"0,0 0 16,1 0-16,-1 0 16,-13 13-16,13 0 0,0 1 15,-13-1-15,0 0 0,0 0 0,0 0 16,0 1-16,-13 12 0,13-13 16,-13 14-16,0-14 0,-1 0 15,1 1-15,0 12 0,13-13 0,-13 0 16,0-13-16,13 14 0,-14-14 0,14 13 15</inkml:trace>
  <inkml:trace contextRef="#ctx0" brushRef="#br0" timeOffset="-210654.17">12052 4961 0,'-13'40'31,"13"-27"-31,0 0 16,0 0-16,0 1 0,0-1 0,0 0 15,0 0-15,13 0 0,-13 1 16,0-1-16,13 0 0,-13 0 0,13-13 16,0 14-16,1-14 0,-1 0 15,0 0-15,0 0 0,1-14 16,-1 14-16,-13-13 0,13 13 15,-13-13-15,13 0 0,-13-1 0,14 1 16,-28 0-16,14 0 16,0 0-16,-13-1 0,0 1 15,0 0-15,-1 13 0,1 0 16,-13-13-16,12 13 16,1 0-16,0 0 15</inkml:trace>
  <inkml:trace contextRef="#ctx0" brushRef="#br0" timeOffset="-210220.19">12158 4842 0,'0'-13'16,"13"26"-1,-13 0-15,13 0 0,-13 1 16,0 12-16,13-13 0,-13 14 15,14-1-15,-14 14 0,0-14 16,13 40-16,-13-39 0,0 13 0,0-14 16,0 1-16,0-1 0,0 0 15,0 1-15,0-14 0,0 0 0,0 14 16,0-14-16,0 0 0,0 1 16,13-54 15,-13 13-16,13-65 1,0 52-16,1 0 0,-14 14 0,0-1 16,13 14-16,0-26 0,-13 25 15,0 1-15,13 13 0,-13-13 16,14 13-16,-1 0 16,-13 13-1,-13 40 1,13-40-16,0 0 0,-14 1 15,1-1-15,13 0 0,-13-13 16,13 13-16,-13 1 0</inkml:trace>
  <inkml:trace contextRef="#ctx0" brushRef="#br0" timeOffset="-209437.31">12449 4987 0,'0'-13'0,"0"40"31,13-14-15,0 0-16,0 0 15,1 1 1,-1-14-16,0-14 16,0 14-1,0-13-15,1 0 16,-14 0-1,13 13 1,-13 13 0,13 13-1,-13-12-15,0-1 16,13 0-16,1 0 0,-1 0 16,0-13-16,0 0 15,1 0-15,-1 0 16,0 0-16,-13-13 0,13 0 0,0 0 15,1-14-15,-1 1 16,-13-1-16,13 1 0,-13 13 16,0-14-16,0 1 0,13-27 15,-13 26-15,0 14 0,0-13 0,0 12 16,0 1-16,0 0 16,0 53-1,0-27 1,0 13-16,0-12 15,0 12-15,0 1 0,0-1 0,14-13 16,-14 27-16,0-14 16,13-12-16,-13-1 0,0 0 0,13 0 15,-13 1-15,13-1 0,1-13 0</inkml:trace>
  <inkml:trace contextRef="#ctx0" brushRef="#br0" timeOffset="-208906.26">13123 4948 0,'-26'-14'0,"13"14"16,-1 0-16,1 0 16,0 0-16,0 14 0,0-14 15,-1 13-15,1-13 0,0 13 16,0 0-16,-1 1 0,14-1 15,-13-13-15,13 13 0,0 0 16,0 1 0,13-14-1,1 0-15,-1 0 16,0 0 0,0 0-1,-13 13-15,14-13 16,-1 0-16,0-13 15,0 13-15,0-14 0,1 14 16,-1-13-16,0 0 0,0 13 16,1-13-16,12-14 0,-13 1 15,0 12-15,14-25 0,-27 12 16,13 14-16,0-40 16,1 40-16,-14 0 15,0-1-15,13 14 0,-13-13 0,13 26 31,-13 1-15,0 12-16,0-13 0,0 1 16,0-1-16,0 0 0,0 0 15,0 14-15,0-14 0,13 0 0,-13 0 0,0 1 16,14-1-16,-14 0 16,0 0-16</inkml:trace>
  <inkml:trace contextRef="#ctx0" brushRef="#br0" timeOffset="-208717.18">13123 4882 0,'27'-14'31,"12"1"-15,-25 13-1,12 0-15,-13-13 0,1 13 0,-1 0 16,0 0-16,0 0 0,1 0 16,-1-13-16</inkml:trace>
  <inkml:trace contextRef="#ctx0" brushRef="#br0" timeOffset="-208552.18">13507 4802 0,'13'0'0,"0"13"31,-13 1-31,0-1 16,0 0-16,0 0 0,0 1 16,0-1-16,0 0 0,0 0 15,0 0-15,-13 1 16</inkml:trace>
  <inkml:trace contextRef="#ctx0" brushRef="#br0" timeOffset="-208415.75">13533 4696 0</inkml:trace>
  <inkml:trace contextRef="#ctx0" brushRef="#br0" timeOffset="-207782.43">13705 4762 0,'-13'14'16,"0"12"0,0-13-16,13 1 15,-14-1-15,14 0 0,0 0 16,0 1-16,0-1 0,14-13 15,-1 13-15,13-13 16,1-13 0,-14 13-1,0-13-15,-13-1 0,14 14 0,-14-13 16,0 0-16,13 0 0,-13-1 16,-13 1-16,13 0 15,0 0 1,-14-1-16,14 1 15,14 40 32,-1-27-47,-13 13 16,26 0 0,-13-13-16,-13 13 0,14-13 15,-14 14-15,13-1 16,0-13-16,-13 13 15,13-13 1,1 13 0,-1-13-1,0 0-15,0 0 0,1 0 16,-1 0 0,0 0-1</inkml:trace>
  <inkml:trace contextRef="#ctx0" brushRef="#br0" timeOffset="-207369.8">14446 4842 0,'0'-13'0,"0"26"0,13-26 31,1 13-31,-1 0 0,0 0 0,0-14 16,27 14-16,-27 0 0,14 0 16,-14 0-16,13 0 0,1-13 15,-14 13-15,14 0 0,-14 0 16,13-13-16,-12 13 15</inkml:trace>
  <inkml:trace contextRef="#ctx0" brushRef="#br0" timeOffset="-207086.24">14631 4657 0,'14'0'16,"12"0"-16,-13 13 0,1-13 0,-1 13 15,0-13-15,14 13 0,-14 1 16,0-1-16,13 0 0,-12 0 0,-1 0 16,0 1-16,0 12 15,-13 1-15,14-14 0,-14 0 16,0 0-16,-14 1 0,14-1 0,0 0 15,0 0-15,0 0 0,-13-13 0,13 14 16,0-1-16,-13 0 16</inkml:trace>
  <inkml:trace contextRef="#ctx0" brushRef="#br0" timeOffset="-206555.27">15147 4485 0,'0'26'31,"0"-13"-31,0 1 0,14 12 0,-14-13 16,0 27-16,0-14 15,0 27-15,0-26 0,0-14 16,0 13-16,-14-12 0,14-1 15,0 0-15,0 0 0,0 1 0,0-1 16,0 0-16,27-26 31,-14-14-15,0 27 0,1-13-16,-1 13 0,0-13 0,0 13 15,0-13-15,14 13 16,-14 0-16,0 0 15,1 13-15,-1-13 0,-13 13 16,13-13-16,-13 13 0,13-13 16,-13 14-16,14-1 15,-1 0-15,0-13 16</inkml:trace>
  <inkml:trace contextRef="#ctx0" brushRef="#br0" timeOffset="-206046.65">15624 4657 0,'-14'-14'15,"1"1"-15,0 13 16,-13 0-1,-1 27 1,14-14 0,0 0-16,13 0 0,0 1 15,-14-14-15,14 13 0,0 0 0,0 0 16,14 0 0,-14 1-16,13-1 0,0-13 15,0 13-15,1-13 16,-1-13-16,0 13 15,0-13-15,0 13 16,-13-14-16,14 1 0,-14 0 16,13 0-16,0 0 15,-13-1-15,13 14 16,-13-13-16,14 13 16,-1 13-1,0-13-15,-13 14 16,13-14-16,-13 13 15,13-13-15,-13 13 16,14 0-16,-14 0 31,13-13-15,0 14 0</inkml:trace>
  <inkml:trace contextRef="#ctx0" brushRef="#br0" timeOffset="-205694.97">15888 4630 0,'0'-13'16,"27"39"15,-14-26-31,0 27 0,-13-14 16,0 0-16,0 1 0,13-1 15,-13 0-15,0 27 16,0-27-16,0 0 16,14-13-16,-14 13 15,0-39 16,13-1 1,0 14-32,0 0 15,-13 0-15</inkml:trace>
  <inkml:trace contextRef="#ctx0" brushRef="#br0" timeOffset="-205312.08">16285 4379 0,'13'-13'16,"-26"39"0,13-13-16,-13 1 15,26-54-15,-26 106 0,0-26 16,13-27-16,0 13 0,0-12 16,0 12-16,0 1 0,0 12 15,0-26-15,13 1 16,-13-1-16,13 0 0,-13 0 15,13-13-15,1 14 16,-41-14 31,14 0-47,-14 13 16,14 0-16,0-13 15,13 13-15,-13-13 0,13 13 16,-14 1-16,14-1 15,14-13-15,-14 13 16,13-13-16,0 0 16,0 0-16,1 0 15,-1-13-15,0 13 16</inkml:trace>
  <inkml:trace contextRef="#ctx0" brushRef="#br0" timeOffset="-204012.26">15319 5159 0,'53'-26'15,"-39"13"-15,12 13 16,0-14-16,1 14 0,13-13 0,-14 0 16,53 0-16,-26 0 15,-13 13-15,0-14 0,-1 14 0,-12 0 16,39-13-16,-40 13 16,1-13-16,-1 13 0,1 0 0,-1 0 0,-12 0 15,-1 0-15,0 0 16</inkml:trace>
  <inkml:trace contextRef="#ctx0" brushRef="#br0" timeOffset="-203732.96">15346 5252 0,'92'-13'15,"-52"13"-15,0-13 16,0-1-16,52 1 0,-39 13 16,-13-13-16,-1 13 0,14-13 15,-13 13-15,26-14 16,-39 1-16,12 13 0,-12 0 0,-14-13 16,0 13-16,0 0 0,1 0 15,-1 0-15,13-13 0,-12 13 16,-1 0-1,0-14-15</inkml:trace>
  <inkml:trace contextRef="#ctx0" brushRef="#br0" timeOffset="-195159.71">2540 8506 0,'-13'-26'16,"0"26"0,-1 0-16,1 0 15,0 0-15,0 0 0,-1 0 0,1 0 0,0 13 16,0-13-16,-1 13 16,1-13-16,0 14 0,0-14 15,0 13-15,-1-13 0,1 13 0,0 0 16,0 0-1,13 1-15,0-1 16,13 0-16,-13 0 16,13-13-16,0 14 0,14-1 15,-14 0-15,0-13 0,0 13 0,1 1 16,-1-14-16,0 13 0,0 0 16,1 0-16,-1 0 15,-13 1-15,0-1 0,-13 0 16,-1 0-16,-12 14 15,13-14-15,-14 0 0,14 1 16,-40 12-16,27-26 0,-1 13 16,1-13-16,-1 13 0,1-13 15,13 0-15,-14 0 0,14 14 0,0-14 16,-1 0-16,1 0 0,0 0 16</inkml:trace>
  <inkml:trace contextRef="#ctx0" brushRef="#br0" timeOffset="-192377.07">21484 1508 0,'-40'-13'0,"14"0"15,13 13-15,0 0 16,-14 0-16,14 13 0,-14-13 0,1 0 16,-27 26-16,-13 14 15,39-27-15,1 14 0,0-14 0,-1 13 16,14 1-16,-14-1 0,1 40 15,13-52-15,13 12 0,0 1 16,-14-1-16,14 1 0,0-1 16,0 0-16,0 1 0,0-1 0,0 14 15,14 0-15,-1 26 0,0 13 16,0-26-16,-13-13 16,14 26-16,-1-13 0,0 13 15,-13-13-15,13 13 0,-13 0 0,14-13 0,-14 13 16,-14 1-16,14-15 0,-13 15 15,0-15-15,-53 107 16,-14-79-16,41-27 16,-14-14-16,-53 14 0,53-26 15,0-1-15,-66 14 16,53-40 0,13 0-16,40 0 0,-1 0 15,-12-14-15,13 14 16,13-13-16,0-13 0,13 13 15,0 13-15,27-14 16,-14 14-16,1 0 16,-14 0-16,14 0 0,39 27 15,-40-1-15,1-13 0,-1 14 16,14 39-16,-27-39 16,13 12-16,-12 1 0,-14 0 0,13-1 0,-13 14 15,13 40-15,-26-40 16,13 13-16,0 0 0,-13-13 15,-1 13-15,1-13 0,0 66 0,-13 0 16,26-66-16,0-13 16,-14 13-16,14 39 0,14 1 15,-1-27-15,0-13 16,-13 0-16,13 13 0,0-13 16,40 185-16,-39-185 15,-1 13-15,0-13 16,0 0-16,14 53 0,-14-40 15,-13-26-15,13-1 0,0 1 0,27 39 16,53 40 0,-14-52-16,0-1 15,-26-40-15,0 14 16,53 13-16,-53-14 0,40 14 16,12 0-16,-65-26 15,13-14-15,-13 13 0,-1-12 16,41-1-16</inkml:trace>
  <inkml:trace contextRef="#ctx0" brushRef="#br0" timeOffset="-187779.82">2699 8652 0,'-80'40'15,"80"-27"-15,-13 0 0,0-13 0,13 13 16,-13 14-16,13-14 15,0 0-15,-14 0 0,28 1 16,-14-1-16,13 0 16,0-26-1,0 13-15,-13-13 16,14-1-16,-1 1 0,0 0 16,-13 0-1,13-1-15,-13 1 16,0 0-16,14 13 15,-14 13 1,13 0-16,-13 1 16,0-1-1,0 0-15,13 0 16,-13 14-16,0-14 0,13-13 16,-13 13-16,13-13 0</inkml:trace>
  <inkml:trace contextRef="#ctx0" brushRef="#br0" timeOffset="-187271.17">2818 8705 0,'0'-13'0,"0"39"31,13-13-31,-13 0 16,0 14-1,0-14 1,0 0 0,13-13-16,1-13 31,-1 13-16,0 0 1,0 0 0,0 0-1,1 13-15,-1 1 16,0-1 15,0-26 0,1 13-15,-1 0 0,0 0-1,0 13 1,0-13-16,1 0 0,-1 0 16,0 0-1</inkml:trace>
  <inkml:trace contextRef="#ctx0" brushRef="#br0" timeOffset="-186849.9">3149 8586 0,'0'-40'15,"0"80"-15,0-27 16,0 0-16,0 14 0,-14 39 15,1 13-15,13-26 16,0-13-16,-13-1 0,13 1 16,-13 0-16,13-14 0,0 1 15,0-14-15,0 13 0,0-12 0,0-1 16,0 0-16,0 0 0,0 1 16,0-41 15,13 1-31,-13 12 0,13-12 0,0-14 15,14-13-15,-14 27 16,0-1-16,0 14 0,14-13 16,-1 13-16,-12 13 15,-1 13 1,-13 0-16,0 0 16,0 0-16,-13 14 15,13-14-15,-14 0 16,14 14-16,-13-27 0,13 13 15</inkml:trace>
  <inkml:trace contextRef="#ctx0" brushRef="#br0" timeOffset="-186588.15">3453 8572 0,'0'-13'16,"13"13"-16,-13 27 15,0-14 1,-13 53 0,0-53-16,13 14 0,-14 12 15,14-25-15,-13-1 16,13 0-16,0 14 0,-13-14 0,13 27 31,0-27-31,0 0 16</inkml:trace>
  <inkml:trace contextRef="#ctx0" brushRef="#br0" timeOffset="-186318.02">3532 8916 0,'27'-26'16,"-14"0"-16,0 26 0,0-40 31,-13 27-31,0-1 0,-79 147 16,158-279-16,-145 278 0,132-277 16,-92 171-1,13-26-15,13 14 16,-14-1-16,1 0 0,13 0 15,-13 14-15,13-14 16,13 0-16,-13 0 16,13 1-16,1-14 15,-1 0-15</inkml:trace>
  <inkml:trace contextRef="#ctx0" brushRef="#br0" timeOffset="-185898.51">3863 8572 0,'0'-13'16,"26"26"-1,-12 1 1,-14-1-16,13 13 0,-13-12 0,0-1 16,0 13-16,0-12 0,0-1 15,0 26-15,-13 1 16,13-27-16,0 14 0,-14-14 16,14 14-16,0 12 0,-13-26 15,13 1-15</inkml:trace>
  <inkml:trace contextRef="#ctx0" brushRef="#br0" timeOffset="-185753.23">3876 9128 0,'0'0'63</inkml:trace>
  <inkml:trace contextRef="#ctx0" brushRef="#br0" timeOffset="-179553.78">4617 8758 0</inkml:trace>
  <inkml:trace contextRef="#ctx0" brushRef="#br0" timeOffset="-178526.13">4511 8744 0,'-26'-13'0,"52"0"32,-13 13-32,27 0 15,-27-13-15,40 13 0,-26 0 16,65-13-1,-12-1-15,-54 14 0,14 0 16,-27 0-16,13 0 0,1-13 16,-14 13-16,0 0 0,27 0 15,-27 0-15,1 0 16,-1 0-16,0 0 16</inkml:trace>
  <inkml:trace contextRef="#ctx0" brushRef="#br0" timeOffset="-178194.33">4921 8480 0,'53'26'31,"-26"-12"-31,-14-14 16,0 13-16,14-13 0,-14 13 0,13 0 16,1-13-16,-1 27 0,1-14 15,-14 0-15,0 0 0,0 1 16,1 12-16,-14-13 15,-14 27-15,14-27 0,-13 0 0,0 14 16,0-14-16,-1 14 16,1-14-16,-27 27 0,14-14 0,13-13 15,-14 0-15</inkml:trace>
  <inkml:trace contextRef="#ctx0" brushRef="#br0" timeOffset="-177189.66">6257 8202 0,'-26'-13'16,"-14"39"-1,27-12-15,-13 12 16,12 0-16,-12 41 16,13-41-16,13-13 0,0 14 15,-14-1-15,14 14 0,0-27 16,0 14-16,14-14 0,-14 0 0,0 0 15,13 0-15,0 1 0,0-1 16,1 0-16,-1-13 0,13 0 16,1 0-16,12 0 15,-12 0-15,-14-13 0</inkml:trace>
  <inkml:trace contextRef="#ctx0" brushRef="#br0" timeOffset="-176375.2">6601 8387 0,'-13'-13'0,"-13"0"15,65 39-15,-92-52 16,40 26-16,0 0 15,0 13-15,0-13 0,-1 13 16,-12 14-16,13-27 16,-1 13-16,14 0 0,-13 0 15,13 1-15,-13-1 0,13 0 16,0 0-16,0 1 0,13-1 16,0 0-16,1-13 15,-1 0-15,13-13 16,-12 13-1,-14-13-15,13 13 0,0-27 16,-13 14-16,0 0 16,13 13-16,-13-14 0,0 1 15,0 0 1,0 0-16,13 39 47,-13-13-47,14-13 15,-14 14-15,13-1 16,0 0-16,0 0 16,1-13-1,-1 0 1,0 0 0,-13-13-16,13 13 15,-13-13-15,14 0 16,-1-1-1,0 14 1,0 0 0,0 0-16,1 14 31,-1-1-31,0-13 31,-13 13-15,13-26-1,1 13-15,-14-13 0,13 13 16,-13-14-16,13 14 16,0 0-1,0 0 1,1 0-16,-14 14 16,13-14-16,-13 13 15,13 0-15,0-13 31</inkml:trace>
  <inkml:trace contextRef="#ctx0" brushRef="#br0" timeOffset="-176120.56">7025 8123 0,'0'-40'0,"0"27"15,13 52 17,-13-25-32,0 25 0,0-25 15,0 12-15,0 1 0,0-1 0,0 0 16,0-12-16,0 12 0,0 1 16,0-14-16,0 0 0,0 0 0,0 14 15,0-14-15,0 0 0,13 0 16,-13 1-16,0-1 15</inkml:trace>
  <inkml:trace contextRef="#ctx0" brushRef="#br0" timeOffset="-175905.23">6906 8427 0,'-14'0'0,"28"0"15,-1-13 1,0 0 0,0 13-16,1-14 15,-1 14-15,0 0 0,0 0 16,0-13-16,1 13 0,12 0 0,-13-13 16,1 13-16,25 0 0</inkml:trace>
  <inkml:trace contextRef="#ctx0" brushRef="#br0" timeOffset="-175043.83">7263 8480 0,'13'-40'15,"-26"80"-15,26-93 16,-13 40-16,0 0 0,0-1 15,0 1 1,-13 13-16,13-13 16,-13 26-1,-1 0 1,1 1-16,13-1 0,0 13 16,0-13-1,13 1-15,1-1 16,-1-13-16,0 13 0,0-13 0,14 13 15,-14-13-15,13-13 0,-12 13 16,12 0-16,-13 0 0,14-13 16,-1 0-16,-13-1 15,14 1-15,-14-13 0,-13 13 16,13-1-16,-13 1 16,0 0-16,0 0 31,-26 26 0,26 0-15,13 0-16,-13 1 15,13-1 1,1 0 0,-1-13-1,13 0 16,-12-13-15,-1 13 0,13 13-1,-13-13 1,-13 13 0,14-13-1,-1 13 1,0-26 15,0 13-15,1 0-16,-1 0 0,-13-13 15,13 13 1,14-13-16,-14 13 16,0 0-16</inkml:trace>
  <inkml:trace contextRef="#ctx0" brushRef="#br0" timeOffset="-174044.21">8123 8162 0,'13'27'15,"-13"-14"1,0 27 0,0-27-16,13 27 15,-13-27-15,0 0 0,0 0 0,0 1 16,0-1-16,0 0 15,0 0-15,0 1 16,-13-41 15,13 14-15,0 0-16,0-27 16,0 27-16,0-1 0,0 1 15,0 0-15,13 0 0,-13 0 16,13 13 15,1 13-31,-14 0 0,13-13 16,-13 13-16,13 0 0,-13 1 0,13-1 0,1 0 15,-1 0 1,0-13-16,-13 14 0,13-14 16,0 0-16,1 0 15,-1-14-15,0 1 16,0 0-16,-13 0 15,0-1-15,14 1 0,-14 0 16,0-13 0,0 12-16,0 1 0,0 0 15,-14 0 1</inkml:trace>
  <inkml:trace contextRef="#ctx0" brushRef="#br0" timeOffset="-173624.12">8427 8083 0,'0'26'15,"13"-12"1,-13-1-16,13 13 15,1-12 1,-1-1-16,27 0 16,-1-13-1,-26 0 1,1-13-16,-1 13 0,0-13 16,0 13-16,1-14 0,12-12 31,-13 26-16,-39 26 17,13-12-32,13 12 15,-14-13-15,1 1 0,0 12 0,0-13 16,13 14-16,-14-14 0,1 0 16,13 0-16,-13 14 15,13-14-15,-13 0 0,13 1 0,0-1 16,0 0-1</inkml:trace>
  <inkml:trace contextRef="#ctx0" brushRef="#br0" timeOffset="-173262.72">8824 8176 0,'0'-14'0,"0"41"47,0-14-47,-13-13 16,26 27-16,-13-1 16,13-13-1,0-13 1,1 0-1,12 0 1,-26-13-16,13 0 16,-13 0-16,13 13 15,-13-14-15,0 1 16,0 0-16,0 0 0,14-1 16,-14 1-16,0 0 0,13 13 15,0-13-15,0 13 16,1 0-16</inkml:trace>
  <inkml:trace contextRef="#ctx0" brushRef="#br0" timeOffset="-172484.85">9366 8162 0,'-13'0'0,"39"0"31,-12 0-31,-1 0 0,0 0 16,53 0-1,-52 0-15,12 0 0,-13 0 16,0 0-16,27 0 0,0-13 15,-27 13 1</inkml:trace>
  <inkml:trace contextRef="#ctx0" brushRef="#br0" timeOffset="-172211.26">9565 8017 0,'66'13'15,"-53"-13"-15,0 13 16,1 1-16,-1-1 0,0 0 16,0 13-16,0-12 0,1-1 0,-1 13 15,-13-12-15,0-1 0,0 13 0,0-12 16,0 12-16,-13 0 0,13-12 15,-14 12-15,1-13 0,0 14 0,0-1 16,0-12-16,-14 12 0,14-13 16,13 0-16</inkml:trace>
  <inkml:trace contextRef="#ctx0" brushRef="#br0" timeOffset="-171770.13">10067 8109 0,'0'27'32,"0"-14"-32,0 0 15,0 14-15,0-14 0,-13 0 16,13 1-16,0 12 16,0 0-16,0-12 0,0-1 0,-13 0 15,13 0-15</inkml:trace>
  <inkml:trace contextRef="#ctx0" brushRef="#br0" timeOffset="-171225">10160 8109 0,'13'40'0,"-13"-27"16,0 1-16,0-1 15,0 0-15,13 14 16,14-41 15,-14 1 0,0 13-31,1 0 0,-14-13 0,13 13 16,13 0-16,-26 13 16,14-13-16,-1 13 15,-13 1-15,13-1 16,-13 0-16,13 0 15,-13 0-15,13-13 16,1 0-16</inkml:trace>
  <inkml:trace contextRef="#ctx0" brushRef="#br0" timeOffset="-170817.2">10557 7805 0,'0'0'31,"0"53"-15,0-13 0,0-27-16,0 14 0,0 12 0,0-12 15,0-1-15,0 40 16,13-39-16,-13-14 0,13 13 15,-13-12-15,14-1 0,-1 0 16,0-13-16,0 13 0,0-13 0,1-13 16,-1 13-16,13-13 15,-12 13-15,-14-13 0,13 13 16,0-14-16,-13 1 16,13 26 15,1 1-31,-1-1 31,0-13-15,0 0-16,0 0 0,1 0 15,-1 0-15</inkml:trace>
  <inkml:trace contextRef="#ctx0" brushRef="#br0" timeOffset="-170628.6">10398 8057 0,'66'0'16,"-26"0"0,26-14-16,-39 14 15,12 0-15,-12 0 16,-279 14-16,557-41 0,-292 27 0</inkml:trace>
  <inkml:trace contextRef="#ctx0" brushRef="#br0" timeOffset="-169773.3">10927 8070 0,'40'13'15,"-40"13"-15,13-12 16,-13-1-16,0 0 0,0 0 16,0 1-16,0-1 0,0 0 0,0 0 15,0 1-15,0-1 16,13-40 31,1-12-32,-1 25 1,-13 1-16,13 13 0,-13-13 16,13 0-16,1-1 0,-1 1 15</inkml:trace>
  <inkml:trace contextRef="#ctx0" brushRef="#br0" timeOffset="-169134.27">11311 8043 0,'13'40'32,"-13"13"-17,13-40 1,-13 0-16,14 14 0,-14-14 16,13 14-16,0-27 15,-13 13-15,13-13 0,-13 13 0,14-13 16,-1 0-1,0-13 1,0 0-16,-13-1 16,13 1-16,-13 0 0,14 0 15,-1-14 1,-13 14 0,13 0-16,0-1 31,-13 1-31</inkml:trace>
  <inkml:trace contextRef="#ctx0" brushRef="#br0" timeOffset="-168988.44">11602 8017 0,'0'40'32,"0"-27"-17,-13 0-15,26-79 0,-26 145 16,13-66-16,0 1 0,-13-1 15,13 0-15</inkml:trace>
  <inkml:trace contextRef="#ctx0" brushRef="#br0" timeOffset="-168008.16">11840 8123 0,'0'-14'15,"0"1"-15,0 0 32,-13 26 15,13 0-47,0 1 31,0-1-16,13-13-15,0 13 16,14-26 0,-14 13-1,0 0-15,0-13 16,-13-1-16,14 14 16,-1 0-16,-13-13 15,13 13 1,0 0 15,-13 13-31,27-13 31,-27 14-31,26-14 16,-12 0 0,-1-14-16,0 14 0,0 0 15,0-13 1,1 13-1,-1 0 1,-13-13 0,13 13-1,0 0 48,1 0-48,-14-13 1,13 13 0,0 0-16,-13-13 15,13-1-15,-13 1 16,0 0 15,-13 13-31,13-13 0,-26 13 16,12-14-16</inkml:trace>
  <inkml:trace contextRef="#ctx0" brushRef="#br0" timeOffset="-167844.48">11536 7818 0,'-13'14'0</inkml:trace>
  <inkml:trace contextRef="#ctx0" brushRef="#br0" timeOffset="-167319.17">12568 7726 0,'-40'92'16,"40"-78"-16,0 25 15,0-25-15,0 12 0,0 40 16,0-53-1,0 14-15,0-14 0,0 0 16,13 1-16,0-1 16,1 0-16,-1-13 0,-13 13 15,13-13-15,0 0 0</inkml:trace>
  <inkml:trace contextRef="#ctx0" brushRef="#br0" timeOffset="-166821.54">12885 7871 0,'-26'0'16,"52"0"-16,-65 0 0,39 14 0,-27-14 16,14 13-16,0 0 15,-1-13 1,14 13-16,0 1 0,0-1 15,14-13 1,-1 13-16,0 0 16,0 0-16,1 1 0,-1-14 15,-13 13-15,13-13 16,-13 13-16,0 0 0,0 1 16,-13-1-1,0 0-15,-1-13 0,1 13 16,0-13-16,0 0 0,-14 13 15,14-13-15,0 14 16,-1-14 0,14-14-1</inkml:trace>
  <inkml:trace contextRef="#ctx0" brushRef="#br0" timeOffset="-166511.73">13004 7924 0,'-13'27'31,"13"-14"-15,0 0-16,0 0 0,0 1 16,13-1-1,-26-92-15,40 171 0,-14-92 16,-40-106-16,67 212 0,-27-106 0,14 0 15,-14 0 1,0-13-16,0 13 16,-13-13-16,0-1 15,14 14-15,-14-13 0,-14 0 16,14 0-16,-13 13 16,13-13-16,-13 13 15,0-14-15,-1 14 16,1 0-16</inkml:trace>
  <inkml:trace contextRef="#ctx0" brushRef="#br0" timeOffset="-166243.18">13057 7607 0,'66'26'0,"-13"14"16,-40-27-16,40 40 0,-39-13 15,-1-14-15,13 40 0,-12-39 16,-1 13-16,-13-27 0,0 13 16,0 1-16,-13 26 0,13-27 15,-14 0-15,-12 27 0,-1-13 16,14-27-16,13 1 15,-13-1-15</inkml:trace>
  <inkml:trace contextRef="#ctx0" brushRef="#br0" timeOffset="-165513">13719 7885 0,'26'-14'31,"-13"14"-31,1 0 16,-1 0-16,0 0 0,0 0 0,14 0 16,-1-13-16,-13 13 15,1 0-15,-1 0 0,0 0 16,0 0-16,1 0 0,-1 0 0,0 0 16,0-13-16,0 13 15,1 0-15</inkml:trace>
  <inkml:trace contextRef="#ctx0" brushRef="#br0" timeOffset="-165234.89">13970 7699 0,'26'0'0,"-12"0"0,-1 14 16,0-14-16,0 13 0,1-13 15,12 26-15,-13-12 0,1-1 16,-14 0-16,13 0 0,0 0 16,-13 27-16,0-27 0,0 1 15,-13 12-15,13 1 0,-27 12 16,14-26-16,0 14 0,0-14 15,-1 0-15,1 1 0,0-1 16</inkml:trace>
  <inkml:trace contextRef="#ctx0" brushRef="#br0" timeOffset="-164475.68">14751 7527 0,'-27'27'16,"27"-14"-16,0 0 0,-13 1 15,0 38 1,13-25-16,0-1 0,-14 1 0,1 13 16,13-14-16,-13-13 15,13 14-15,0-14 0,0 0 16,-13 0-16,13 1 0,0-1 0,0 0 15,0 0-15,13-13 16</inkml:trace>
  <inkml:trace contextRef="#ctx0" brushRef="#br0" timeOffset="-164028.02">14737 7501 0,'27'-27'0,"-14"27"0,-53 27 15,93-67-15,-40 40 0,1 0 0,-1 0 16,13 13-16,-12-13 0,-1 14 15,-13-1-15,13-13 0,-13 13 16,0 0-16,0 1 0,-13 25 16,0-25-16,-1 25 15,1-26-15,0 1 0,0-1 16,-1 13-16,1-26 0,0 14 16,13-1-16,-13-13 0,13 13 15,-13-13-15,13 13 16,0 1-16,13-1 15,-13 0-15,13-13 16,0 13-16,-13 0 16,13-13-16,1 0 0,-1 14 15,0-14-15,0 0 0,1 0 16,-14 13-16,13-13 0,0 0 16,0 0-16,0 0 0,1 0 0,-1 0 0</inkml:trace>
  <inkml:trace contextRef="#ctx0" brushRef="#br0" timeOffset="-163684.25">15134 7779 0,'13'-13'15,"-13"-1"1,0-12-16,14 13 16,-14-1-16,-14 14 15,14-13 1,0 0-16,-13 13 16,0 0-16,0 13 15,-1-13-15,14 13 0,-13 1 16,66 52-16,-119-119 15,66 66-15,0 0 16,13 1-16,-13-1 16,13 0-16,1-13 15,12 13-15,-13-13 16</inkml:trace>
  <inkml:trace contextRef="#ctx0" brushRef="#br0" timeOffset="-163341.12">15372 7607 0,'-26'13'16,"52"-26"-1,-39 39-15,13-13 16,13 1-16,-13-1 0,14 0 16,-1 14-1,-13-14-15,13-13 0,-13 26 16,0-12-16,0-1 16,0 0-16,-13-13 0,0 13 15,-14 0-15,14-13 16,0 14-16,-1-14 0,1 13 15,0-13-15,0 0 0,-1 0 16</inkml:trace>
  <inkml:trace contextRef="#ctx0" brushRef="#br0" timeOffset="-162178.93">15584 7660 0,'0'-14'16,"-13"14"-1,0 14 16,13-1-15,0 0 0,0 0-16,0 1 15,0-1 1,13-13-16,0 13 16,13-26-1,-12 13 1,-1-13-1,0-1 1,0 28 15,1 12-15,-14-13 0,13 1-16,-13-1 15,13-13-15,0 0 16,0 0-16,1 0 15,-1-13-15,0 13 0,0-14 0,1 14 16,-14-13-16,13 0 0,0 13 16,0-13-16,-13-1 0,14 1 0,-14-13 15,13 12-15,0-25 0,-13 12 16,13 14-16,-13-13 0,0 12 16,13-12-16,-13-1 15,14 14-15,-14 0 0,-14 26 31,14 0-15,0 1-16,-13-1 0,13 0 0,0 27 16,0-14-16,0-12 15,13 12-15,-13-13 16,0 0-16,14-13 0,-1 14 16,0-1-16,0-13 15,1 0-15,12 0 0,-26-13 16,27 13-16,-27-14 15,13 14-15,0-13 0,-13 0 0,13 13 16,0-13-16,-13 0 0,14-1 16,-14-25-16,13 25 0,-13-12 15,13 26-15,-13-13 0,0-1 16,-13 41 15,13-14-15,0 0-16,0 1 0,0-1 15,0 0-15,0 0 0,0 14 16,0-14-16,0 0 0,13 0 16,-13 1-16,13-14 15,-13 13-15,14-13 0,-1 0 16</inkml:trace>
  <inkml:trace contextRef="#ctx0" brushRef="#br0" timeOffset="-161978.97">15928 7554 0,'66'-13'0,"-53"13"0,1 0 15,-1 0-15,13 0 0,-13 0 0,14 0 16</inkml:trace>
  <inkml:trace contextRef="#ctx0" brushRef="#br0" timeOffset="-161103.65">16669 7594 0,'26'-14'31,"-26"1"-31,13 13 16,1 0-16,-14-13 0,13 13 0,0-13 15,0-1-15,1 14 16,-1-13-16,0 0 0,14 0 16,-14-1-16,0 1 15,0 13-15,14-26 0,-14 26 16,0-13-16</inkml:trace>
  <inkml:trace contextRef="#ctx0" brushRef="#br0" timeOffset="-160858.08">16735 7620 0,'13'0'0,"0"13"16,1 0-16,-1 1 0,0-1 16,0 0-16,27 14 0,-27-14 15,0 0-15,14 14 0,-27-14 16,13 0-16,0-13 15,1 26-15</inkml:trace>
  <inkml:trace contextRef="#ctx0" brushRef="#br0" timeOffset="-160190.08">17145 7064 0,'0'27'16,"0"-14"-1,0 0-15,0 1 16,13 12 0,0-26-16,-13 13 0,14-13 0,-1 13 0,0-13 15,0 0-15,1 0 16,-1 0-16,0 0 0,0 0 15,1-13-15,12 0 0,-13 0 16,0 0 0,-13-1-16,14 14 15,-14-13-15,-14 40 32,14-14-17,-13 0-15,13 0 0,-13 0 0,0 14 16,0-14-16,-1 0 0,1 14 0,13-14 15,-13 13-15,0-12 16,13-1-16,-14 0 0,14 0 0,-13 1 16,26-1-16,-13 0 15</inkml:trace>
  <inkml:trace contextRef="#ctx0" brushRef="#br0" timeOffset="-159890.93">17476 7263 0,'26'-53'0,"-26"40"15,0-1 1,-13 28 15,0-1-31,-1-13 0,1 26 31,13-12-31,-13-1 16,13 0-16,13 0 0,0-13 16,-13 13-16,14-13 15,-1 0-15,0 0 0,0 0 16</inkml:trace>
  <inkml:trace contextRef="#ctx0" brushRef="#br0" timeOffset="-159648.86">17740 7144 0,'-13'-13'16,"0"13"-16,13-14 0,-13 14 15,-1 14 1,14 12-1,53-39-15,-106 39 16,53-13-16,0 1 0,-13-1 16,13 0-16,0 0 0,0 1 15,0-1-15,-13-13 16,13 13-16,-13 0 0,13 0 16,0 1-16,-14-14 0,1 26 15</inkml:trace>
  <inkml:trace contextRef="#ctx0" brushRef="#br0" timeOffset="-158873.12">17264 7898 0,'0'26'16,"0"1"-1,0-14-15,0 13 16,0-12-16,0-1 16,13 0-1,-13 0-15,14-26 32,-1 0-17,0-27 1,0 1-1,0 12 1,-13 14 0,0 0-16,14 26 47,-14 0-47,13 0 0,-13 1 15,0-1 1,13-13-16,-13 13 0,13 0 15,1-13 17,-1-13-17,0-13 1,-13 12-16,13-12 31,-13 13-31,13-1 16</inkml:trace>
  <inkml:trace contextRef="#ctx0" brushRef="#br0" timeOffset="-158608.45">17568 7885 0,'14'26'15,"-1"-13"-15,0-13 0,-13 14 16,13-14-16,0 0 0,1 0 16,-1-14 15,-13 1-31,-13 0 16,13 0-16,-14 13 15,1-14-15,0 14 16,0 0-16,0 0 15,-1 0-15</inkml:trace>
  <inkml:trace contextRef="#ctx0" brushRef="#br0" timeOffset="-157960.8">18084 7157 0,'14'-13'15,"12"13"-15,-13 0 16,0 0-16,1 0 15,-1-13-15,0 13 0,0 0 16,1 0-16,-1 0 0,0 0 16</inkml:trace>
  <inkml:trace contextRef="#ctx0" brushRef="#br0" timeOffset="-157701.15">18230 6985 0,'0'0'0,"13"-13"0,0 13 15,14 0 1,-27 13-16,13-13 16,0 13-16,0 0 15,-13 1-15,14 25 16,-14-25-16,0-1 0,-14 0 15,14 0-15,0 1 0,-13-1 16,13 0-16,0 0 0,-13 0 16,13 1-16</inkml:trace>
  <inkml:trace contextRef="#ctx0" brushRef="#br0" timeOffset="-157316.92">18693 6787 0,'0'0'16,"13"-14"0,0 28-1,0-1 1,1 0 0,-14 0-16,0 0 0,13 1 15,-13-1-15,0 0 0,0 14 16,13-14-16,-13 0 0,0 0 15,0 14-15,0-14 0,0 0 16,13 0-16,-13 1 0,0 12 16,0-13-16,0 1 15</inkml:trace>
  <inkml:trace contextRef="#ctx0" brushRef="#br0" timeOffset="-157124.09">18666 6998 0,'27'-13'16,"-14"0"-16,0 13 0,14 0 15,-1-13-15,1 13 16,-1-14-16,-13 14 0,14 0 15</inkml:trace>
  <inkml:trace contextRef="#ctx0" brushRef="#br0" timeOffset="-156672.83">19143 6747 0,'-14'0'0,"28"0"0,-41 0 0,14 0 16,0 0-16,-1 13 0,1-13 15,0 0-15,0 13 0,0 1 16,-1-1-16,14 0 15,0 0 1,0 0-16,14 1 0,-1-1 16,0-13-16,0 13 0,0 0 15,1-13-15,-1 14 16,0-14-16,-13 13 0,13-13 0,1 0 0,-14 13 16,13-13-16,0 13 15,-13 1-15,-13-1 16,13 0-16,-13-13 0,13 13 15,-14 0-15,1-13 0,0 14 0,0-1 16,-1-13-16,1 13 0,0-13 16,13 13-16,-26-13 0,12 14 15,1-14-15,0 0 0,0 0 16</inkml:trace>
  <inkml:trace contextRef="#ctx0" brushRef="#br0" timeOffset="-156446.1">19434 6720 0,'0'-13'16,"0"26"0,0 1-1,0-1-15,0 0 16,-14 0-16,14 1 0,-13-1 15,13 13-15,-13 1 0,0-1 16,13-13-16,-13 1 0,13-1 0,-14 0 16,1 14-16,13-14 15,-13 0-15</inkml:trace>
  <inkml:trace contextRef="#ctx0" brushRef="#br0" timeOffset="-156260.17">19248 6813 0,'0'-13'15</inkml:trace>
  <inkml:trace contextRef="#ctx0" brushRef="#br0" timeOffset="-155540.29">18243 7858 0,'26'0'15,"-12"0"-15,-1-13 16,0 13-16,14 0 0,-14 0 16,13 0-16,-12 0 0,12 0 15,14-13-15,-14 13 0,-13 0 16,1 0-16,-1-14 0,13 14 16</inkml:trace>
  <inkml:trace contextRef="#ctx0" brushRef="#br0" timeOffset="-155282">18508 7686 0,'39'13'31,"-39"1"-31,14-14 0,-1 13 15,-13 0-15,26 0 0,-26 1 16,0-1-16,13 0 0,-13 0 16,0 0-16,-13 1 0,0 25 15,0-39-15,13 14 0,-13-1 16,-1 0-16,1 14 16,0-14-16</inkml:trace>
  <inkml:trace contextRef="#ctx0" brushRef="#br0" timeOffset="-154837.56">18931 7686 0,'26'0'0,"-12"0"0,-54 0 16,93 0-16,-40 0 15,0 13-15,1 1 16,-14-1-16,0 0 0,-14-13 15,14 13-15,-13 1 0,0-1 16,13 0-16,-13 0 0,-1 0 0,1 14 16,0-27-16,13 13 0,-13-13 15,13 13-15,-14-13 16,41 14 0,-14-28-1,0 14-15,1 0 16,25 0-16,-25-13 15,-1 13-15,0 0 0,0-13 0,0 13 16,14-13-16,-14 13 0,0 0 0,1-14 16</inkml:trace>
  <inkml:trace contextRef="#ctx0" brushRef="#br0" timeOffset="-154420.6">19328 7660 0,'-27'0'15,"14"13"-15,0-13 0,0 0 16,-1 13-16,1-13 0,0 13 15,0-13-15,0 14 0,-1-14 16,14 13 0,27 0-1,-27 0-15,13-13 16,0 0-16,0 14 0,1-1 16,-1-13-16,-13 13 15,13-13-15,-13 13 0,13-13 0,-13 13 16,0 1-16,0-1 15,0 0-15,0 0 16,-13-13-16,0 14 0,0-1 16,-1 0-16,1-13 0,0 13 15,0-13-15,0 14 0,-1-14 0,1 0 16,13 13-16,-13-13 0</inkml:trace>
  <inkml:trace contextRef="#ctx0" brushRef="#br0" timeOffset="-154202.95">19685 7567 0,'0'40'16,"-26"-1"-1,26-25-15,-14 12 16,14-13-16,-13 1 0,0-1 0,13 0 16,-13 0-16,13 14 0,-14-27 15</inkml:trace>
  <inkml:trace contextRef="#ctx0" brushRef="#br0" timeOffset="-154005.64">19539 7646 0</inkml:trace>
  <inkml:trace contextRef="#ctx0" brushRef="#br0" timeOffset="-153865.55">19897 7766 0</inkml:trace>
  <inkml:trace contextRef="#ctx0" brushRef="#br0" timeOffset="-152197.3">19037 7395 0,'119'-13'0,"-93"13"0,54-13 15,-41 13-15,14 0 0,93 0 16,-93 0-16,0 0 16,0 0-16,39 13 15,-52 0-15,13 0 0,-14-13 0,-12 14 16,52 25-16,-52-26 0,-1 1 15,1-1-15,-14 0 0,27 14 16,-14 12-16,-13-25 16,0-1-16,1 0 0,-1 0 15,-13 0-15,13 1 0,-13 12 16,13-13-16,-13 14 16,0-14-16,0 0 0,-13 1 15,13 12-15,-13-13 0,0 14 16,-1-1-16,1-13 15,0 1-15,0-1 0,0 0 0,-27 14 16,27-14-16,-14 0 16,-13 13-16,14-12 0,-14-1 0,-39 13 15,0 1-15,39-14 16,0-13-16,1 13 0,-1 0 16,0 1-16,-13-14 0,14 13 15,-1-13-15,-39 13 0,39 0 16,0-13-16,14 0 0,-1 14 0,-12-14 15,12 0-15,1 0 0,-14 13 16,13-13-16,1 0 0,-14 0 0,14 0 16,-1 13-16,-12-13 0,12 0 15,-26 0-15,14 0 0,-1 13 0,0-13 16,-13 0-16,14 0 0,12 0 0,-26 0 16,14 0-16,-14 0 0,-13 0 15,39 0-15,-13 0 0,1 14 16,12-14-16,-39 0 0,40 0 15,-1 0-15,-39-14 16,40 14-16,-1 0 0,1 0 16,-40 0-16,39 0 0,1 0 15,-1 0-15,1 0 0,-1-13 16,-26 13-16,40 0 0,0 0 16,-14 0-16,14 0 0,-13-13 15,12 13-15,1 0 0,0 0 16,0 0-16,0 0 0,-1 0 0,1 0 15,-13-13-15,-1 13 16,14 0-16,0 0 0,-1-14 16,1 14-16,-13 0 0,13-13 15,-14 13-15,14-13 0,0 13 16,-1 0-16,-25-13 16,26 13-16,-1-14 0,1 14 15,0 0-15,0-13 0,-1 13 0,1-13 16,0 13-16,0 0 0,-1-13 15,1 0-15,13-1 0,-13 14 16,0-13-16,0 0 0,13 0 16,-14 13-16,1-27 15,0 27-15,13-13 0,-13 13 16,-1-13-16,1 0 0,0-1 16,0 1-16,-1 0 15,14 0-15,0-1 0,0 1 16,-13 0-16,26 0 15,-13-1-15,0 1 0,0 0 16,14 0-16,-1-14 0,0 14 16,14-13-16,-14 12 0,13 1 15,1-13-15,-1 12 0,54-25 16,-14 12-16,-27 14 16,14-13-16,13 12 0,-13 1 15,0-13-15,13 12 0,-13 1 16,66-13-16,-66 26 0,40-13 15,-40 13-15,0-14 0,0 14 0,0 0 16,-14 0-16,14 0 16,27 0-16,-14 14 15,-40-14-15,1 0 0</inkml:trace>
  <inkml:trace contextRef="#ctx0" brushRef="#br0" timeOffset="-150350.02">17198 7580 0,'-40'-13'16,"27"13"-16,0-13 15,0 13-15,-1-13 0,1-1 16,0 14-16,13-13 0,-13 0 0,-1-14 16,1 14-16,0 0 15,0-13-15,-1 12 0,1-12 0,0 13 0,13-14 16,-13 1-16,0 12 0,13-12 0,-14 0 16,14 12-16,-13-12 0,13-1 15,-13 1-15,13 13 0,0-14 16,0 14-16,-13-13 0,13-14 15,0 13-15,0 14 0,0-13 0,0 13 16,13-14-16,-13 1 0,0 12 16,13-12-16,-13 13 0,13-14 0,1 14 15,-1-13-15,13-1 0,-13 1 16,14 12-16,26-38 0,0 12 16,-27 13-16,14 14 15,0-13-15,-1 12 0,1-12 0,53-14 16,-41 14-16,15 13 15,-14-1-15,-1 1 0,15-13 0,-1 12 16,-13 1-16,13 13 0,0-13 0,0 0 16,66 0-16,-52 13 15,-27-14-15,0 14 0,13 0 0,0-13 16,-13 13-16,13 0 0,-13 0 16,66 0-16,0 0 15,-66 13-15,0-13 0,-13 0 16,12 0-16,-12 14 0,0-14 0,0 13 15,-14-13-15,53 13 0,-52-13 16,13 13-16,-1 0 0,1-13 16,-14 14-16,1-14 0,12 13 0,-12 0 15,-1-13-15,-12 13 0,39 1 16,-14 12-16,-12-26 16,-1 13-16,-13 1 0,14-1 15,-1 0-15,-12 0 0,12 0 0,0 1 16,-12-1-16,12 0 0,1 0 15,-1 14-15,-13-14 0,14 0 0,-1 14 16,1-1-16,-1-13 0,-13 1 16,1 12-16,-1-13 15,0 1-15,-13 12 0,13-13 0,-13 0 16,13 27-16,-13-27 0,0 1 16,0-1-16,0 13 0,0-12 0,-13-1 15,13 13-15,-13 1 0,0-14 16,0 27-16,13-27 15,-14 0-15,1 0 0,-13 27 16,12-27-16,-12 14 16,-1-14-16,14 0 0,-13 0 0,-14 1 15,14-1-15,12-13 16,-38 26-16,25-26 16,1 13-16,-14-13 0,13 14 15,1-14-15,0 13 0,-1-13 0,-26 13 16,27-13-16,-27 13 15,40-13-15,-14 0 16,1 14-16,12-14 0,-12 0 0,0 13 16,12-13-16,-12 0 0,-1 0 0,14 0 15,-40 0-15,40 13 16,-13-13-16,-1 0 0,1 0 0,-1 0 16,-13 0-16,14 0 0,0 13 15,-1-13-15,1 0 0,12 0 16,-12 0-16,13 0 0,-27 0 15,27 0-15,-27 0 0,27 0 16,0 0-16,-1 0 0,-12 0 16,13 0-16,-1 0 0,-25 14 15,-1-14-15,27 0 16,0 0-16,-1 0 16,1 0-16,0 0 0,0 0 15,0 0-15,-1 0 0,1 0 16,0 0-16,0 0 0,-14 0 0,14 0 15,0 0-15,-1 13 0,1-13 0,0 0 16,-13 0-16,12 0 0,1 0 16,0 0-16,0 0 0,-14 0 15,14 0-15,-14 0 16,14 0-16,0 0 0,0 0 0,0 0 16,-14 0-16,14 0 15,0 0-15,-14 0 0,14 0 0,0 0 0,-14 0 16,1 0-16,-14 13 15,14-13-15,-14 0 0,27 0 16,-14 13-16</inkml:trace>
  <inkml:trace contextRef="#ctx0" brushRef="#br0" timeOffset="-137034.85">20307 6443 0,'39'26'0,"-39"-13"15,14 40 1,-14-26-16,0-1 0,0 27 16,0-26-16,0 12 15,0 1-15,0 0 0,13 52 16,-13-65-16,0-1 0,13 1 16,-13-1-16,13 0 15,-13-12-15,14-1 0,-1 27 16,0-40-16,-13 13 0,13-13 15,-13 13 1,14-13 0,-1 13-1,-13 14 1,0-14-16,0 0 0,0 14 0,0 26 16,13 79-1,0-92-15,-13 65 0,0-52 16,0-13-16,0 13 0,0 0 15,-13 79-15,0-92 16,13-14-16,-13 14 0,-1-14 0,1 1 16,0-1-16,-27 14 15,27-27-15,0 0 0,-1 1 0,1-14 16,-26 13-16,25-26 16,1 13-16</inkml:trace>
  <inkml:trace contextRef="#ctx0" brushRef="#br0" timeOffset="-136684.31">20558 7607 0,'0'0'0,"40"-13"0,13 13 16,-40 0-16,13 0 15,1 0-15,-1 0 0,67 0 16,-67-14-16,67 14 15,-67 0-15,41-13 16,-41 13-16,-13-13 16,1 13-16,25-13 15,-26 13-15,-13-14 16</inkml:trace>
  <inkml:trace contextRef="#ctx0" brushRef="#br0" timeOffset="-136430.12">21061 7355 0,'26'0'16,"-12"0"-16,-1 14 16,0-14-16,0 13 0,53 27 15,-52-27 1,12 13-16,-13 1 0,-13-14 0,13 0 15,-13 0-15,0 14 16,-26 26-16,13-27 16,0 1-16,-1-1 0,-12 1 0,-14 26 15,27-40-15,-27 13 16</inkml:trace>
  <inkml:trace contextRef="#ctx0" brushRef="#br0" timeOffset="-135709.9">21947 7514 0,'13'-13'0,"1"13"15,12-13 1,-13 13-16,1 0 0,-1 0 16,0 13-1,0-13-15,0 26 16,-13 1-16,0-14 0,14 0 16,-14 1-16,0-1 0,0 13 15,13-13-15,-13 40 16,0-39-16,0-1 0,0 0 0,0 0 15,13 1-15,-13 12 16,0-13-16,0 0 16</inkml:trace>
  <inkml:trace contextRef="#ctx0" brushRef="#br0" timeOffset="-135498.2">21894 7792 0,'14'-26'15,"-1"26"-15,0-14 16,27 1 0,-27 13-16,0 0 0,14-13 0,-14 13 0,13 0 15,-13-13 1,14 13-16,-14 0 0,0 0 0,1 0 15,-1-14-15</inkml:trace>
  <inkml:trace contextRef="#ctx0" brushRef="#br0" timeOffset="-135081.23">22397 7580 0,'-40'0'16,"1"14"0,25-1-16,1-13 15,0 13-15,13 0 16,-13-13-16,13 13 15,26 1 1,-13-1-16,1-13 0,-1 13 16,0 0-16,14 1 15,-14-14-15,-13 13 16,13-13-16,0 13 0,-13 0 16,0 1-16,-13-14 0,13 13 0,-13 0 15,13 0-15,-13-13 0,-14 27 16,14-27-16,-14 13 15,27 0-15,-13-13 0,0 13 16,0-13-16,-1 0 16</inkml:trace>
  <inkml:trace contextRef="#ctx0" brushRef="#br0" timeOffset="-134892.59">22609 7594 0,'0'26'31,"0"-13"-31,0 0 16,-27 40 0,27-39-16,-13-1 0,13 0 0,-13 14 15</inkml:trace>
  <inkml:trace contextRef="#ctx0" brushRef="#br0" timeOffset="-134724.6">22476 7673 0,'14'0'31,"-1"0"-15</inkml:trace>
  <inkml:trace contextRef="#ctx0" brushRef="#br0" timeOffset="-134573.1">22807 7739 0,'0'-13'15</inkml:trace>
  <inkml:trace contextRef="#ctx0" brushRef="#br0" timeOffset="-134237.34">22966 7633 0,'-40'40'0,"40"-14"15,13-26-15,-13 14 16,14-14-16,-1 13 0,0-13 15,0 0-15,1 0 0,-1 0 0,0 0 16,0 0-16,0 0 0,14-13 16,-14 13-16,-13-14 15,13 14-15,-13-13 0,0 0 0,0 0 16,-13 13-16,13-14 0,-13 1 16,0 13-16,-1-13 0,1 13 15,0 0-15,0-13 0,0 13 16,-1 0-16,1 0 15</inkml:trace>
  <inkml:trace contextRef="#ctx0" brushRef="#br0" timeOffset="-133939.91">23138 7501 0,'0'-13'15,"26"26"-15,-52-13 16,52 13-16,-12 0 0,-1 1 0,0 25 15,13 67 1,-12-66-16,-14-14 0,0 14 16,0-14-16,0 1 0,0-1 15,0 1-15,0-1 0,0-12 16,-14 12-16,14 0 0,-13-12 16,13-41 15,13-26-16,1 40-15,-14 0 16,13-14-16,0 14 0,0 0 0,1-14 16,-1 14-16,13 13 0,-13-13 0,1 0 15,-1 0-15,13 13 16</inkml:trace>
  <inkml:trace contextRef="#ctx0" brushRef="#br0" timeOffset="-133464.89">23812 7766 0,'-13'-14'31,"13"1"-31,0-13 16,0 12-1,0 1-15,13 0 16,-13 0-16,0-1 0,0 1 16,14 0-16,-1 26 31,0 0-31,0 1 15,-13-1-15,14 0 16,-14 0-16,26 1 0,-13-14 16,1 13-16,-1-13 15,13 0-15,-13 0 0,27-13 16,-27-14 0,1-13-1,-14 27 1,0 0-16,13 13 0,-13-13 15,0 0-15,0-1 16,0 1 0</inkml:trace>
  <inkml:trace contextRef="#ctx0" brushRef="#br0" timeOffset="-133111.95">24156 7514 0,'14'13'0,"-14"1"16,13-1-16,-40-53 15,67 93-15,-27-53 16,1 0-16,12 0 16,-13 0-16,1 0 0,-1 0 0,0 0 15,0-13-15,14 13 16,-14-13-16,0 13 0,0-14 15,1 14-15,-1-13 16,-26 40 15,-1-14-31,1 0 16,13 0-16,-13 1 16,0-1-16,-1 13 0,1 1 15,13-14-15,-13-13 0,13 13 16,0 0-16,0 1 0,-13-14 0,13 13 15,13 0 1</inkml:trace>
  <inkml:trace contextRef="#ctx0" brushRef="#br0" timeOffset="-132771.71">24659 7501 0,'-13'13'47,"13"0"-47,-13-13 0,13 14 16,0-1-16,0 0 0,13 0 15,-13 1-15,13-14 16,0 13-16,1-13 15,12-13-15,-13 13 16,-13-14-16,14 14 16,-14-13-16,13 13 0,-13-13 0,13 0 15,-13-1-15,13 1 0,-13 0 16,0 0-16,0-1 16,-13 14-1</inkml:trace>
  <inkml:trace contextRef="#ctx0" brushRef="#br0" timeOffset="-132169.11">22357 8414 0,'-13'-13'0,"0"13"15,13 13-15,0 0 16,0 13-16,13-12 16,-13-1-16,13 13 15,1-12-15,-14-1 0,13 13 16,0 1-16,-13-14 15,0 0-15,0 0 0,0 1 0,0-1 16,-13 0-16,-14 14 16,14-14-16,0-13 15,-14 13-15,14-13 16,0 0-16</inkml:trace>
  <inkml:trace contextRef="#ctx0" brushRef="#br0" timeOffset="-131952.89">22582 8374 0,'0'-13'32,"13"39"-32,-13-12 0,0-1 15,0 13-15,0-13 16,0 1-16,14 12 0,-14 1 15,0-1-15,13-13 0,-13 0 0,13 27 16,-13-27-16,13 14 16,-13-14-16,14-13 0</inkml:trace>
  <inkml:trace contextRef="#ctx0" brushRef="#br0" timeOffset="-131444.25">22490 8639 0,'13'-14'16,"-13"1"-16,13 13 0,13 0 16,-12 0-16,-1-13 0,0 13 15,0 0-15,27-13 0,-27 13 16,1-14-16,12 14 0,0-13 15,-12 0-15,-1 13 16,0-13-16,0 13 0,-13-13 16,14-1-1,-1 14 1,-13 14 15,0-1-31,0 0 0,0 0 16,0 0-1,13 1-15,-330 39 0,647-106 0,-330 66 16,14-13-16,-1 0 16,0 0-16,0 0 15,0-13-15,1 13 16,-14-14-16,13 14 0,0-13 16,0 13-1,1 13 16,-14 1-31,0-1 16,0 0-16,0 0 16,13 1-1,0-14-15</inkml:trace>
  <inkml:trace contextRef="#ctx0" brushRef="#br0" timeOffset="-130957.06">23270 8242 0,'-13'53'31,"13"-40"-31,-13 13 16,13-12-16,0 25 0,0-12 16,0-14-16,0 27 15,0-27-15,13 0 0,-13 0 16,0 1-16,13-1 16,-13 0-1,-13-39 1,-14 12-1,14 14 1,0 0-16,0 0 0,0 0 16,-1 0-16,1 0 0,-13 14 0,12-14 15,14 13-15,-13-13 0,0 13 0,-14 0 16,27 0-16,0 1 16,0-1-1,14-13-15,12 13 0,-13-13 16,1 0-16,25 0 15,-25 0-15,-1 0 0,13 0 16,-13 0-16,1 0 0,-1-13 0,0 13 16,0 0-16,1 0 0,-1-13 0</inkml:trace>
  <inkml:trace contextRef="#ctx0" brushRef="#br0" timeOffset="-129871.89">23535 8520 0,'0'-27'31,"0"54"-31,0-67 0,0 27 0,0-1 16,-14 14-1,-12 0 17,26 14-17,0-1-15,0 0 16,13 0-16,-13 1 15,13-14-15,-13 13 16,14-13-16,-14 13 0,13-13 16,0 0-16,0 0 15,-13 13 1,14-13-16,-1-13 16,0 13-1,0 0-15,-13-13 16,14 13-1,-1-13 1,-13-1-16,13 14 16,-13-13-16,13 13 15,0-13-15,1 13 16,-1 13 0,0 0 15,-13 1-31,13-14 15,-13 13-15,14-13 32,-1 0-17,0 0 1,0-13-16,0-1 16,1 14-16,-1-13 15,0 13-15,0-13 16,1 13-1,-1 0 1,0 0 0,0 13-1,1-13 1,-1 13-16,0-13 16,0 0-1,14 0-15,-27-13 16,13 13-16,0-13 0,0 13 15,-13-13-15,14-1 0,-1-12 16,0 13-16,-13 0 0,13-14 16,1 1-16,-14-1 0,13 14 0,-13-27 15,13 1-15,-13 12 0,13 1 16,-13 12-16,0-12 0,0 13 0,0-1 16,13 1-16,-13 0 0,0 0 15,-26 26 16,13 0-31,13 0 0,-13 27 16,-1 0-16,14-27 16,0 0-16,0 14 0,0-14 15,0 0-15,0 0 0,0 14 16,0-14-16,14-13 0,-14 13 16,0 1-16,0-1 0,13-13 15,-13 13-15,13-13 16,-13 13-16</inkml:trace>
  <inkml:trace contextRef="#ctx0" brushRef="#br0" timeOffset="-129671.47">23918 8308 0,'27'-13'16,"-1"-1"-1,-79 41-15,133-54 0,-67 14 0,13 13 16,1-13-16,-1 0 0,40 0 16,-39 13-16,-1-14 0,1 14 15,-1 0-15,-12 0 0,12-13 16,-13 13-16,0 13 0</inkml:trace>
  <inkml:trace contextRef="#ctx0" brushRef="#br0" timeOffset="-128350.3">22371 9168 0,'-14'26'63,"14"-12"-63,0-1 15,0 0 1,0 0-16,14 0 15,-1 1 1,0-14 0,13-14 15,-12 1-15,-1 13-16,0 0 15,-13 13 1,13 1-1,1-14-15,-14 13 16,13-13-16,0 0 0,0 0 16,0-13-1,1 13-15,-1-14 0,0 1 16,-13 0-16,13 0 16,-13 0-1,0-1-15,14 1 16</inkml:trace>
  <inkml:trace contextRef="#ctx0" brushRef="#br0" timeOffset="-128180.36">22754 9155 0,'13'26'16,"-13"-13"-16,0 1 16,0-1-1,0 0-15,-13 0 16</inkml:trace>
  <inkml:trace contextRef="#ctx0" brushRef="#br0" timeOffset="-127749.02">22992 8877 0,'0'26'16,"0"-13"0,0 54-1,-13-14 1,13-27-16,0-13 0,-13 14 0,13-14 16,0 0-16,0 0 0,-13 1 0,13-1 15,0 0-15,0 0 16,0 1-16,0-1 15</inkml:trace>
  <inkml:trace contextRef="#ctx0" brushRef="#br0" timeOffset="-127529.18">23111 8903 0,'0'-13'0,"0"0"16,0 39-1,0-13 1,14 1-16,-14 12 0,-14-66 16,28 107-16,-28-147 0,14 199 0,0-79 15,0-27-15,0 0 0,0 1 16,14-1-16,-14 0 0,0 14 16,0-14-1</inkml:trace>
  <inkml:trace contextRef="#ctx0" brushRef="#br0" timeOffset="-126325.41">23786 9009 0,'-79'0'15,"65"0"-15,1 0 0,0 13 16,0-13-16,0 14 16,-1-14-16,28 13 15,12 0 1,-13 0-16,0 0 0,14-13 16,-14 14-16,0-1 15,14 13-15,-14-12 0,0 12 16,-13-13-16,13 1 0,-26 12 15,0 14 1,-13-14-16,12-13 16,1-13-16,0 14 15,26-41 17,0 14-17,40-14 1,-40 14-16,1 0 0,12 0 15,14-14-15,-27 14 16,14-13-16,-1-1 0,-13 14 0,0 0 16,1-14-16,-1 14 0,-13 0 15,13 0-15,-13-1 16,-13 1 0,0 26-1,-14 1 1,27-1-16,0 0 0,-13-13 15,13 13-15,0 0 16,13 1-16,-13-1 0,13 0 16,1-13-16,-1 13 15,0-13-15,0 0 0,1 0 16,-1 0-16,0 0 0,0 0 0,1 0 0,-1 0 16,0-13-16,0 0 0,0 13 15,1-27-15,-1 14 0,0 0 16,0-13-16,1 12 0,-1-12 0,0-1 15,0 1-15,-13-1 0,14 1 16,-1 0-16,0 12 0,-13 1 0,13-13 16,-13 12-1,-13 41 1,13-14-16,-13 14 16,13-14-16,0 13 0,0-13 15,0 14-15,-13-1 0,13-12 16,13-1-16,-13 13 0,0-12 0,0-1 15,0 0-15,0 0 0,13 0 0,-13 1 16,13-14-16,0 13 16,1-13-16,12 0 15</inkml:trace>
  <inkml:trace contextRef="#ctx0" brushRef="#br0" timeOffset="-126125.77">24196 8943 0,'27'0'16,"-14"-13"-16,13 13 0,1 0 0,-1-14 16,1 14-16,-1-13 0,14 13 15,-14 0-15,-12 0 0,12-13 0,-13 13 16,0 0-16,1 0 0,-1 0 0</inkml:trace>
  <inkml:trace contextRef="#ctx0" brushRef="#br0" timeOffset="-125534.11">22688 8983 0,'-13'13'16</inkml:trace>
  <inkml:trace contextRef="#ctx0" brushRef="#br0" timeOffset="-124821.02">22688 10041 0,'-66'0'15,"53"13"-15,-1-13 0,1 13 16,0-13-16,0 14 0,-1-1 15,1 0-15,0 0 16,26 1 0,0-14-1,14-14 1,-14 14-16,-13-13 0,13 13 16,1 0-16,-1 0 15,0 13 1,0 1-1,-13-1-15,14 0 16,-14 0-16,13-13 16,-13 13-16,13 1 15</inkml:trace>
  <inkml:trace contextRef="#ctx0" brushRef="#br0" timeOffset="-124337.52">23032 9829 0,'53'-13'16,"-27"13"-16,-12-13 15,-1 13-15,0 0 16,0 0-16,1-13 0,-1 13 16,0 13-1,-13 0 1,13 13-1,-13 27 1,0-39-16,0 39 16,0-14-1,0-26-15,0 1 16,0-1 0,0 0-16,-13 0 15,0-13-15,0 0 16,-1 14-16,1-14 15,-13 0-15,12 0 16,14-14-16</inkml:trace>
  <inkml:trace contextRef="#ctx0" brushRef="#br0" timeOffset="-124042.14">23270 9909 0,'0'53'16,"0"-27"-1,0-13-15,13 0 16,-13 1-16,14-14 0,-1 0 0,-13 13 16,13-13-16,13 0 15,1-13 1,-14 13-16,-13-14 0,13 1 15,-13 0 1,0 0-16,0 0 16,-13 13-16,13-14 0,-13 14 15,0 0-15,-1 0 0,1-13 16</inkml:trace>
  <inkml:trace contextRef="#ctx0" brushRef="#br0" timeOffset="-123631.04">23535 9697 0,'0'26'15,"0"1"-15,0-1 16,-14 1-16,14-14 16,0 0-16,-13 14 0,13-14 0,0 0 0,0 0 15,0 14-15,0-14 16,0 0-16,0 1 16,13-14-1,1 0 1,-1-14-16,0 14 0,0 0 15,1-13-15,12 13 0,-13 0 16,1-13-16,-1 13 0,0 13 0,0-13 16,0 0-16,14 13 15,-27 1 1,0-1-16,-13 0 16,-1 0-16,1 0 15,-13 1-15,13-14 0,-1 13 16,1-13-16,0 0 0</inkml:trace>
  <inkml:trace contextRef="#ctx0" brushRef="#br0" timeOffset="-122485.41">22066 7011 0,'-211'67'15,"171"-54"-15,0 13 0,1 1 16,-41 39-16,40-40 0,14 1 15,0-1-15,12 14 0,-12-14 16,-1 41-16,14-41 0,13 0 16,0 14-16,-13-13 0,13 12 0,0 1 15,13 0-15,-13-1 0,0 14 16,13-13-16,-13 0 0,14 13 0,-1 0 16,0 13-16,0-13 0,14-1 15,-14 15-15,0-1 0,27 53 16,0 13-16,-14-79 0,-13 13 15,1 0-15,12 0 0,0 67 16,-12-67-16,-1 0 0,0 0 16,0 0-16,1 14 0,-1-14 15,0 0-15,-13 0 0,13 0 16,-13 0-16,14 1 0,-14-1 0,0-13 0,0-14 16,0 14-16,-14-13 0,14 13 15,0-13-15,0-1 0,0 1 16,0-14-16,0 1 0,0-1 0,0-12 15,14 12-15,-14-13 0,0 14 0,13-14 16,-13 13-16,13-12 0,-13-1 16,13 13-16,0-12 0,1-1 0,-1 0 15,0 0-15,0 0 0,14-13 0,-14 14 16,13-1-16,1-13 16,-1 0-16,1 0 0,13 13 0,-14-13 0,27-13 15,0 13-15,-13 0 0,12-13 0,1 13 16,0-27-16,13 14 15,-13 0-15,0-14 0,0-12 0,13 12 16</inkml:trace>
  <inkml:trace contextRef="#ctx0" brushRef="#br0" timeOffset="-121096.92">24434 7038 0,'93'-27'16,"-40"14"-1,-40 13-15,0 0 0,14 0 0,-14 0 16,0 0-16,0 0 0,1 0 15,-1 0-15,0 13 16,-13 1-16,13-1 0,-13 0 16,0 0-16,0 1 0,0 12 15,0-13-15,14 14 0,-14-1 0,0 1 16,0 12-16,0 1 0,0 0 0,13-1 16,-13 1-16,13 0 0,-13-1 15,13 41-15,0-40 0,1 12 16,-1-12-16,0 13 0,0-13 0,1 13 15,12-14-15,-13 1 0,27 53 16,-14-40-16,1-14 0,-14 14 16,14-26-16,-14 12 0,13 1 15,-13-14-15,1 14 0,-1 0 16,0-14-16,0 14 0,1-14 0,-14 1 16,13-1-16,-13 1 0,0-1 15,0-13-15,13 14 0,-13-1 0,0 1 16,0-1-16,0-12 0,-13 12 0,13 0 15,0-12-15,0 12 0,0 1 16,0-14-16,0 13 0,0 1 0,0-1 16,-13-13-16,13 14 0,0-1 0,0 1 15,-14-1-15,14 1 16,0-14-16,-13 13 0,13 1 0,0-1 0,-13-12 16,13 12-16,0 1 0,-13-1 15,13 0-15,0 1 0,-14 13 0,14-14 16,0 0-16,0 1 0,0-1 15,0 14-15,0-13 16,0-1-16,0 0 0,0-12 0,0 12 16,0 1-16,14 12 0,-14-12 15,0-14-15,0 13 0,0-12 16,0-1-16,0 13 0,0 1 16,0-14-16,0 0 0,0 0 15,0 1-15,-14-1 0,14 0 16,0 0-16,-13 1 0,13-1 15,-13-13-15,13 13 0,-13 0 16,0 1 0,13-1-16,-14-13 15,1 0-15,13 13 16,-13-13 0,0 0-16,-1 0 0,1 0 15,0 13-15,0-13 16,0 0-16,-1 13 15,1-13-15,0 0 0,0 14 0,-1-1 16,-12 0-16,13-13 0,-27 27 16,14-14-16,-1 13 0,-39 14 15,26-27-15,-13 14 0,14-1 16,-1 1-16,0-1 0,-13 1 16,-26 12-16,39-12 0,1-14 15,12 13-15,-13 1 0,1-14 0,-14 27 16,26-14-16,1-13 15,13 1-15,-1-1 0,1-13 0,-13 13 16,26 0-16</inkml:trace>
  <inkml:trace contextRef="#ctx0" brushRef="#br0" timeOffset="-109358.28">14989 4088 0,'0'-13'0,"13"39"16,0-13-16,0 27 0,1-14 16,12 27-16,14 66 15,-27-52-15,0 12 0,-13-13 0,13 0 16,-13 14-16,0-14 0,0 0 0,0 106 16,0-119-16,-13-14 15,0 41 1,13-54-16,0 1 0,0-14 0,-13 27 15</inkml:trace>
  <inkml:trace contextRef="#ctx0" brushRef="#br0" timeOffset="-108685.14">15028 3969 0,'503'-53'0,"-344"40"16,-80-1-16,1 14 16,-1 0-16,0 0 0,-26 0 0,13 0 0,-13 0 15,-13 0-15,13 0 0,-27 0 16,1 14-16,-1-14 0,1 13 15,-14 0-15,13-13 0,-12 27 0,-1-14 16,0 0-16,0 13 0,-13-12 0,14 12 16,-1 1-16,0 12 0,0 1 15,14 26-15,-14-26 0,0-1 16,0 1-16,1 0 0,12 0 0,-13-1 16,1 1-16,12 0 0,0 26 15,-12-27-15,12-12 16,-13 13-16,1-14 0,12 0 0,-26 1 15,13-1-15,1-12 0,-14-1 16,13 0-16,-13 0 0,0 14 16,0-14-16,0 0 0,-13 0 15,-1 1-15,1-1 16,0 0-16,0-13 0,-67 40 16,27-27-16,0 14 0,-13-14 15,0 13-15,-13-13 0,-1 14 0,-26-1 16,1 1-16,-1-14 0,26 14 0,-118 12 15,119-12-15,-14-14 16,14 0-16,13 0 0,-1 1 0,14-14 16,14 13-16,12-13 0,1 0 15,-1 0-15,14 0 0,0 0 16,0-13-16</inkml:trace>
  <inkml:trace contextRef="#ctx0" brushRef="#br0" timeOffset="-107698.48">16880 4485 0,'27'0'16,"-1"0"-1,-12-14-15,-1 14 0,13 0 0,1 0 16,-1-13-16,1 13 0,-1 0 0,1-13 15,-1 13-15,0 0 0,-12-13 16,12 13-16,-13 0 0,14 0 16,-14 0-16,0 0 0,1-13 0,-1 13 15</inkml:trace>
  <inkml:trace contextRef="#ctx0" brushRef="#br0" timeOffset="-107425.2">17264 4286 0,'13'0'0,"1"0"15,38 13 1,-38 1-16,-1-1 0,0 0 15,0 0-15,-13 1 0,14-1 0,-1 0 16,-13 0-16,0 1 0,13-1 0,-13 0 16,-13 0-16,13 14 0,-13-14 15,13 0-15,-27 0 0,14 14 0,0-14 16,-1 0-16,-12 1 0,13-1 0</inkml:trace>
  <inkml:trace contextRef="#ctx0" brushRef="#br0" timeOffset="-105011.64">2249 9379 0,'331'-39'0,"-265"39"15,13 0-15,-13-13 0,14 13 0,-14 0 16,13-14-16,-13 14 15,1 0-15,-1-13 0,0 13 0,-13 0 16,0-13-16,0 13 0,-1-13 0,1 13 16,0-14-16,0 14 0,-13-13 15,13 13-15,-13-13 0,-1 13 0,1-13 16,0 0-16,-14 13 0,1-14 0,-1 1 16,0 13-16,1-13 0,-14 0 15,27-1-15,-27 1 16,0 13-16,1-13 0,-1 0 0,0-1 0,-13 1 15,13 0-15,0-13 16,1 12-16,-14 1 0,13 0 0,-13-14 16,0 14-16,13-27 0,-13 14 15,-13 13-15,13-14 0,0 1 16,-13-1-16,13 1 0,-14-14 0,1 14 16,0-14-16,0 14 0,13-14 15,-13 13-15,-1-12 0,1 12 16,0-12-16,13 12 0,-13 1 0,-1-14 15,1 27-15,0-27 0,0 27 0,-1-14 16,-12 1-16,13 0 0,-14 12 16,1-12-16,-1 13 0,-39-27 15,40 27-15,-1-1 0,-12 1 16,-1 13-16,0-13 0,-13 0 0,14 13 16,-1-13-16,-13 13 0,13 0 15,1-14-15,-14 14 0,13 0 0,0-13 16,1 13-16,-1 0 0,0 0 0,14 0 15,-14 0-15,14 0 0,-14 0 16,0 0-16,14 0 0,-27 0 16,0 0-16,13 0 0,-52 13 15,39 1-15,13-14 0,-13 13 0,14-13 16,-14 13-16,13 0 0,-66 14 16,66-27-16,-13 13 0,14 0 15,-1 0-15,0 1 0,14-1 16,-40 0-16,53 0 0,-27 1 15,13-1-15,1-13 0,13 13 0,-14 0 16,14 0-16,-27 14 0,27-1 16,0-12-16,0-1 15,-1 13-15,14 1 0,-13-14 0,0 13 16,13 1-16,-13-1 0,13 27 16,-13-40-16,13 14 0,0-1 15,0 14-15,-14-13 0,14-1 0,0 27 16,0-27-16,0 1 0,14 26 15,-14-14-15,0-12 16,13 13-16,0 13 0,-13-14 16,13-12-16,0 12 0,1-12 15,12-1-15,-13 1 0,1-14 16,-1 13-16,13-12 0,-12-1 0,65 27 16,-53-27-16,1 0 0,-1-13 15,1 0-15,-1 13 16,1-13-16</inkml:trace>
  <inkml:trace contextRef="#ctx0" brushRef="#br0" timeOffset="-99111.11">2143 10451 0,'0'-13'15,"-13"13"1,0 66 0,13-26-16,0 92 15,13-26 1,-13-53-16,26 53 0,14-1 16,53 67-1,-40-119 1,-27-26-16,0-1 0,1-13 0,-1 1 15,1-14-15,-1 13 16,-12-13-16,12 0 0,0-13 0,1-1 16,-1 1-16,1-13 0,26-27 15,-27 26-15,1-26 0,-14 14 16,0-14-16,0 0 0,-13-13 0,0 13 16,-13-13-16,0 13 0,0-13 15,-14 13-15,1-13 0,-1 26 16,-12-13-16,-14 13 0,13 1 0,0 12 0,-13 1 15,-13-1-15,13 14 0,0 0 16,14 13-16,-14-13 0,13 13 16,0 0-16,14 0 0,13 0 15,0 0-15,-1 13 16,28 0-16,-1 13 0,13 1 16,1-1-16,65 54 0,-52-27 15,0-14-15,13 14 0,-1 0 16,-12-13-16,13 13 0,-13 0 0,-1 0 15,1-14-15,0 14 0,0 0 0,-14-13 16,0 13-16,1 0 0,-1-14 16,-12 1-16,-1 0 0,0-14 0,0 14 15,1 0-15,-1-14 0,-13 14 16,0-27-16,13 13 0,0 14 16,-13-27-16,0 14 0,13-14 0,-13 0 15,14 0-15,-1-13 16,0-13-1,0 13-15,1-13 0,-1 13 16</inkml:trace>
  <inkml:trace contextRef="#ctx0" brushRef="#br0" timeOffset="-98705.14">3228 11073 0,'53'-13'0,"0"13"16,-27 0-16,1 0 0,105-14 16,-106 14-16,14 0 15,0 0-15,-1 0 0,54 0 16,-66 0-16,-14-13 15,26 13-15,-25 0 16,-1 0-16,0 0 16</inkml:trace>
  <inkml:trace contextRef="#ctx0" brushRef="#br0" timeOffset="-98337.06">3585 10795 0,'-13'13'15,"39"0"-15,27 27 16,-13-27 0,-14 1-16,41 12 0,-28-13 15,-12 1-15,12-1 0,-12 0 16,-1 0-16,-12 0 0,12 1 0,0 12 16,-12 1-16,-14-14 15,13 0-15,-26 0 0,13 14 16,-14-1-16,1 1 0,-13-1 0,13 1 0,-14-1 15,1 0-15,-1 1 0,1-1 16,-1 1-16,1-14 0,-1 0 16,-12 14-16</inkml:trace>
  <inkml:trace contextRef="#ctx0" brushRef="#br0" timeOffset="-97045.33">5040 10306 0,'0'-14'16,"0"54"0,0-27-1,0 14-15,0-1 0,0 14 0,-13 0 16,13 12-16,-13 94 15,13-93-15,-13-13 0,13 12 16,-14-12-16,14 0 0,0-14 16,-13 14-16,13-27 0,0 14 0,-13 12 15,13-25-15,0-1 16,0 0-16,-13-13 0</inkml:trace>
  <inkml:trace contextRef="#ctx0" brushRef="#br0" timeOffset="-96551.33">4855 10425 0,'27'-27'15,"-14"14"-15,-53 53 0,106-93 0,-53 53 0,1 0 16,12-14-16,1 14 0,-14 0 16,13 14-16,1-14 0,-1 13 0,-13 0 15,27 14-15,-27-14 0,-13 13 16,0 1-16,0-14 0,0 13 15,-26 41-15,13-28 0,-14-12 16,1-1-16,-27 27 16,40-26-16,-14-1 0,1-13 0,12 0 15,1 1-15,0-14 0,0 13 16,0-13-16,13 13 0,-14-13 0,1 13 16,26 1-1,-13-1-15,14-13 16,-1 13-16,-13 0 15,13 1-15,13-1 0,-12 0 0,-1 0 16,0 0-16,14 1 0,-14-1 0,0 0 16,14 0-16,-14-13 15,0 14-15,0-1 0,0-13 0,1 13 16,12-13-16,-13 0 0</inkml:trace>
  <inkml:trace contextRef="#ctx0" brushRef="#br0" timeOffset="-95930.15">5411 10755 0,'-27'-13'0,"1"26"0,-1 1 16,14-1-16,13 0 15,-13 0-15,0 0 0,-14 27 16,14 26 0,13-52-1,13-14-15,-13 13 0,0 0 0,27 0 31,-14 0-31,13-26 16,-12 13-16,-1-13 0,0 0 16,0 0-16,1-1 0,-14 1 15,13 0-15,-13 0 0,13 13 0,0-40 16,0 27 0,-13-1-1,0 41 1,14-1-1,-14-12 1,0-1-16,0 0 0,0 14 16,13-27-1,-13 13-15,13 0 0,0-13 16</inkml:trace>
  <inkml:trace contextRef="#ctx0" brushRef="#br0" timeOffset="-95499.98">5609 10782 0,'13'13'31,"-13"0"-31,14 0 16,-1 14-1,-13-1-15,0-12 16,13-1 15,0-26 0,1-1-15,-1 1 0,13 13-1,-13 0-15,1 13 16,-1 1 0,-13-1-1,13 0-15,0-13 16,-13 13-16,14-13 0</inkml:trace>
  <inkml:trace contextRef="#ctx0" brushRef="#br0" timeOffset="-94878.7">6125 10345 0,'0'40'0,"0"13"16,0-13-16,0-1 16,0 1-16,0 0 0,0 12 0,0-12 15,0-13-15,0 12 0,0-12 0,0-1 16,0 1-16,13 12 15,-13-25-15,0-1 0,0 0 0,14 0 16,-14 1-16,13-1 16,-13-40-1,-13 1 1,13 13 0,-14 13-16,14-14 0,-13 1 0,0 13 15,13-13-15,-13 13 0,-1 0 16,1 0-16,0 0 0,0 0 0,-1 0 15,1 13-15,0-13 0,0 13 16,-14 1-16,14-1 0,0 0 16,13 0-16,0 1 0,0-1 15,0 0-15,26 0 16,-12 0-16,-1-13 16,0 0-16,13 0 0,-12-13 0,12 13 15,-13 0-15,14 0 0,-1 0 16,-12-13-16,12 13 0</inkml:trace>
  <inkml:trace contextRef="#ctx0" brushRef="#br0" timeOffset="-94498.2">6469 10716 0,'-13'-14'16,"0"28"0,-1 12-1,1-13-15,13 1 0,0-1 16,-13 0-16,13 13 16,13-12-1,-13-1-15,0 0 0,13-13 0,-13 13 0,14-13 0,-1 0 16,0 14-16,0-14 15,1 0-15,-1-14 16,0 14-16,-13-13 0,13 13 0,-13-26 16,0 12-1,0 1-15,0 0 0,0 0 0,-13-14 16,0 27-16,0-13 0,13 0 16,-14 13-16,1 0 15,0-13-15,0 13 0,-14 13 16,14-13-16,0 13 15</inkml:trace>
  <inkml:trace contextRef="#ctx0" brushRef="#br0" timeOffset="-93901.06">6601 10676 0,'14'0'0,"-1"0"15,-13 13-15,0 0 16,0 1 0,0-1-16,0 0 15,0 0 1,0 1-16,13-1 31,0-26-15,14-1-1,-27 1 1,13 13-16,0-13 16,14 13-1,-14 0 1,-13 13-16,13-13 15,-13 13-15,13 1 16,-13-1 0,14-13 15,-1 0-15,0-27-1,0 27-15,-13-13 0,13 13 16,-13-13-16,14 13 15,-1-13 1,0 13-16,0 13 0,1-13 16,-14 13-16,13 0 15,0-13-15,-13 14 16,13-1-16,1 0 16</inkml:trace>
  <inkml:trace contextRef="#ctx0" brushRef="#br0" timeOffset="-93141.05">8004 10795 0,'-14'13'16,"-12"-13"-1,13 0-15,-14 0 16,14 0-16,0-13 0,-14 13 0,-26-40 16,40 27-1,-13 0-15,13-14 0,-14 1 16,14-1-16,0 1 0,-1 0 0,1-14 15,0 0-15,0 14 0,13-14 0,0 0 0,0 1 16,0-1-16,0 0 16,13 1-16,-13-1 0,13 13 0,0 1 15,1 13-15,-14 0 0,13-1 0,0 1 16,0 0 0,1 26-16,-14 27 15,0-14 1,-27 54-1,14-41-15,-14-12 0,14 12 0,-13 1 0,-1 0 16,1 13-16,-1-14 16,1 1-16,-1 0 0,-12-1 0,12 1 0,14-13 15,-13-1-15,-1 1 0,14-1 16,0 0-16,-14 14 16,27-27-16,13-13 15,1 0 1,65-26-1,-53 13-15,14-1 0,0 1 0,0 0 16,-1 0-16,14 0 0,-13-14 16,0 14-16,65-14 15,-78 14-15,-14 13 0,0-13 16,14 13-16,-14-13 0,13 13 16,-12 13-1</inkml:trace>
  <inkml:trace contextRef="#ctx0" brushRef="#br0" timeOffset="-92537.72">9009 10041 0,'0'-13'0,"0"39"16,13 14 0,-13-14-16,0 1 15,0 12-15,0 14 0,0-13 0,0 0 16,0 13-16,0 79 15,0-92-15,0 79 16,0-93-16,0 27 16,0-26-16,0-14 0,0 0 0,0 13 15,0 1 1,0-14-16,0 0 16,0 1-16</inkml:trace>
  <inkml:trace contextRef="#ctx0" brushRef="#br0" timeOffset="-92025.31">9022 10001 0,'119'-66'16,"-92"79"-16,13-13 0,26 27 15,-27-14-15,-12 13 0,-14 1 0,13-1 16,-26 1-16,0-1 0,0 1 0,0 12 15,-13-12-15,-13 13 0,13-1 16,-14 1-16,1-14 0,-1 1 0,-12-1 16,-41 41-1,27-28-15,40-26 0,-40 1 16,40-1 0,0 0-16,-1-13 0,14 13 15,0 1 1,0-1-16,14 0 15,-1 0-15,0 14 0,0-14 0,1 13 0,-1-12 16,13 12-16,-13-13 0,14 14 16,26 12-1,-27-25-15,-12-1 0,12 0 0,-13-13 0,14 13 16,12 1 0,-12-14-16,-14 0 0,27 0 15</inkml:trace>
  <inkml:trace contextRef="#ctx0" brushRef="#br0" timeOffset="-91487.05">9565 10769 0,'26'-14'0,"1"-12"15,-27 13 1,13-1-16,0 14 0,-13-13 0,13 0 16,-13 0-16,14-27 15,-14 27-15,0 0 0,0-1 16,0 1-16,0 0 15,-14 0 1,1 39 0,13-13-16,-13 14 15,13-14-15,0 13 0,0-12 0,0-1 16,0 0-16,13 0 0,-13 1 16,13-1-16,1 0 0,-1 0 0,0 1 15,0-14-15,14 0 0,-14 13 0,0-13 16,0 0-16,14 0 0,-14-13 15,40 13-15,-40-14 16</inkml:trace>
  <inkml:trace contextRef="#ctx0" brushRef="#br0" timeOffset="-90976.86">10001 10306 0,'0'-14'0,"-13"41"16,0-14-16,13 13 0,0 1 16,-13 13-16,-1 39 15,14-39-15,-13 13 0,0-1 16,13-12-16,-13 13 0,13-13 0,-14 13 16,14-14-16,0 1 0,-13 39 15,13-52-15,0 13 0,0-14 16,13 0-16,-13 1 0,0-14 15,0 14-15,0-14 0,0 0 0,0 0 16,0 1-16,0-1 0,0 0 16,0-53 15,0 14-31,0-1 0,0 1 16,14-67-16,-14 40 0,0 1 15,13-15-15,0-65 16,14 66-16,-14 39 15,0 1-15,-13 13 0,13 0 0,0-1 16,1 1-16,12 13 16,1 13-1,-14 1 1,-13-1-16,0 0 0,0 0 0,0 0 0,-13 1 16,-1 12-16,1-13 0,0 1 0,0-1 15,-14 0-15,14 0 0,-13 1 16,12-1-16,1-13 0,0 13 15,0-13-15</inkml:trace>
  <inkml:trace contextRef="#ctx0" brushRef="#br0" timeOffset="-90569.55">10186 10464 0,'14'14'15,"-1"12"1,-13-13-16,0 0 0,0 40 15,0-26-15,0-14 16,0 13-16,0 1 0,-13 26 16,13-40-16,-14 27 15,14-27 1,0-39 15,14 12-31,-14 1 0,0 0 16,13-14-16,0 1 0,27-53 15,-27 52-15,0 14 16,1-14-16,25 1 16,-26 13-16,1 13 0,-1 0 15,0-13-15</inkml:trace>
  <inkml:trace contextRef="#ctx0" brushRef="#br0" timeOffset="-89933.92">10398 10742 0,'40'-26'0,"-27"12"0,0 14 0,-13-13 15,14 0-15,-1 0 0,-13-1 16,13 1-16,0 0 0,-13 0 0,0 0 16,13-1-16,-13 1 0,0 0 0,14 13 15,-14-13-15,-27 26 32,27 0-17,0 0 1,-13 1-16,13-1 0,0 0 0,0 13 15,0-12-15,13-1 16,-13 0-16,13 0 0,1 1 16,-1-14-16,0 13 0,0-13 15,40 0-15,-40 0 16,14 0-16</inkml:trace>
  <inkml:trace contextRef="#ctx0" brushRef="#br0" timeOffset="-89594.21">10861 10478 0,'0'0'0,"-40"0"0,27 0 0,0 13 0,0-13 15,0 0-15,13 13 16,0 0-1,13 14 1,0-14-16,0 0 0,0 0 0,1 1 0,-1-1 16,13 0-16,-12 0 0,-14 0 15,13 1-15,13 12 16,-26-13-16,14-13 0,-14 14 16,-14-1-16,1 0 0,-27 14 15,14-14 1,-1-13-16,-39 26 15,53-26-15,0 0 0,0 13 16,-1-13-16,1-13 16</inkml:trace>
  <inkml:trace contextRef="#ctx0" brushRef="#br0" timeOffset="-88713.6">11046 10702 0,'27'-26'0,"-14"26"0,0-13 0,0-1 0,1-12 15,-14 13 1,0 0-16,13 13 0,-13-14 15,0 1-15,0 0 16,0 0-16,-13-1 16,-1 28 15,14-1-31,-13-13 0,13 13 16,0 0-16,0 1 15,13-14-15,-13 13 0,14 0 16,-14 0-16,26-13 31,-13 0-31,14 0 16,-14 0-1,14 0 1,-14 0-16,13 13 16,-13-13-1,1 14 1,-1-14-1,0 0 1,0-14 0,1 1-1,-1 13 1,-13-13-16,26 13 16,-12 0-16,-1-13 15,0 26-15,0-13 16,0 0-16,1 13 15,-1-13-15,0 13 16</inkml:trace>
  <inkml:trace contextRef="#ctx0" brushRef="#br0" timeOffset="-88489.25">11681 10253 0,'0'0'0,"0"-27"0,0 14 16,0 39 15,0-12-31,-13 52 16,13-13 0,0-27-16,0 40 15,0-39-15,13 26 16,-13-27-16,0-13 0,14 1 15,-14-1-15</inkml:trace>
  <inkml:trace contextRef="#ctx0" brushRef="#br0" timeOffset="-88281.83">11470 10491 0,'0'-13'0,"39"-1"16,-25 14 0,-1-13-16,40 13 15,-27 0-15,1-13 0,-1 13 16,1 0-16,-1 0 0,1-13 0,-1 13 16,0 0-16,-12 0 0,12 0 15</inkml:trace>
  <inkml:trace contextRef="#ctx0" brushRef="#br0" timeOffset="-87325.35">11972 10464 0,'0'-13'0,"-13"13"0,-13 0 31,12 13-31,1-13 0,-13 27 16,13-14-16,-1-13 16,-12 53-1,26-40-15,13 14 32,0-27-32,1 0 0,-1 0 0,0 0 15,0 0-15,0-14 0,1 14 16,-1-13-16,0 13 0,27-26 15,-27 26-15,0-14 0,1 1 16,-1 13 0,0 0-1,-13 13 1,0 1 0,13-1-1,0 0-15,1 0 16,-1-13-16,-13 14 0,13-14 0,0 0 15,14 0-15,-14 0 16,0-14 0,1 1-16,-1 0 0,13-27 15,-26 27-15,13-13 16,-13-1-16,27-26 16,-27 27-16,13-1 0,-13 1 0,0-1 15,13 1-15,-13 13 0,0-1 0,0-12 16,14 13-16,-14-1 15,0 1-15,-27 40 32,14 12-17,13-12-15,-13 13 16,-1-14-16,14 27 0,0-40 0,0 14 16,0 26-1,0-40-15,14 0 0,-1 0 16,0 0-16,0-13 15,27 14 1,-27-14-16,0-14 0,1 14 0,-1-13 16,13 0-16,-12 13 0,-1-13 0,-13 0 15,13-1-15,0 1 0,1 0 16,-1 13-16,-13-13 0,26-1 16,-13 1-1,-13 26 1,0 1-1,0-1-15,0 0 16,0 0-16,0 1 16</inkml:trace>
  <inkml:trace contextRef="#ctx0" brushRef="#br0" timeOffset="-87161.88">12740 10266 0,'0'-13'0,"0"26"15</inkml:trace>
  <inkml:trace contextRef="#ctx0" brushRef="#br0" timeOffset="-86961.01">12171 10345 0,'26'0'31,"27"-13"-16,-40 13-15,67 0 16,-54 0-16,-13 0 0,40 0 16,-26 0-16</inkml:trace>
  <inkml:trace contextRef="#ctx0" brushRef="#br0" timeOffset="-86281.63">12793 10358 0,'13'0'31,"0"14"-31,0-1 16,-13 0-16,0 0 16,14-13-16,-14 14 0,0-1 15,13-13-15,-13 13 0,13-13 16,-13 13-16,13 1 15,0-14 17,-13-14-17,14 1 1,-14 0-16,13 13 0,-13-13 16,13-1-1,0 1-15,1 13 16,-14-13-1,13 13-15,0 0 0,14-13 16,-14 13-16,0-14 16,0 14-16,0-13 0,1 13 0,25-13 15,-25 0-15,-1 0 16,0-1 0,-26 1-1,0 26 1,-1-13-16,1 14 15,0-14-15,13 13 0,-13 0 16,13 0 0,13 0-16,0 1 15,0-1-15,1-13 16,-1 0-16,0 0 0,0 0 16,0 0-16,1 0 0,25 0 15</inkml:trace>
  <inkml:trace contextRef="#ctx0" brushRef="#br0" timeOffset="-83503.05">3162 9459 0,'0'-13'47,"26"26"-47,-13-13 16,1 0-16,52 26 15,-26-12-15,-1-14 0,1 13 16,13 0-16,92 0 16,-79 0-16,93 1 15,-93-1-15,-13-13 16,0 0-16,0 13 0,53-13 15,-13 13-15,-67-13 16,14 14-16,-14-14 0,1 0 0,-14 0 16,13 13-16,14-13 15,-27 0-15,0 0 0,1 13 16,-1-13 0</inkml:trace>
  <inkml:trace contextRef="#ctx0" brushRef="#br0" timeOffset="-82659.42">4326 9406 0,'-13'0'0,"-1"13"15,28 0 1,-14 1-1,13-1 1,0 0 0,-13 0-16,13 1 0,-13-1 0,14-13 15,-1 13-15,0 0 0,-13 0 16,40 27-16,-14-13 16,-13-14-16,1 0 0,12 14 15,-13-27-15,1 13 16,-14 0-16,13-13 0,0 13 0,0 0 15,-13 1-15,14-1 16,-14 0 0,0 0-1,-14 1-15,1-1 16,0 0-16,-27 13 16,27-26-16,-27 27 15,27-14-15,13 0 16,-13-13-16,0 14 0,-1-14 15,1 0-15,13 13 0,-13-13 0,0 13 16,-1-13 0,1 13-16,0-13 31</inkml:trace>
  <inkml:trace contextRef="#ctx0" brushRef="#br0" timeOffset="-81474.78">4815 11364 0,'-13'0'15,"53"-13"-15,-27 13 0,93 0 16,-53 0-16,0 0 0,13 0 15,-13-14-15,132 14 16,-119 0-16,0-13 0,80 0 16,-67 13-16,-13-13 0,1 13 15,118-27 1,-132 27-16,0 0 0,-1-13 16,-12 13-16,0 0 0,0-13 0,-27 13 15,13 0-15,14 0 16,-27 0-16,0 0 15,1 0-15</inkml:trace>
  <inkml:trace contextRef="#ctx0" brushRef="#br0" timeOffset="-81182.13">5450 11496 0,'106'-26'0,"-66"12"0,92-12 15,-26 13-15,-53 0 16,40-1-16,-41 14 15,54-13-15,-92 13 16,12 0-16,-13-13 0,14 13 16,-14 0-16,0 0 0,14 0 15</inkml:trace>
  <inkml:trace contextRef="#ctx0" brushRef="#br0" timeOffset="-77774.88">11139 11007 0,'66'-40'0,"-39"27"0,-1 13 16,14-13-16,105-14 15,-92 14-15,0 0 16,172-14 0,-132 14-16,-41 13 0,-12-13 15,13 13-15,-26 0 16,-1 0-16,-13 0 0,27 0 16,-27 13-1</inkml:trace>
  <inkml:trace contextRef="#ctx0" brushRef="#br0" timeOffset="-77526.26">11523 11033 0,'105'-13'15,"-52"0"-15,-13 13 0,0-14 0,13 14 16,0-13-16,39 0 16,-39 13-16,-13-13 0,-1 13 0,1 0 15,-13-13-15,26 13 16,-27 0-16,-13 0 0,0-14 16,1 14-16,-1 0 15</inkml:trace>
  <inkml:trace contextRef="#ctx0" brushRef="#br0" timeOffset="-74462.35">12793 7699 0,'0'-13'62,"0"0"-46,0 0-16,0-1 0,0 1 0,0-13 15,-14-1-15,14-12 16,-13 12-16,13 1 0,-13-67 16,0 67-16,13-1 15,0 1-15,0-1 0,-14-39 16,14 53-16,0-27 16,0 27-16,0 0 15,0 0-15,-13-1 16,0 14 31</inkml:trace>
  <inkml:trace contextRef="#ctx0" brushRef="#br0" timeOffset="-74166.36">12674 7117 0,'-27'14'16,"14"-1"-16,0 0 0,13 0 0,-27 14 15,14-1-15,0-13 0,-1 1 16,1 12-16,0-13 0,0 0 0,0 40 15,-1-39-15,14-1 16,-13 13 0,0-12-16,13-1 15,0 0-15</inkml:trace>
  <inkml:trace contextRef="#ctx0" brushRef="#br0" timeOffset="-73876.27">12687 7131 0,'26'-14'15,"-13"14"-15,14 0 0,-14 0 16,40 0 0,-40 14-16,1-14 0,25 13 15,-26-13-15,1 0 16,-1 0-16,0 13 0,0-13 0,1 0 16,-1 0-1,-13 13-15,13-13 16</inkml:trace>
  <inkml:trace contextRef="#ctx0" brushRef="#br0" timeOffset="-46013.79">5503 11919 0,'14'-13'0,"-1"26"93,-13 1-93,0 12 16,13-13 0,-13 14-1,0-14-15,13 14 0,-13-14 16,0 0-1,13-13 1,-13 13-16,27-26 16,-1 0-1,-12 0 1,25-14-16,-25 14 0,25 0 0,-12-1 16,-1 1-16,80-40 15,-66 27-15,52-14 16,-79 27-16,14 13 15,-14-13-15,14-1 16,-14 14-16,0-13 16,0 13-1,1 0 1</inkml:trace>
  <inkml:trace contextRef="#ctx0" brushRef="#br0" timeOffset="-39776.1">11126 11007 0,'-14'0'0,"41"-14"94,-14 14-79,0 0-15,1 0 16,12-13-16,1 13 0,25-13 16,-12 13-1,-13 0-15,26-13 16,-40 13-16,13 0 0,-13 0 16,1-13-16,-1 13 0,0 0 15,0 0-15</inkml:trace>
  <inkml:trace contextRef="#ctx0" brushRef="#br0" timeOffset="-39198.13">11258 11099 0,'26'0'16,"1"-13"-16,-14 13 0,0 0 0,1 0 16,12 0-16,-13 0 0,53-13 15,-39 13-15,-1-13 16,-12 13-16,12 0 0,27-14 15,-40 14-15,14 0 0,26-13 16,-40 13-16,0 0 16,0 0-16,14 0 15</inkml:trace>
  <inkml:trace contextRef="#ctx0" brushRef="#br0" timeOffset="-33829.28">10795 11417 0,'-13'-13'0,"0"26"0,-14 13 15,14-26-15,13 13 16,-13 1-16,-1-1 0,-39 27 16,40-14-1,0-13-15,0 1 0,0-1 0,-1 0 0,1 0 16,0 0-16,13 1 0,-13-1 15,-14 13 1,27-12-16,-13-14 0,13 13 0,-13-13 0</inkml:trace>
  <inkml:trace contextRef="#ctx0" brushRef="#br0" timeOffset="-33536.57">10504 11443 0,'13'0'0,"14"0"15,26 13 1,-40-13-16,13 14 0,1-14 0,39 39 16,-53-25-16,14-1 15,-14 0-15,13 0 0,-13 1 16,27 25-16,-27-39 16,-13 13-16,14 1 0</inkml:trace>
  <inkml:trace contextRef="#ctx0" brushRef="#br0" timeOffset="-25386.12">5596 12554 0,'0'-13'16,"13"26"46,-13 1-46,0-1-16,0 13 16,13-12-1,-13-1 1,0 0-1,14 0 1,-1-26 0,27 0-1,-27 0-15,0-1 16,0 1-16,40-13 16,-26 12-16,26-12 15,-14 0-15,-12 12 0,-1 1 0,-13 0 0,27-14 16,0 14-1,-14 0-15,-13 0 0,1 13 16,12-14 0,-13 1-16,1 13 15,-14-13-15,13 13 16</inkml:trace>
  <inkml:trace contextRef="#ctx0" brushRef="#br0" timeOffset="-9419.03">13097 9750 0,'-13'0'0,"-1"0"46,1 0-30,40 13 31,-1-13-31,-13 13-16,1-13 0,25 0 15,-26 14-15,1-14 16,-1 0-16,0 13 0,40 0 15,-40 0-15,1 0 16,-1 1 0,-13-1-16,13 0 0,-13 0 0,0 1 0,13 39 15,-13-40 1,0 13-16,0 1 0,0-1 0,-13 80 16,13-66-1,0-1-15,0 1 0,-13 39 16,13-39-16,0 0 0,0 0 15,0-1-15,0 93 16,0-92-16,-13 13 0,13-13 16,0 92-1,0-92-15,0-1 0,-14 1 0,14 79 16,-13-92-16,13 52 16,0-53-16,-13 54 15,13-67-15,0 14 16,0-14-16,0 13 15,-13 14-15,13-14 16,0-12-16,0 12 16,0-13-16,0 1 15,0-1 1,0 0-16,-14 0 16,1-13-1,0 13 1,0-13-16,-14 14 15,1-14-15,-1 13 0,-65 0 16,26 0-16,-1 14 0,1-14 16,-13 0-16,0 14 0,-120 26 15,93-27-15,0 1 0,14-14 16,12 13-16,-92 1 16,93-14-16</inkml:trace>
  <inkml:trace contextRef="#ctx0" brushRef="#br0" timeOffset="-6315.27">5834 10213 0,'13'-13'31,"-13"-1"-31,14 14 16,-14-13-16,13 13 0,0-13 15,0 0 1,0 13-16,-13-13 0,14 13 0,12-27 16,-13 27-16,1-13 0,-1 0 15,0 13-15,53-40 16,-53 27-16,14-1 0,52-25 15,-52 12 1,12 14-16,1 0 0,-13 0 16,12-14-16,1 14 0,0 0 0,-1-1 15,107-38-15,-106 38 16,12-12-16,134-27 16,12 0-1,14 0 1,-146 40-16,146-40 15,-146 40-15,13 0 0,-13-1 0,14 1 16,-14-13-16,13 12 0,-13 1 16,159-13-1,-145 12-15,-1 1 0,-13 0 0,13 13 16,-12-13-16,12 13 0,-13-13 0,13-1 16,-12 14-16,158-26 15,-80 26-15,-79-13 16,0 13-16,0-14 0,14 14 15,131-13 1,-144 13-16,-1 0 0,66-13 0,-66 13 16,0 0-16,14-13 0,105 13 15,-119 0 1,-13-13-16,26 13 0,54 0 16,-80 0-16,26 0 0,-13-14 15,-13 14-15,13 0 0,-13 0 0,13 0 16,-13 0-16,13 0 0,106 0 15,-106 0-15,-13 0 16,14 0-16,-15 0 0,120 0 16,-119 0-16,13 0 15,-13 0-15,0 0 0,106 14 16,-106-14-16,0 0 0,13 0 16,-13 0-16,0 13 0,0-13 15,0 0-15,0 0 0,105 13 16,-105 0-16,0-13 15,0 0-15,0 13 0,0-13 0,0 14 16,92-1 0,41 13-1,-41 1 1,-105-27-16,13 13 0,-14 0 0,1 0 16,13 1-16,-27-1 0,14 0 0,0 0 15,0 1-15,-1-1 0,1 0 0,0 0 16,52 27-1,-65-27-15,-1 0 0,27 1 16,-40-1-16,14 0 0,-1-13 16,-13 13-16,54 14 15,-54-27-15,0 13 0,0-13 16,0 0-16,1 13 0,-1-13 0,0 14 16,0-14-1,1 0-15,-1 13 16,0-13-1</inkml:trace>
  <inkml:trace contextRef="#ctx0" brushRef="#br0" timeOffset="-5722.45">14565 9446 0,'14'13'16,"12"13"-1,-13-12-15,14 25 16,-27-26-16,13-13 0,0 14 16,0-1-16,1 0 0,-14 0 0,13-13 15,0 14-15,0-1 16,1 0-16,-1 0 0,0 1 15,0-1 1,0 0 0,-13 0-1,-13-13 1,13 13 0,-13 1-16,0-1 0,-40 13 15,26 1-15,1-14 16,-14 0-16,14 14 0,-1-14 15,-12 0-15,12 0 0,1 14 0,-40-1 16,39-12-16</inkml:trace>
  <inkml:trace contextRef="#ctx0" brushRef="#br0" timeOffset="10653.58">13401 11972 0,'0'-13'32,"13"26"15,-13 1-47,14-1 0,12 40 15,-13-27-15,1 1 16,-1 12-16,0-25 0,-13 12 0,26 14 15,-12-1 1,-1-25-16,0 12 16</inkml:trace>
  <inkml:trace contextRef="#ctx0" brushRef="#br0" timeOffset="11681.11">14221 11708 0,'0'26'15,"-13"40"1,0-26-16,13 0 16,-27 66-1,14-80-15,0 14 0,0-1 0</inkml:trace>
  <inkml:trace contextRef="#ctx0" brushRef="#br0" timeOffset="13464.81">15015 11787 0,'13'-13'0,"-13"0"15,-39 52 17,25-12-17,-12-1-15,-1 1 0,1-1 0,0 14 0,-41 53 16,28-41 0,12-12-16,-12 13 0,-1-13 0,13-1 0</inkml:trace>
  <inkml:trace contextRef="#ctx0" brushRef="#br0" timeOffset="14874.66">15624 12237 0,'-66'13'16,"39"0"-16,1 14 0,-133 52 15,106-39-15,-13-14 16,13 14-16,-13 0 0,0-14 0,-1 14 15</inkml:trace>
  <inkml:trace contextRef="#ctx0" brushRef="#br0" timeOffset="16542.77">13057 12938 0,'53'0'0,"-26"0"0,12-13 0,1 13 15,53-27 1,-41 27-16,1-13 0,0 0 0,-13 13 0,13-13 16,39 0-1</inkml:trace>
  <inkml:trace contextRef="#ctx0" brushRef="#br0" timeOffset="18312.69">14049 13057 0,'0'13'0,"0"14"0,0-14 16,0 14-16,0 78 16,0-52-16,0-13 0,0 0 15,-13 92 1,13-92-16</inkml:trace>
  <inkml:trace contextRef="#ctx0" brushRef="#br0" timeOffset="19968.81">14539 13018 0,'53'79'15,"-40"-66"-15,-13 14 0,40 39 16,-40-53-16,13 13 16,0-12-16,0 12 15</inkml:trace>
  <inkml:trace contextRef="#ctx0" brushRef="#br0" timeOffset="20222.25">14856 12951 0,'27'14'15,"-14"-14"-15,0 13 16,0 0-16,1 0 0,-1 14 16,0-14-16,0 0 0,1 14 0,-1-14 15,0 13-15</inkml:trace>
  <inkml:trace contextRef="#ctx0" brushRef="#br0" timeOffset="22094.56">13163 12078 0,'0'-26'16,"13"26"-16,0-13 15,1 13-15,39-27 16,-14 14-16,-12 0 0,12-14 15,1 14-15,0 0 0,0-1 0,-1 1 16,1 0-16,119-40 16,-106 40-16,-1 0 0,1-1 15,-13 1-15,13 0 0,-13 0 0,13 0 16,79-14 0,-79 27-16,0-13 0,-14 13 15,14-13-15,0 13 0,0 0 0,0 0 16,13 0-16,172 39 15,-172-25-15,1-1 16,-1 13-16,-13-13 0,119 54 16,-133-41-16,14 0 15,-13 14-15,0-13 0,26 26 16,-40-27-16,1 0 0,-14 14 16,13-13-16,-12 12 0,-1-12 15,0 12-15,-13-12 0,13-1 0,-13 1 0,0-1 16,0 1-16,-13-1 0,13 1 15,-13-1-15,0 1 0,-14 12 16,14-12-16,0-1 0,-14 1 0,14-1 16,-13 1-16,-1-1 0,1 0 15,-1 1-15,-12-1 0,-1 1 0,0-1 16,0 1-16,1-1 0,-1 1 0,14-14 16,-14 13-16,0-12 0,14 12 15,-14-13-15,14 14 0,-14-1 0,0-13 16,14 1-16,-14 12 0,14-13 0,-14 1 15,14 12-15,-14-13 0,0 14 16,14-14-16,-14 13 0,0-12 16,1-1-16,-1 13 0,-13-12 0,13 12 0,-13-13 15,1 0-15,-1 14 0,0-14 16,-13 0-16,13 1 0,0-14 0,0 13 16,13-13-16,-13 13 0,13-13 15,1 0-15,-14-13 0,0 13 0,13 0 16,-13-13-16,0-1 0,14 1 15,-14 13-15,0-13 0,13 0 0,-13-1 16,14 1-16,-14-13 0,0 13 0,13-1 16,-13 1-16,14-13 0,-1 12 15,0 1-15,0-13 0,14 12 0,-14-12 16,14 0-16,-14 12 0,14-12 0,-1-1 16,1-12-1,13 12-15,-14-52 0,1 0 16,12-14-16,14 40 0,14 13 0,-14-13 15,0 14-15,13-14 16,-13 13-16,13 0 0,0 1 0,14 12 16,-14-12-16,0 12 0,0 1 0,14 12 15,-14-12-15,0 13 0,1 0 16,12-1-16,-13 1 0,1 0 0,12 0 16,-13-1-16,14 1 0,-14 0 0</inkml:trace>
  <inkml:trace contextRef="#ctx0" brushRef="#br0" timeOffset="26415.8">14777 10120 0,'0'-26'15,"-13"52"79,0-12-78,13-1-16,0 0 15,0 0 1,0 0-16,0 1 15,13-1 1,0-13-16,0 0 16,0 0-1,-13-13-15,14 13 0,-1 0 16,-13-14-16,13 14 0,-13-13 16,13 13-16,1 0 15,-14 13 1,13 1-16,0-1 15,-13 0-15,13-13 16,-13 13-16,13 1 16,1-14-16,-1 0 15,0-14 1,0 14-16,-13-13 0,14 13 16,-14-13-16,13-14 0,0 14 15,-13 0-15,0 0 16,0 0-16,0-1 0,13 1 15,-13 0 1,-13 0 0</inkml:trace>
  <inkml:trace contextRef="#ctx0" brushRef="#br0" timeOffset="26785.63">15108 9909 0,'0'26'31,"0"-13"-31,13 1 16,-13-1-16,0 0 0,0 0 0,0 14 16,0-14-16,0 0 0,0 0 15,0 1-15,0-1 0,0 0 0,0 0 16,0 1-16,0-1 15,13-13 1,0 0 0,1-13-1,-1 13 1,0 0 0,0 13-1,1 0-15,-1 0 16,-13 0-1,13 1 1,0-14-16,0-14 16</inkml:trace>
  <inkml:trace contextRef="#ctx0" brushRef="#br0" timeOffset="27064.89">15425 10001 0,'0'-13'31,"-13"26"-31,13 0 0,13-26 16,-26 40-16,13-14 0,0 0 0,0 0 15,13 1-15,0-1 16,1-13 0,-1-13-1,-13-1 1,-13-12-1,-1 13-15,14-1 16,-13 14-16,0-13 0,13 0 0,-13 13 16,13-13-16,-13 13 15,13-13-15</inkml:trace>
  <inkml:trace contextRef="#ctx0" brushRef="#br0" timeOffset="27923.9">15849 9882 0,'-14'0'0,"28"0"0,-41 0 16,14 0-16,0 0 0,13 13 15,-14-13 1,14 14-16,14-1 16,-1 0-16,-13 0 15,13 1-15,0-1 0,1 0 0,-1 0 16,-13 0-16,13 14 0,0-14 15,-13 0-15,13 14 0,-13-14 0,0 0 16,0 1-16,-13-1 0,13 0 0,-13 0 16,13 0-16,-13 1 0,0-1 15,-1 0-15,1-13 0,0 0 16,0 0-16,-1 0 16,14-13-1,-13 0-15,26 13 0,-13-27 16,14 27-16,-14-13 15,13 0-15,0 0 0,0-14 0,1 14 16,-1 0-16,13-1 0,-13 1 16,14-13-16,-14-1 0,0 27 15,1-13-15,-1 0 0,-13 0 16,13 13-16,-13-14 0,13 14 16,-13-13-16,0 40 31,0-14-31,0 0 15,14-13-15,-14 13 16,13 0-16,0 1 16,0-14-16,0 0 0,1 0 15,-1 0-15,-13-14 16,13 14-16,0-13 0,-13 0 16,14 13-16,-14-13 0,0 0 15,0-1-15,-14 1 0,14 0 16,0 0-16,-13-1 0,0 1 15,0 0 1</inkml:trace>
  <inkml:trace contextRef="#ctx0" brushRef="#br0" timeOffset="28209.33">16669 9697 0,'-13'26'15,"13"-12"-15,0-1 0,0 13 16,0 27-16,-14-26 0,14-14 16,0 13-16,0 1 0,-13-1 0,13 1 15,0-14-15,0 13 0,0-12 16,-13-1-16,13 0 0,0 0 0,0 1 16</inkml:trace>
  <inkml:trace contextRef="#ctx0" brushRef="#br0" timeOffset="28631.67">16470 9975 0,'106'-53'47,"-79"40"-47,78-27 15,-78 40-15,-14-13 16,0 13-16,14-14 0,-14 14 16,0 0-16,1 0 15,-14 14 1,-358 105-16,716-225 16,-358 119-16,0 0 0,0 1 0,0-1 15,0 0-15,0 0 16,0 1-16,13-1 15,0-13-15,-13 13 0,13-13 16,0 0-16,14 0 16,-27-13-16,13 13 0,0-13 15,-13-1-15,0 1 16,0 0-16,0-14 0,-13 14 16,13 0-16,-13 0 15,13-1-15,-13 1 16</inkml:trace>
  <inkml:trace contextRef="#ctx0" brushRef="#br0" timeOffset="29850.78">17396 9723 0,'-53'0'16,"40"14"-16,0-1 0,0 0 15,0 0-15,-1 1 0,1 12 16,0 14-16,0-27 0,13 27 15,0-27-15,0 0 0,0 0 16,0 14-16,26-1 16,-13-13-16,1-13 0,-1 14 0,0-14 15,0 13-15,0-13 0,14 0 16,-14 0-16,14 0 0,-14 0 0,13-13 16,14 13-16,-14-14 0,14 1 15,-27 0-15,1 0 16,-1 13-16,0-13 0,0-1 15,0 1-15,1 0 0,-14 0 0,0-1 16,0 1-16,0 0 16,0 0-16,-14 13 15,14-14-15,-13 14 0,-13 0 16,-1 0 0,14 0-16,0 14 15,0-1-15,-1-13 16,14 13-16,-13 0 0,13 1 15,-13-1-15,13 0 16,0 0-16,13-13 0,-13 14 16,13-14-16,1 0 31,-1 0-31,0 0 0,-13-14 16,13 14-16,1-13 15,-1 13-15,-13-13 16,13 13-16,-13-13 15,13 13-15,0-14 32,-13 28-1,0-1-15,14-13-16,-14 13 15,0 0-15,13 1 16,-13-1-1,13 0 17,0-13-1,1-13 0,-1 13-31,0-13 16,0 13-1,1-14 1,-1 28 0,-13-1-16,13 0 31,-13 0-15,13-13-1,0 0 1,1 0 15,-1 0-15,0 0-1,14 0 1,-1-13 0,-13 0-1</inkml:trace>
  <inkml:trace contextRef="#ctx0" brushRef="#br0" timeOffset="30077.08">18071 9671 0,'-13'26'63,"-27"172"-1,40-184-62,0-1 0,0 0 16,53-277-16,-106 541 0</inkml:trace>
  <inkml:trace contextRef="#ctx0" brushRef="#br0" timeOffset="30262.87">17912 9869 0,'53'-27'32,"93"1"14</inkml:trace>
  <inkml:trace contextRef="#ctx0" brushRef="#br0" timeOffset="31110.55">18177 9882 0,'13'-26'15,"-13"12"-15,0 1 16,0 0 0,0 0-1,0 0 1,-26 26 0,26 0-1,-14-13-15,14 26 0,0-12 16,0-1-16,0 13 15,14-26 1,-1 14-16,13-1 16,-12-13-16,12 0 15,-13-13-15,0 13 16,1-14-16,12 1 16,-13 0-16,1 13 0,-14-13 15,13-1-15,-13 1 16,13 13-1,-26 27 17,0-27-17,13 13-15,0 0 16,0 0-16,13-13 16,0 0-1,0 0 1,1 0-16,-1-13 31,0 13-15,0-13-16,0 26 15,1-13 17,-1 0-1,0 0-16,0 0 1,1 0-16,-1 0 16,0 0-1,0-13 1,1 13-16,-1 0 16</inkml:trace>
  <inkml:trace contextRef="#ctx0" brushRef="#br0" timeOffset="31527.8">18759 9618 0,'26'-14'0,"1"28"31,-1 12-15,-26-13-16,0 1 15,14-1-15,-14 0 16,0 0-16,0 27 0,0-27 15,0 27-15,0-27 0,-14 0 16,14 0-16,0 1 0</inkml:trace>
  <inkml:trace contextRef="#ctx0" brushRef="#br0" timeOffset="31661.59">18838 10001 0</inkml:trace>
  <inkml:trace contextRef="#ctx0" brushRef="#br0" timeOffset="32286.9">15531 10398 0,'0'0'16,"40"-13"-16,-14 13 15,1 0-15,26 0 0,-14-13 0,27 13 16,1 0-16,12-14 0,0 14 16,93-26-16,-79 26 0,92-26 15,-66 12-15,80-12 16,-107 26-16,93-27 16,-92 14-16,0 13 0,-14-13 0,66 0 15,-52 13-15,-66 0 16,-1 0-16,-13-14 0,14 14 15,-14 14-15,-26-1 16,-1-13 0</inkml:trace>
  <inkml:trace contextRef="#ctx0" brushRef="#br0" timeOffset="32570.68">16166 10517 0,'384'-26'47,"-318"13"-47,13 13 15,1-14-15,-1 14 0,0-13 16,80 0-16,-93 13 0,0-13 15,-13 13-15,0-14 0,-13 14 0,0 0 16,-14 0-16,-13-13 16,0 13-16,1 13 15,-1-13-15</inkml:trace>
  <inkml:trace contextRef="#ctx0" brushRef="#br0" timeOffset="41370.65">17185 10544 0,'-40'105'0,"27"-65"15,13-13-15,-13-1 0,-1 14 0,1-14 16,0 1-16,13-1 0,-13 1 0,-1-14 16,14 13-16,-13 1 15,0-14-15,0 0 0,13 0 0,0 1 0,-14-1 16</inkml:trace>
  <inkml:trace contextRef="#ctx0" brushRef="#br0" timeOffset="41762.55">17198 10517 0,'-93'66'0,"80"-52"0,-13-1 16,12 0-16,1 13 0,0-12 15,0-1-15,-1 0 0,1 0 0,0 1 16,0-1-16,0 0 0,-1-13 15</inkml:trace>
  <inkml:trace contextRef="#ctx0" brushRef="#br0" timeOffset="41930.98">17105 10583 0,'27'0'0,"118"40"47,-131-40-47,-1 13 0,0 0 15,0-13-15,0 14 0,-251-94 0,490 160 0</inkml:trace>
  <inkml:trace contextRef="#ctx0" brushRef="#br0" timeOffset="43895.48">10927 11470 0,'27'0'16,"-14"-14"-16,0 14 16,0 0-16,1 0 0,-1 0 15,27-13-15,-27 13 0,26 0 16,-12 0-16,-1 0 0,1-13 16,26 13-16,-27-13 15,14 13-15,-14 0 0,14-13 0,13-1 16,53 1-16,-40 13 15,66-26-15,-66 12 0,14 14 16,-14-13-16,13 0 0,1 13 16,78-13-16,14-1 15,-79 14-15,79 0 0,-79-13 16,-1 13-16,1 0 16,105 0-16,-105 0 0,119 0 15,-107 0-15,94 0 0,-93 0 16,119 0-1,13 0-15,-133 13 0,1-13 16,27 0-16,-28 0 0,107 14 0,-106-14 16,-13 13-16,12-13 15,1 0-15,0 13 0,-13-13 0,105 13 16,-13 1-16,0-1 16,-92-13-16,-14 0 15,1 13-15,65 0 16,-78-13-16,-1 0 0,-13 0 0,0 0 0,-14 14 15,1-14-15,0 0 16,-14 0-16,0 0 0,-12 0 0,-1 0 16,13 0-16,-12 13 0,-1-13 15,0 0 1</inkml:trace>
  <inkml:trace contextRef="#ctx0" brushRef="#br0" timeOffset="71169.24">10041 9882 0,'26'-13'47,"1"13"-47,-14 0 0,14-13 16,78-1 0,-52 14-16,-13 0 0,132-13 15,-66 0-15,-53 13 16,92-13-1,-65 13-15,-41 0 0,-25 0 16,12 0-16,14 0 16,-27 0-16,0 0 0</inkml:trace>
  <inkml:trace contextRef="#ctx0" brushRef="#br0" timeOffset="71459.17">10478 10014 0,'66'-13'32,"-40"13"-32,1-13 0,-1 13 15,0 0-15,107-26 16,-94 12-16,1 14 0,40-13 15,-54 13-15,14 0 16,-14-13-16,-13 13 0,14 0 0,26-13 16,-40 13-16,0 0 15,0 13 1</inkml:trace>
  <inkml:trace contextRef="#ctx0" brushRef="#br0" timeOffset="76858.01">14552 1336 0,'-13'-13'0,"26"13"16,53-13-1,-39 13-15,26 0 16,-14-14-16,14 14 0,53 0 16,-40 0-16,0-13 0,172 0 31,-185 13-31,0-13 0,0 13 0,0 0 16,-13 0-16,0 0 0,-14 0 0,0 0 15,-12 0-15,-1 0 0</inkml:trace>
  <inkml:trace contextRef="#ctx0" brushRef="#br0" timeOffset="77126.45">14737 1508 0,'53'0'16,"-106"0"-16,133-13 0,-41 13 0,1 0 16,0-13-16,13 13 0,0 0 0,-1-14 15,1 14-15,106-26 16,-106 26-16,-13 0 0,-1-13 16,-12 13-16,-14 0 0,14 0 15,-1 0-15,-13-13 0,1 13 0,-1 0 16,0 0-16</inkml:trace>
  <inkml:trace contextRef="#ctx0" brushRef="#br0" timeOffset="80309.23">6271 12846 0,'-80'66'0,"67"-40"0,-13 1 16,12 12-16,-12-12 0,-1 12 15,1 1-15,-1 13 0,1-13 16,-14-1-16,14 1 0,13-13 0,-14-1 0,1 14 15,13-14-15,-27 14 16,27-27-16,13 0 0,-14 1 0,14-1 16,-13 0-16,0-13 15</inkml:trace>
  <inkml:trace contextRef="#ctx0" brushRef="#br0" timeOffset="80667.68">5609 13123 0,'27'-13'16,"-54"26"-16,67-26 0,-14 13 0,1 0 15,26 0-15,0 13 0,13 1 0,13-1 16,-13 0-16,80 27 15,-1 13-15,-79-27 0,-13-13 16,14 14-16,-15-1 0,1-13 16,0 1-16,-13-1 0,39 27 15,-52-27-15,-1 0 0,1-13 16,-14 13-16,0-13 0,0 14 0,1-14 16,-1 13-16,0-13 0,-13 13 15,13-13-15</inkml:trace>
  <inkml:trace contextRef="#ctx0" brushRef="#br0" timeOffset="81473.99">10769 12012 0,'-14'-13'16,"1"26"-16,0 0 0,0 1 15,-14 12-15,1 14 0,-1-1 0,-12 14 16,12 0-16,-13-13 0,14 13 15,-14 0-15,1 0 0,-28 52 16,41-52-16,0-13 0,-1 13 0,1-13 16,-1-1-16,14-12 0,-14-1 15,-12 40 1,39-52-16,-13-1 0,13 0 0,-14-13 0,14 13 16,-13-13-1</inkml:trace>
  <inkml:trace contextRef="#ctx0" brushRef="#br0" timeOffset="81745.68">10014 12263 0,'106'0'16,"-79"14"-16,26-1 0,0 13 16,132 40-16,-119-39 15,-13 13-15,13-27 0,-13 13 0,-13 1 16,13-1-16,-14 1 0,-12-14 16,39 27-16,-40-27 0,-12-13 15,-1 13-15,13 0 0,-13-13 16,-13 14-16,14-14 0,-1 13 0</inkml:trace>
  <inkml:trace contextRef="#ctx0" brushRef="#br0" timeOffset="84522.49">6496 13613 0,'92'26'0,"-52"-26"15,-14 0-15,27 13 0,-13-13 16,66-13-16,-53 13 0,0 0 15,-1-13-15,15 0 0,-14 13 16,52-27-16,-65 1 0,0 13 0,-1-1 16,1-12-16,-13 13 15,-1-14-15,0 14 0,-12-13 0,12 12 16,-26 1-16,13-13 0,-13 12 0,14-12 0,-14 0 16,-14 12-16,14-12 15,-26-54-15,13 54 0,-53-53 16,39 39-16,-26 0 0,13 14 15,1-14-15,-14 14 0,0-1 16,-53-12-16,53 12 0,0 14 16,0 0-16,0 13 0,1-14 15,-15 14-15,15 0 0,-15 0 0,-12 0 16,13 0-16,-14 14 0,1-1 0,0 0 16,13 0-16,-14 14 0,14-14 15,0 13-15,0 14 0,0-13 16,-1 12-16,1 1 0,13 0 0,-13-1 15,13 14-15,0-13 0,1 13 16,-28 53-16,40-53 0,1 0 16,12-14-16,1 14 0,13-13 0,13-1 15,0 1-15,0 0 0,13 0 16,0-14-16,14 14 0,12-14 0,1 14 16,66 0-16,-40-27 15,0 0-15,13 0 0,1-13 0,12 0 16,1 0-16,0-13 0,-1 13 15,14-13-15,-13 0 0,79-14 0,-53 1 16</inkml:trace>
  <inkml:trace contextRef="#ctx0" brushRef="#br0" timeOffset="85441.81">10067 13123 0,'40'40'15,"39"0"1,1-14-16,65 14 15,-39-27 1,-53-13-16,0 0 0,0 0 16,-13 0-16,13-13 0,-1 0 15,1-1-15,0 1 0,27-27 16,-14 1-16,-27 12 0,-12 1 16,-1-1-16,1 1 0,13-27 15,-14 13-15,-13 14 16,14-53-16,-14-1 0,0 40 15,-13 1-15,0-27 16,0 26-16,-13 0 0,0 1 16,-1-1-16,1-13 0,-13 13 0,-1-13 15,1 14-15,-1-1 0,-12 0 16,12 1-16,-12 12 0,-1 1 0,0-1 16,1 1-16,-14-1 0,0 14 15,13 0-15,-13 0 0,0-1 0,-53 1 16,53 13-16,1 0 0,-15 0 15,14 0-15,-13 13 16,-79 14-16,79-14 0,-1 14 0,15 12 16,-15-12-16,-12 26 0,13 13 0,0 0 15,0 0-15,-67 80 16,94-67-16,-14 0 0,26-13 16,1 1-16,13-14 0,13 13 0,0 0 15,13-13-15,13 13 0,1-13 16,12 0-16,1-14 0,0 14 0,13-13 15,0-14-15,13 1 0,0 13 16,-13-27-16,13 13 0,0-12 0,-13-1 16,0 0-16,0 0 0,0-13 0,-14 0 15,14 0-15,-13 0 0,-13 0 16,12 0-16</inkml:trace>
  <inkml:trace contextRef="#ctx0" brushRef="#br0" timeOffset="90270.23">410 5622 0,'-13'0'0,"26"27"47,0 13-32,1-14-15,-14-13 0,13 14 16,-13-1-16,13-13 0,0 14 0,-13-1 16,13-12-16,1 12 0,-14 0 0,13-12 15,-13-1-15,13 0 0,-13 14 16,13-14-16,-13 0 15,0 0-15,14 0 16</inkml:trace>
  <inkml:trace contextRef="#ctx0" brushRef="#br0" timeOffset="90806.22">357 5715 0,'0'-13'0,"0"0"0,0-1 15,0 1-15,13 0 16,1-14-16,-1 27 16,0-13-16,0 13 0,1 0 15,12 0-15,0 27 16,-26-1-1,14-13-15,-14 1 0,0 12 0,0-13 16,0 14-16,0-14 0,0 13 0,0-12 16,0 12-16,-14-13 0,14 14 15,0-14 1,0 0-16,-13 0 0,13 1 16,13-14-16,-13 13 15,14-13-15,12 13 16,-13-13-16,1 0 15,-1 0-15,0 0 0,0 0 16,1 0-16,-1 0 0,13-13 16,14 13-16,-27 0 15,0-13-15</inkml:trace>
  <inkml:trace contextRef="#ctx0" brushRef="#br0" timeOffset="91651.51">820 5649 0,'-26'0'15,"13"13"-15,-1 14 32,14-14-32,-13 0 0,13 0 0,0 0 15,0 1-15,0-1 0,0 0 16,0 0-16,13 1 0,-13-1 15,14-13-15,-1 0 16,0 0 0,0 0-1,-13-13-15,0-1 16,13-12 0,-13 13-16,0-1 0,0-12 15,0 13 1,-13 0-1,26 13 1,1 13 15,-1 0-15,0-13-16,0 13 31,1-13 0,-14-13-15,13 13-16,-13-13 16,13 13-16,-13-13 15,13 13 1,0 0 0,1 0-1,-1 0-15,0 13 16,0-13 15,1 0 0,-14-13-15,13 13-16,0-14 16,0 14-1,1 0 1,-1 0-1,-13-13 1</inkml:trace>
  <inkml:trace contextRef="#ctx0" brushRef="#br0" timeOffset="92081.78">1124 5186 0,'14'26'0,"-14"-12"0,53 65 16,-40-53-16,27 54 16,-27-67-1,0 0-15,0 0 0,-13 1 16,13-1-16,1-13 0,-14 13 0,13 0 15,0 1 1,-39-14 0,-1 0-1,14 13 1,0-13-16,0 13 16,-1 0-16,1 0 15,13 1-15,-13 12 16,13-13-1,0 1 1,13-1-16,14-13 16,-14 0-16,0-13 15,0 13-15,0-14 0,1 14 0,12-13 16,-13 0-16</inkml:trace>
  <inkml:trace contextRef="#ctx0" brushRef="#br0" timeOffset="92432.74">1442 5411 0,'-13'0'16,"0"13"-1,13 13 1,52-52-16,-78 13 0,0 79 15,39-53-15,-13 0 0,13-13 16,-13 14-16,13-14 0,0 0 16,-13 13-16,14-13 0,-1-13 15,0 13-15,0 0 16,-13-14-16,0 1 16,0 0-1,0 0-15,-13 13 0,13-14 16,-13 14-16,13-13 0,-13 13 15,-1-13 1,1 13-16,0 0 16,0 0-16,13 13 15</inkml:trace>
  <inkml:trace contextRef="#ctx0" brushRef="#br0" timeOffset="92945.57">1561 5318 0,'13'0'15,"-39"0"1,66 0-16,-67 0 16,54 13-16,-14-13 0,0 14 15,-13-1 1,13 0-1,0 0 17,1-26-17,-14 0 1,13 0 0,0-1-1,0 14 1,1 0-1,-1 14 1,0-14 0,0 0-1,-13-14 1,13 1 0,-13 0 15,14 0-31,-1 13 15,0-14 1,0 14 0,1-13-16,-1 13 15</inkml:trace>
  <inkml:trace contextRef="#ctx0" brushRef="#br0" timeOffset="93619.19">1746 6112 0,'13'13'32,"-39"-13"-1,13 13-15,0-13-16,-1 0 0,1-13 15,-13 13-15,12 0 0,1-13 0,-13 13 16,-1-13-16,14-1 0,-13-12 15,12 13-15,-12-1 0,-1-12 16,14 13-16,13 0 0,-13-1 16,13 1-16,0 0 0,0 0 15,0-1-15,13 14 16,0 0 0,1 14-16,-14-1 15,0 0-15,0 0 0,0 1 0,0-1 16,0 13-16,0-13 15,-14 1-15,14 12 0,0-13 0,0 1 16,0-1-16,-13-13 0,13 13 0,0 0 16,13-13-1,54-39 1,-54 25 0,40-25-16,-27 12 15,-13 14-15,14 0 0,-14 0 0,14-1 0,-14 14 16,0-13-16</inkml:trace>
  <inkml:trace contextRef="#ctx0" brushRef="#br0" timeOffset="94125.68">1058 7078 0,'0'26'31,"0"-13"-31,27 27 16,-14-14-16,13 27 16,-12-26-16,-14-14 0,13 13 15,0-12-15,-13-1 0,13 0 16,1 0-16,-1 1 0</inkml:trace>
  <inkml:trace contextRef="#ctx0" brushRef="#br0" timeOffset="94534.47">1045 7131 0,'0'-27'16,"0"54"-16,0-67 0,0 27 15,0-1-15,0 1 0,0 0 0,13 0 16,1 13-16,-1-14 16,0 14-16,0 0 0,0 0 15,1 14-15,-1-14 0,-13 13 16,13 0-16,0 27 0,-13-27 15,0 0-15,0 14 0,0-14 16,0 0-16,0 0 0,0 1 0,-13-1 16,13 0-16,0 14 0,0-14 15,0 0 1,0 0 0,13-13-16,1 0 15,-1 0-15,0 0 16,0-13-16,1 13 15,12-13-15,-13 13 0,0-13 16,1 13-16,-1-14 0,0 14 16</inkml:trace>
  <inkml:trace contextRef="#ctx0" brushRef="#br0" timeOffset="94831.7">1442 7197 0,'-13'-53'0,"0"40"15,-1-1-15,14 1 0,-13 0 16,13 0 0,-13-1-1,0 41 1,26-1-1,-13-12-15,13-1 16,0 0-16,1-13 16,-14 13-16,13-13 0,0 0 15,0 0-15,0 0 0,1 0 0,-1 0 0,0-13 16,14 0-16,-14 0 16</inkml:trace>
  <inkml:trace contextRef="#ctx0" brushRef="#br0" timeOffset="95274.45">1495 6826 0,'-13'0'16,"66"27"-16,-93-54 16,27 40-16,13 1 15,0-1-15,13 0 0,0 14 16,0-1-16,1 1 0,12 39 15,-13-27-15,1-12 0,12-1 16,-13 14-16,0-14 0,14 1 0,-14 13 16,0-27-16,1 13 0,-14-13 0,26 14 15,-26-14-15,0 0 16,13-13-16,-13 14 0,-13-41 47,13 1-47,0 12 0,-13-25 15,-14-27-15,14-27 16,0 67-16,13 12 0,0 1 16,0-13-16,0 12 0,0 1 15,0 0-15,13 13 0,-13-13 16,13 13-16,1 13 16,-1 13 15,-13-12-31,-13 12 0,13-13 15,0 1 1</inkml:trace>
  <inkml:trace contextRef="#ctx0" brushRef="#br0" timeOffset="95617.81">1680 6892 0,'0'14'0,"0"-28"0,13 14 16,1 14-1,-1-1-15,-13 0 16,13 0-16,0 1 0,0 12 16,1-26-16,-14 13 0,13 0 15,-13 1-15,13-1 16,-13 0-16,13-13 15,-13-26 17,0 12-32,0 1 0,0 0 0,0-13 15,-13-14 1,13 27-16,13-1 16,-13 1-16,0 0 15,0 0 1,14 13-16</inkml:trace>
  <inkml:trace contextRef="#ctx0" brushRef="#br0" timeOffset="95954.45">1971 6906 0,'-13'-27'15,"13"1"1,0 12-16,-13 1 16,13 26 30,0 14-30,0-14-16,0 0 0,13-13 16,-13 14-16,13-14 15,-13 13-15,27-13 0,-1-13 16,-13 13-16,1-14 16</inkml:trace>
  <inkml:trace contextRef="#ctx0" brushRef="#br0" timeOffset="96242.96">2143 6694 0,'-26'0'32,"26"26"-17,13-26-15,-13 14 16,13-14-16,-13 13 0,13 0 0,-13 0 15,14-13-15,-14 14 0,26 25 16,-13-26 0,-13 1-16,0-1 0,0 0 15,0 0 1,0 1-16,-13-1 16,0 0-1</inkml:trace>
  <inkml:trace contextRef="#ctx0" brushRef="#br0" timeOffset="97913.77">1336 4855 0,'66'-53'15,"-39"40"-15,-14 0 0,13-1 0,-12 1 16,12 0-16,1 0 0,-14 0 16,0 13-16,0-14 0,27 1 15,-27 13-15,0-13 0,1 13 16,-1 0-16,0 13 0,0-13 16,27 27-16,0-1 0,-27 0 15,27 14-15,-14 0 0,14 0 16,-14 12-16,14 1 0,0 0 15,13 27-15,-1-14 0,1 13 0,-13-13 0,13 14 16,0-1-16,-13-13 16,12 0-16,-12 1 0,0-1 0,0-13 0,-1 13 15,-12-13-15,12 0 0,1-1 16,0 1-16,26 53 16,-26-53-16,-1-13 0,14 52 15,0-12-15,-26-40 0,-1-1 16,-13-12-16,14-1 0,-1 1 15,-13-1-15,1 1 0,-1-14 0,0 13 16,0-13-16,1 1 0,-14-1 16,13-13-16,-13 13 0,13 0 0,-13 1 15,13-14-15,-13 13 16,0 0-16,-13 0 16,13 0-1,-13 1-15,0-14 0,13 13 16,-14-13-16,1 13 0,0-13 0,-14 13 15,14-13-15,0 14 0,-14-14 16,-39 13-16,53 0 0,-13-13 16,-1 0-16</inkml:trace>
  <inkml:trace contextRef="#ctx0" brushRef="#br0" timeOffset="103755.69">17754 1270 0,'119'13'16,"-80"-13"-16,-12 0 0,12 0 15,14 13-15,-13-13 0,13 0 0,53 0 16,-53 0-16,13 0 0,-13 0 16,53-13-16,-67 13 15,14 0-15,0-13 0,0 13 0,-13 0 16,13-13-16,-14 0 0,1 13 16,0-14-16,13 14 0,-14-13 15,1 0-15,-14 0 0,54-14 16,-40 14-16,-1-14 0,-12 14 0,12 0 15,-12-13-15,-1 12 0,14-12 16,-14 13-16,1-14 0,13 14 0,-14-14 16,0 14-16,1-13 0,13 13 0,-14-14 15,1 1-15,-14 12 0,0-12 16,0 13-16,14-40 0,-14 13 16,-13 27-16,0-14 15,0 1-15,-13 0 0,13 12 0,-14-12 16,1-1-16,0 1 0,0-1 15,-27-25-15,27 25 0,-40-13 16,26 14-16,1 13 16,0-14-16,-14 14 0,0-13 0,-39-1 15,26 14-15,0 0 16,0-14-16,-53 1 0,53 13 16,-92-14-16,52 14 15,53 13-15,-12 0 16,-41 0-16,53 0 15,1 0-15,-41 0 0,54 0 0,-14 0 16,14 13-16,-54 0 16,27 1-16,27-14 0,-1 13 15,1 0-15,-14 0 16,14 0-16,13 1 0,-14-1 16,1 13-16,-14-12 15,27-1-15,-14 13 0,14-12 16,0-1-16,0 0 15,-1 0-15,1 0 0,0 1 16,0-1-16,-1 0 0,1 0 16,0 1-16,0-14 15,0 26-15,-1-26 0,1 13 16,0 0-16,13 1 16,-13-14-16,13 13 0,-14 0 0,14 0 15,-13-13-15,0 27 16,0-1-16,13-12 0,-14-1 15,14 0-15,-13 13 16,13 1-16,-13-14 0,13 0 16,0 1-16,0-1 0,0 0 0,-13-13 15,13 13-15,0 1 0,-13-1 16,13 0-16,0 0 0,0 0 16,-14 1-16,14-1 0,0 0 0,0 0 15,0 1-15,0-1 16,0 0-16,-13 0 0,13 0 15,13 1-15,-13-1 16,0 0-16,0 14 16,0-14-16,0 0 0,0 0 0,14 1 15,-14-1-15,0 0 0,13 0 16,-13 0-16,13 1 0,-13-1 16,13 0-16,0 0 0,1 1 15,-14-1-15,13-13 0,0 13 16,0 0-16,1-13 15,-1 14-15,0-14 0,0 13 16,1-13-16,-14 13 16,13-13-16,0 0 15,0 13-15,0-13 16,-13 13-16,14-13 16,-1 0-16,0 14 15,0-14 1,1 13-1,-1-13 1,0 13 0,0-13 15,1 0 47,-14-13 156</inkml:trace>
  <inkml:trace contextRef="#ctx0" brushRef="#br0" timeOffset="105698.99">2302 6787 0,'0'13'15,"0"-40"48,13 14-32,-13 0-31,0 0 16,0-1-1,-13 1 1,0 26 15,13 1-15,-14-14-16,14 13 0,0 0 0,0 0 15,14-13-15,-14 14 16,0-1-16,13-13 16,0 0-1,0 0-15,1 0 16</inkml:trace>
  <inkml:trace contextRef="#ctx0" brushRef="#br0" timeOffset="106119.84">2394 6668 0,'14'13'32,"-14"0"-32,0 0 15,13-13-15,-13 13 0,0 1 16,13-14 0,-13 13-1,13-26 16,1 13-15,-14-14 0,13 14-16,0 0 15,0 0 17,1 0-32,-1 0 15,0 0 1</inkml:trace>
  <inkml:trace contextRef="#ctx0" brushRef="#br0" timeOffset="106363.29">2487 6429 0,'27'40'16,"-54"-80"-16,27 67 16,13-14-16,-13 0 15,0 1-15,14-1 0,-14 0 0,13 0 16,-13 14-16,13-14 0,-13 13 16,13-12-16,0 12 0,-13 14 15,14-27-15,-14 0 0,13 0 16</inkml:trace>
  <inkml:trace contextRef="#ctx0" brushRef="#br0" timeOffset="106582.08">2514 6681 0,'0'-27'16,"13"27"-16,-13-13 16,13 13-16,-13-13 0,13 13 15,0-13-15,1-1 0,-1 14 16,0-13-16,0 13 0,1 0 0,-14-13 16</inkml:trace>
  <inkml:trace contextRef="#ctx0" brushRef="#br0" timeOffset="106985.54">2725 6522 0,'-26'13'0,"13"0"16,13 1 0,-14-1-16,28 0 15,-14 0 1,13-13 0,0-13-1,0 0 1,0 13-16,-13-13 15,14 13 1,-1 13 15,-13 0-15,0 0-16,13 1 0,-13-1 16,13 0-1</inkml:trace>
  <inkml:trace contextRef="#ctx0" brushRef="#br0" timeOffset="107249.01">2738 6350 0,'-13'-13'16,"40"52"-16,-41-65 16,14 39-1,0 0-15,14 1 0,-14-1 0,13 13 16,0 1-16,0-1 16,-13 1-16,0-14 0,14 0 15,-1 27-15,-13-27 0,13 0 16,-13 1-16,13-1 0</inkml:trace>
  <inkml:trace contextRef="#ctx0" brushRef="#br0" timeOffset="107549.58">2805 6588 0,'26'-26'32,"-26"12"-32,13 14 0,1-13 15,-1 13 1,0 0-16,0 0 16,0 0-16,-118 53 15,224-106-15,-119 66 0,13-13 16,-13 14-16,13-1 15,-13 0 1,13 0 0</inkml:trace>
  <inkml:trace contextRef="#ctx0" brushRef="#br0" timeOffset="107706.57">2897 6443 0</inkml:trace>
  <inkml:trace contextRef="#ctx0" brushRef="#br0" timeOffset="108183.62">3003 6548 0,'0'14'47,"13"-14"-32,0-14 1,1 14-16,-1-13 16,0 0-1,0 0 1,1 0 0,-14 26 30,13 0-30,-13 0 0,13-13-1</inkml:trace>
  <inkml:trace contextRef="#ctx0" brushRef="#br0" timeOffset="111932.8">2672 5966 0,'27'-13'0,"-27"0"0,13 13 0,13-13 16,-12-1-1,-1 14-15,0 0 0,0-13 0,1 13 16,-1 0-16,0-13 0,14 13 16,39-13-16,-27 13 15,-12 0-15,12 0 0,-12 0 16,26 0-16,-13 13 0,12-13 0,1 13 15,0 0-15,-13-13 0,26 27 0,-13-14 16,0 0-16,0 14 0,0-14 16,0 13-16,0-12 0,-14 12 0,1-13 15,13 14-15,-13-1 0,-1-12 16,1-1-16,-14 13 0,14-13 16,-13 1-16,39 25 15,-53-25-15,0-14 0,0 13 0,1-13 16,-1 13-16,0 0 15,0 1-15,1-14 16</inkml:trace>
  <inkml:trace contextRef="#ctx0" brushRef="#br0" timeOffset="112400.89">4035 6032 0,'40'14'15,"-27"12"1,0-26-16,40 40 15,-13 0 1,-1-14 0,-39-13-16,14 0 15,-14 1-15,13-14 0,-13 13 0,0 0 0,0 0 16,0 1-16,0-1 16,0 0-16,0 0 0,-13 1 0,13 12 0,-14-13 15,1 0-15,0 14 0,0-14 0,-1 0 16,1 14-16,0-14 15,0 0-15,0 1 0,-1-1 0,1 0 16,0 0-16,0 0 0</inkml:trace>
  <inkml:trace contextRef="#ctx0" brushRef="#br0" timeOffset="114511.21">4075 6747 0,'-14'13'15,"28"14"1,-14-14-16,0 0 0,13 0 0,-13 0 0,0 14 16,13-14-16,-13 14 15,0-14-15,0 0 0,13 14 16,-13-14-16,0 0 15,0 0-15</inkml:trace>
  <inkml:trace contextRef="#ctx0" brushRef="#br0" timeOffset="114869.64">3956 6787 0,'0'-27'0,"13"14"0,0 0 16,0 13-16,0 0 0,1-14 15,-1 14-15,0 0 0,0 0 16,14 14-16,-14-14 0,0 13 0,14-13 15,-14 13-15,0 0 0,0 1 0,-13-1 16,14 0-16,-1 13 0,-13-12 16,0-1-16,0 0 0,0 14 15,0-14-15,0 0 0,0 0 0,-13 1 16,13 12-16,0-13 0,-14 0 16,1 1-16,13-1 0,-13-13 15,13 13-15,-13 0 0</inkml:trace>
  <inkml:trace contextRef="#ctx0" brushRef="#br0" timeOffset="115946.3">4392 6760 0,'-13'-13'16,"0"13"-16,-1 13 16,1 0 15,13 1-31,-13 25 15,0-26-15,13 1 0,-14-1 16,14 0-16,0 0 16,0 14-16,0-14 15,14-13 17,-1-13-32,0 0 15,-13-1 1,13 1-16,-13 0 15,27 13 32,-14 26-31,0-26 0,1 14-16,12-28 15,-13 14 1,-13-13-16,13 13 0,-13-13 15,14-14-15,-1 14 0,-13 0 16,0 0-16,13 0 0,-13-14 0,0 14 16,0 0-16,0-14 0,0-12 15,0 12-15,-13 14 0,13 0 16,0-1-16,0 1 0,0 0 16,0 0-16,0 39 31,13-13-31,-13 1 0,0-1 0,0 13 15,13-12-15,-13 12 16,14 14-16,-1-27 16,-13 0-16,13 0 0,0 1 0,-13-1 15,14-13-15,-1 0 0,-13 13 16,13-13-16</inkml:trace>
  <inkml:trace contextRef="#ctx0" brushRef="#br0" timeOffset="116148.62">4524 6720 0,'-13'0'15,"40"-13"1,-14 13-16,-13-13 0,13 13 15,14-13-15,-14 13 0,0 0 16,0-13-16</inkml:trace>
  <inkml:trace contextRef="#ctx0" brushRef="#br0" timeOffset="116666.58">4762 6628 0,'-26'13'0,"13"0"16,0 1-16,13-1 15,-14 0 1,14 0-1,14-13-15,-14 13 0,26-26 16,-13 0 0,0 0-1,1 13-15,-14-13 0,13-1 16,-13 1 0,13 13-16,0 13 31,-13 1-16,14-1-15,-14 0 0,13-13 16,-13 13-16,13-13 0,-13 13 16</inkml:trace>
  <inkml:trace contextRef="#ctx0" brushRef="#br0" timeOffset="117128.57">4908 6324 0,'0'52'15,"0"-38"-15,13-1 0,-13 13 16,0 1-16,13 13 0,-13-14 15,0-13-15,0 14 0,0-14 0,0 0 16,0 0-16,0 14 0,14-14 16,-14 0-16,0 1 15,0-54 17,13 13-17,-13 14-15,13 0 16,-13 0-16,27-1 15,-14 1-15,0 13 0,0 0 16,1 0 0,-1 13-1,0 1-15,-26 12 16,13-13-16,-13 1 0,13-1 16,-14 0-16,1 0 15,0 1-15,13-1 0,-13-13 16</inkml:trace>
  <inkml:trace contextRef="#ctx0" brushRef="#br0" timeOffset="117669.58">5212 6390 0,'0'0'0,"-13"13"16,13 0-16,0 0 15,0 1-15,0-1 16,0 13-16,13-26 0,-13 14 16,0-1-16,14 0 0,-14 0 15,13 0-15,0-13 16,0 14-16,0-14 16,1-14-1,-1 1 1,-13 0-1,13 0 1,-13-14 0,27 41 31,-27-1-32,13-13 1,0 13-1,0-13 1,14 0 0</inkml:trace>
  <inkml:trace contextRef="#ctx0" brushRef="#br0" timeOffset="118171.2">5517 6310 0,'-40'-13'16,"40"26"0,40-13-16,-80 14 15,40-1-15,13 0 16,-13 0-16,13 0 0,1 1 15,-14-1-15,13 13 16,-13-12-16,0-1 16,0 0-16,0 0 15,-13 14 1,39-40 31,-13-1-47,-13 1 15,13 0-15,1 0 0,-14-1 16,13 1-16,0-13 0,-13 12 0,13 1 16,-13 0-16,14 0 0,-14 0 0,0-1 15,13 1-15,-40 40 47,27-1-31,0-13-16,0 0 15,14 1 1,-1-14-16,-13 13 0,13-13 16</inkml:trace>
  <inkml:trace contextRef="#ctx0" brushRef="#br0" timeOffset="118778.84">5199 6390 0,'13'0'16,"1"13"-1,-1-13-15,-13 13 0,13 0 0,0 1 16,-13-1-16,13 0 0,1 0 15,-14 1-15,13-14 0,0 13 16,-13 0-16,13-13 0,1 13 0</inkml:trace>
  <inkml:trace contextRef="#ctx0" brushRef="#br0" timeOffset="140357.7">4313 7117 0,'-27'0'16,"14"0"-16,39 0 47,27-26-32,-26 13 1,52-14-16,-39 14 0,0 0 15,39-14-15,-39 14 16,13 0-16,-14 0 0,1-1 0,13 1 16,-13 0-16,-1 0 0,1-1 15,53-12-15,-67 26 0,14-13 0,-14-1 16,1 14-16,-14 0 16,13-13-16,-12 13 0,-1 0 0,0 0 15</inkml:trace>
  <inkml:trace contextRef="#ctx0" brushRef="#br0" timeOffset="140661.46">4419 7197 0,'79'-14'0,"-13"-12"15,-26 13-15,-1 0 16,1-1-16,13 1 0,40-13 16,-1-1-16,1 1 15,-53 12-15,-1 14 16,14-26-16,-26 26 0,-14 0 15,0-13-15,0 13 0,1 0 0,-1-13 16</inkml:trace>
  <inkml:trace contextRef="#ctx0" brushRef="#br0" timeOffset="141794.08">3863 6641 0,'26'-13'31,"-12"13"-31,-1 0 0,0 0 16,40-13-16,-27-1 15,54-12-15,-27 26 0,53-40 16,13 1-1,-53 25-15,66-25 0,-66 12 16,66-13-16,14 1 16,-80 26-16,0-14 0,0 14 15,67-27-15,-80 27 0,-14 0 16,14-1-16,-26 1 0,12 0 16,-12 13-16,-1-13 0,1 13 0,-14-13 15,13-1-15,-12 14 16,-1 0-16,0 0 0,-13-13 0,13 13 15,1 0-15,-1 0 16,0-13 0,0 13-1,1 13 32,-1-13-31,-13 13-1,13 1-15,-13-1 16,13 0-16,-13 0 0,0 0 16,13 1-16,1 25 15,-14-25-15,13 12 0,0 27 16,-13-13-16,13-27 0,-13 13 16,0 1-16,14-1 0,-14 1 0,13-1 15,-13 1-15,13-14 0,-13 13 0,13 1 16,1-1-16,-14-12 15,0-1-15,13-13 0,-13 13 0,13 0 16,-13 0-16,0 1 16,0-1-16,0 0 31,-13-13-31,13 13 16,-27-13-16,14 14 0,0-14 15,-14 13-15,1 0 0,-1 0 16,-12 0-16,-67 27 0,40-27 15,-66 27-15,65-13 16,1-1-16,-66 14 0,0-1 16,-1-12-16</inkml:trace>
  <inkml:trace contextRef="#ctx0" brushRef="#br0" timeOffset="142552.74">3744 6628 0,'-40'13'0,"27"-13"16,-27 40-1,40-27 1,-13 0-16,13 0 0,0 40 16,0-39-1,0 12-15,13 0 0,-13 14 0,13 0 16,-13 0-16,14-14 0,-1 14 0,-13-1 16,13 1-16,0 0 0,-13-1 15,14-12-15,-1 13 0,0-1 0,-13-12 16,27 12-16,-27-12 0,13-14 15,-13 0-15,13 1 0,-13-1 16,13 13-16,-13-13 0,13 1 16,1-1-1,12-26 1,-13 13-16,1 0 0,12-14 16,40-12-16,-26 0 15,0 12-15,-1-12 0,1 13 0,13-14 16,0 14-16,0-14 0,-14 14 15,1 0-15,13 0 0,-13 0 0,-1-1 16,1 1-16,-13 13 0,-1 0 16,-13-13-16,0 13 0,1 0 15,-1 0-15,0 0 0</inkml:trace>
  <inkml:trace contextRef="#ctx0" brushRef="#br0" timeOffset="143406.48">6152 6972 0,'39'0'16,"-26"0"-16,1 0 15,25 0-15,-12 0 16,-1 0-16,14 13 0,-14-13 0,1 0 16,13 0-16,-14 0 0,1 0 0,12 0 15,-12 0-15,-1 0 0,1 0 16,26 0-16,-40 0 0,13 0 15,-13 0-15,1 0 0,-1 0 16,0 0-16,0 13 0,1-13 16</inkml:trace>
  <inkml:trace contextRef="#ctx0" brushRef="#br0" timeOffset="143728.98">6668 6826 0,'0'0'31,"26"0"-31,-13 13 0,0-13 15,14 14-15,-14-14 0,0 13 16,1 0-16,12-13 0,-13 13 0,0 1 16,1-14-16,-14 13 0,13 0 15,0-13-15,-13 13 0,13 1 0,-13 12 16,0-13 0,-13 14-16,13-14 0,-26 13 15,12 1-15,-12-14 0</inkml:trace>
  <inkml:trace contextRef="#ctx0" brushRef="#br0" timeOffset="145401.57">7422 6813 0,'0'-13'15,"0"0"17,0 39 14,13-13-46,-13 27 16,13 0 15,-13-27-31,0 0 0,13 0 16,-13 1-16,0-1 16,0 0-1,0 0 1,0 0 46</inkml:trace>
  <inkml:trace contextRef="#ctx0" brushRef="#br0" timeOffset="146251.31">7316 6839 0,'-14'-13'16,"28"0"-1,-1 13 1,0-13-16,0 13 0,1 0 15,-1 0-15,0 0 0,0 13 16,1-13-16,-1 13 16,-13 0-16,13-13 0,-13 14 0,0-1 15,0 0-15,0 14 0,0-14 16,-13 0-16,13 0 0,-13 1 16,13-1-16,-14 13 0,1-13 0,0 1 15,0-1-15,13 0 16,-14-13-16,14 13 0,0 1 15,-13-14-15,26 13 32,40-26-17,-39-1-15,-1 14 16,0 0-16,0-13 0,0 13 16,1-13-16,-1 13 0,0-13 0,0 13 15,14-14-15,-14 14 16,0-13-16,1 13 0,-1 0 0,0-13 15</inkml:trace>
  <inkml:trace contextRef="#ctx0" brushRef="#br0" timeOffset="146490.7">7686 6787 0,'-13'0'15,"26"13"1,-13-26 0,-13 39-16,13-13 0,0 0 15,0 1-15,0-1 0,0 13 16,0-12-16,0-1 0,0 0 0,0 0 16,0 1-16,13-1 0,-13 0 15,0 0-15,13-13 0</inkml:trace>
  <inkml:trace contextRef="#ctx0" brushRef="#br0" timeOffset="146854.53">7951 6839 0,'-27'0'15,"-26"27"1,27-14 0,13-13-16,-1 27 0,1-14 15,13 0-15,-13 0 16,26 1 0,-13-1-16,13-13 15,1-13-15,-1 13 16,0 0-16,0-14 15,1 1 1,-1 13-16,-13-13 0,13 13 16,0 0-1,1 13 1,-14 0 0,13 1-1,0-14-15,0 0 0</inkml:trace>
  <inkml:trace contextRef="#ctx0" brushRef="#br0" timeOffset="147085.58">8189 6800 0,'-13'-13'31,"-40"92"0,53-66-31,0 0 0,0 1 16,0-1-16,13 0 16,40-145-16,-106 277 0,66-145 15,-13 14-15,13-14 16,1 0-16,-1 0 0,0 0 0,0 0 16,1-14-16</inkml:trace>
  <inkml:trace contextRef="#ctx0" brushRef="#br0" timeOffset="147402.78">8506 6800 0,'0'0'16,"27"-13"15,-14 13-31,13 0 0,14 0 16,-27 0-1,14-14-15,-14 14 0,0 0 0,14 0 16,-14-13-16,0 13 0,0 0 15,1 0-15,-1-13 16,0 13-16,0-13 0</inkml:trace>
  <inkml:trace contextRef="#ctx0" brushRef="#br0" timeOffset="147701.51">8665 6628 0,'66'0'0,"-53"0"0,1 13 15,12-13-15,-13 0 16,14 13-16,-1 1 0,14-1 15,-27 0-15,14 13 0,-14-12 16,0-1-16,-13 27 16,0-14-16,-26 40 0,12-26 15,-12 0-15,0 12 0,-54 28 0,54-40 16,-27-1-16</inkml:trace>
  <inkml:trace contextRef="#ctx0" brushRef="#br0" timeOffset="152857.94">9988 6496 0,'13'-14'31,"14"1"-15,-14 13-16,0 0 16,0-13-16,14 13 0,-14 0 15,0-13-15,1 13 0,12-14 0,-13 14 16,0 0-16,1 0 16,12 0-16,-13 0 15</inkml:trace>
  <inkml:trace contextRef="#ctx0" brushRef="#br0" timeOffset="153079.4">10054 6694 0,'53'-13'31,"-40"13"-31,1-13 16,-1 13-16,0 0 0,13-14 0,-12 14 15,-1 0-15,-172 40 0,344-80 16,-171 40-16,12 0 16</inkml:trace>
  <inkml:trace contextRef="#ctx0" brushRef="#br0" timeOffset="153279.8">10120 6906 0,'27'0'16,"-14"-14"-16,0 14 0,14-13 15,12 0-15,-12 13 16,-1-13-16,-12 13 0</inkml:trace>
  <inkml:trace contextRef="#ctx0" brushRef="#br0" timeOffset="153482.05">10147 7104 0,'39'0'31,"-25"0"-31,-1-13 0,0 13 16,0 0-16,1 0 0,25-13 15,-12 13-15,-14-14 0</inkml:trace>
  <inkml:trace contextRef="#ctx0" brushRef="#br0" timeOffset="154389.19">10438 6178 0,'53'-13'0,"-40"13"0,0 0 16,0 0-16,14 0 15,-14 13-15,0-13 0,14 13 16,-27 0-16,13 1 0,0 12 0,0-13 16,1 14-16,-1-1 0,-13 1 0,13-1 15,0 14-15,1 0 0,-1 39 16,0-39-16,0 39 15,1-26-15,-1-13 0,-13-1 16,13 1-16,-13 0 0,13-14 16,0 14-16,-13-14 0,14 1 0,-14-14 15,0 13-15,0-12 0,13 12 0,-13-13 16,-13 1-16,13-1 0,0 0 0,0 0 16,-14 1-16,1-1 0,13 0 15,-13-13-15,0 13 0,0 0 16,-1-13-16,-12 0 15,26-13-15,-13 13 0</inkml:trace>
  <inkml:trace contextRef="#ctx0" brushRef="#br0" timeOffset="154681.42">11139 6390 0,'0'39'15,"0"1"1,0-13-16,0-14 0,-13 13 15,13 1-15,0-14 0,0 13 0,0-12 16,0 12-16,0-13 0,0 1 16,0-1-16,0 0 0,0 0 15,0 0-15</inkml:trace>
  <inkml:trace contextRef="#ctx0" brushRef="#br0" timeOffset="155045.65">11139 6416 0,'79'-40'0,"-52"54"16,-14-14-16,-13 13 15,0 0-15,-26 40 16,26-40-16,-14 1 16,1 12-16,0-13 0,0 0 0,-1 1 15,1-1-15,0 0 0,13 0 16,-13-13-16,13 14 0,-14-1 16,14 0-1,0 0 1,14-13-16,-14 14 0,13-14 0,0 0 0,0 0 15,1 0-15,12 0 16,-13 0-16,1 0 0,-1 0 16,0 0-16,0 0 0,14-14 0,-14 14 0</inkml:trace>
  <inkml:trace contextRef="#ctx0" brushRef="#br0" timeOffset="155594.51">11443 6469 0,'-26'0'16,"26"13"-16,-13-13 15,-1 14-15,1 12 16,13-13-16,0 0 16,0 1-16,0-1 15,0 0-15,13 0 16,1-13 0,-1 0-16,0-13 15,0-13 1,0 12-1,-13 1 1,14 26 15,-1-13-31,0 27 16,0-14 0,-13 0-1,14-13-15</inkml:trace>
  <inkml:trace contextRef="#ctx0" brushRef="#br0" timeOffset="155914.58">11615 6509 0,'0'0'16,"0"26"-1,0-13-15,0 1 16,13-14-16,-13 13 16,27-26 15,-14 13 0,0 0-15,1 0-16,-1 0 15,0 0-15,0 13 16,27-26 0</inkml:trace>
  <inkml:trace contextRef="#ctx0" brushRef="#br0" timeOffset="156450.4">11893 6191 0,'-13'-13'16,"26"66"15,0 0-15,0-40-16,-13 0 0,14 40 15,-14-40-15,0 1 16,0-1-16,0 0 0,0 0 0,0 1 16,0-1-1,13 0-15,-13-39 78,0 12-62,-27 28 47,14 12-48,0-13 1,0 14-1,13-14-15,0 0 16,0 0 0,13 1-16,0-14 15,14 0 1,-14 0-16,0-14 0</inkml:trace>
  <inkml:trace contextRef="#ctx0" brushRef="#br0" timeOffset="156956.64">12105 6152 0,'0'13'0,"0"0"0,0 0 16,0 40 0,0-40-16,0 14 0,13-14 0,-13 0 15,0 14-15,0-14 0,0 27 16,0-27-16,13-13 15,-13 13-15,0 0 0,13-26 47,1 0-31,-1 13-16,0-13 16,0 13-16,14 0 15,-14 0 1,-13 13-16,-13 0 15,13 0 1,-13 1-16,-1-1 16,1-13-16,13 13 0,-26 0 15,26 1-15,-14-14 16</inkml:trace>
  <inkml:trace contextRef="#ctx0" brushRef="#br0" timeOffset="157614.14">12330 6416 0,'13'-13'16,"-26"26"-16,39-53 15,-26 27-15,0 0 16,-13 26 31,0 0-47,13 1 15,0-1-15,0 0 16,0 0-16,0 1 16,13-14-16,0 0 0,0 13 0,0-26 15,40 13 1,-39-14-16,-1 1 15,0 0-15,0 13 0,14-27 0,-14 14 16,0 0-16,0-13 0,-13 12 16,27-52-1,-14 26-15,-13 27 0,13-26 32,-13 65-1,0-13-31,0 0 0,14 1 15,-14 12-15,0 1 0,13-1 0,-13 1 16,0-1-16,0-13 0,13 14 16,-13-14-16,0 27 0,0-27 15,0 0-15,0 0 0,-13 1 16,13-1 0,-27-13-1,14 0-15,0-13 0,0 13 16,-1-14-1,1 1 1,26 0-16,1 0 16,-1 13-1,0-14-15,-13 1 0,27 13 0,12-26 16,-25 12 0,-1 14-16,13-13 0,-13 13 0,1 0 15,-1-13-15,0 13 0,0 0 0,1 0 16</inkml:trace>
  <inkml:trace contextRef="#ctx0" brushRef="#br0" timeOffset="158461.5">12832 6337 0,'-13'0'16,"13"13"-1,13 0-15,-13 0 16,14 1 0,-1-14-16,0 13 15,0-13-15,0 0 16,1 0-1,-1-13 1,0 13-16,0-14 16,1 14-1,-1 0 1,0 0 15,14 0-15,-27-13-16,13 13 0,-13-13 15,13 13 1,-13-13-16,13 13 16,0-13 15,14-1-15,-14 14-16,0 0 15,-13-13-15,14 13 16,-1-13-16,0 0 15,-26 39 32,13-13-31,13 1 0,0-14-1,0 0 1,-13-14-16,27 14 0,-14 0 15,14-13 1,-14 0-16,0 13 16,-13 13 15,13-13 0,1 0-31,-1 0 16,0 0-1,0 0-15,0 0 16,1 0-16,12 0 31,-13 0-31,14 0 16,-14-13-16,0 13 16</inkml:trace>
  <inkml:trace contextRef="#ctx0" brushRef="#br0" timeOffset="161302.7">13838 6244 0,'53'0'0,"-40"0"0,0 0 15,27-13-15,-27 13 16,40 0 0,-40-13-16,0 13 0,1 0 0,-1 0 15</inkml:trace>
  <inkml:trace contextRef="#ctx0" brushRef="#br0" timeOffset="161558.65">14089 6125 0,'13'-13'0,"1"13"16,25 26 0,-26-26-16,1 14 15,-1-1-15,0-13 0,0 13 0,-13 0 16,14 40-1,-14-40-15,-14 27 0,1-27 16,0 14-16,0-14 0,-1 13 16,-38 27-1,38-39-15,1-1 0,0 0 16</inkml:trace>
  <inkml:trace contextRef="#ctx0" brushRef="#br0" timeOffset="162476.83">14777 5834 0,'0'27'32,"-13"-1"-17,13-13-15,0 14 0,0-14 16,0 0-16,0 0 0,0 40 16,0-40-16,0 1 15,0-1-15,0 0 0</inkml:trace>
  <inkml:trace contextRef="#ctx0" brushRef="#br0" timeOffset="163673.74">14499 6866 0,'13'-27'0,"1"27"0,-1 0 0,0 0 15,-13 14 1,0-1 0,0 0-16,-13 0 0,13 1 0,-13-1 15,13 0-15,-14 0 0,1 1 16,13-1-16,-13-13 0,13 13 0,0 0 16,-13-13-1,26 13 1,0-13-1,0 0-15,14 0 0,13-13 16,-27 13-16,26-13 16,-25 0-16,-1 13 15</inkml:trace>
  <inkml:trace contextRef="#ctx0" brushRef="#br0" timeOffset="164017.51">14817 6800 0,'-14'0'0,"1"0"16,0 13 0,0 0-16,13 0 0,0 1 15,-13-1-15,26 0 16,-13 0-16,0 1 0,13-14 15,13 13 1,-12-13 0,12-13-1,-13-1 1,-13 1-16,0 0 16,-13 0-1,13-1 1,-13 1-1</inkml:trace>
  <inkml:trace contextRef="#ctx0" brushRef="#br0" timeOffset="164317.92">14922 6773 0,'0'14'16,"0"-1"-16,0 0 0,14 13 16,-1-12-1,13-1 1,1-13 0,-14 0-1,0-13-15,1-1 16,-14 1-1,0 0 1,0 0 0,-14 13-1,14-13 1</inkml:trace>
  <inkml:trace contextRef="#ctx0" brushRef="#br0" timeOffset="164661.67">15227 6707 0,'-13'27'31,"13"-14"-31,-14 0 15,28 0-15,-14 1 16,13-1 0,0-13-16,0 0 15,0 0 1,1-13 0,-14-1-1,0 1 1,0 0-16,-14 13 31,1 0-15</inkml:trace>
  <inkml:trace contextRef="#ctx0" brushRef="#br0" timeOffset="165054.43">15399 6707 0,'-13'13'0,"-1"14"15,14-14 1,0 0-16,0 1 0,-13-14 0,26 13 16,-13 0-16,0 0 15,27-13 1,-14 13-16,0-13 16,0-13-16,1 13 15,-14-13 1,13 0-16,-13 0 15,-13-1 1,13 1-16,-14 0 0,1 13 31</inkml:trace>
  <inkml:trace contextRef="#ctx0" brushRef="#br0" timeOffset="165482.4">15558 6747 0,'0'40'16,"13"-27"-16,-13 0 15,13-13-15,0 0 16,14 0-1,-1 0 1,-26-13-16,13 13 0,-13-13 0,14 13 16,-14-14-16,0-12 31,-14 26-31,14-13 0,-13-1 0,0 14 16,-14 0-1,14 0-15</inkml:trace>
  <inkml:trace contextRef="#ctx0" brushRef="#br0" timeOffset="166335.43">15677 5728 0,'39'53'0,"-39"-26"0,0-1 16,0 1-16,13 78 15,1-78-15,-14-14 16,13 13-16,0 14 15,0-27-15,1 1 0,-14-1 16,13-13-16,0 0 0,0 0 16,14 0-1,-14 0-15,0 0 16,14 13 0,-14-13-16,-13 27 0,13-14 0,0 13 15,14 80 1,-14-66-16,-13-1 0,13 1 0,-13 0 15,0 0-15,0-14 0,0 0 0,0 1 16,-13 13-16,13-14 0,0-13 16,-40 53-1,27-52-15,13-1 0,-13 0 0,0 0 16,-40 14-16,40-27 16</inkml:trace>
  <inkml:trace contextRef="#ctx0" brushRef="#br0" timeOffset="166898.28">16470 5874 0,'40'0'15,"-27"0"1,0-13-16,80-1 16,-66 1-16,12 0 0,1 0 15,0-1-15,-1 14 0,14-26 16,-26 26-16,-1-13 0,-13 13 15,1-14-15,-1 14 0,0 0 0,0-13 16,0 0-16</inkml:trace>
  <inkml:trace contextRef="#ctx0" brushRef="#br0" timeOffset="167137.99">16828 5503 0,'0'0'15,"39"14"1,-26-1-16,14 0 0,-14 0 16,14 14-16,-1-1 0,0 1 0,-12-1 15,12 1-15,-13-1 0,-13-13 16,14 14-16,-14-1 0,0 27 16,-14-26-16,1 12 0,0-12 15,0-1-15,-14 14 0,14-14 0,0 1 16,-14-14-16,14 0 0,-13 14 15,12-14-15,14 0 0</inkml:trace>
  <inkml:trace contextRef="#ctx0" brushRef="#br0" timeOffset="170421.88">17873 5503 0,'13'-13'16,"0"0"-1,0 13-15,1-13 16,-1 13-1,-40 13 17,1 13-17,13-12-15,-1-14 0,1 13 0,0 0 16,0-13-16,13 13 16,-14-13-16,14 13 15,0 1-15,14-1 16,-1-13-16,0 0 15,0 0-15,1 13 0,-1-13 16,0 0-16,0 13 0,1-13 16,-1 27-1,0-27-15,-13 13 0,0 0 16,0 1-16,0-1 16,-13 13-1,0-26-15,-1 13 16,1 1-16,0-14 0,0 13 0,-1 0 15,1-13 1,0-13 0</inkml:trace>
  <inkml:trace contextRef="#ctx0" brushRef="#br0" timeOffset="170701.46">18045 5543 0,'0'13'16,"0"14"0,0-14-1,13 0-15,0 0 0,0 14 16,1-27 0,-1 0-16,0 0 15,0 0-15,0 0 16,-13-13-16,14 13 0,-14-14 15,0 1 1,0 0-16,0 0 0,0-1 16,-27 1-1,1 13-15,13 0 16,-1 13-16,1-13 16</inkml:trace>
  <inkml:trace contextRef="#ctx0" brushRef="#br0" timeOffset="171153.32">17992 5913 0,'132'-39'0,"-92"26"0,-14-1 0,1 1 16,12 0-16,-12 0 15,39-27-15,-53 27 16,14-14-16,-14 14 0,0-13 0,-13 12 16,13-12-16,0-1 0,-26-105 15,0 92 1,0-12-16,-14 12 0,1-13 0,-40-26 16,26 52-16,-13 1 15,13 12-15,1-12 0,-14 13 16,-53 13-16,53 0 0,-26 0 15,13 13-15,-1 13 0,1-12 0,13 12 16,0 1-16,0 12 0,1 1 16,-41 79-16,67-79 15,12-1-15,14 1 0,0 0 16,0-1-16,14 1 0,-1 0 0,13 13 16,14-14-16,-14-12 0,14 13 15,13-14-15,-13 0 0,-1-12 0,14-1 16,-13 0-16,0-13 0,13 13 0,-27-13 15,0 0-15,1 0 0,-1 0 16,1 0-16,-14 0 0,0 0 0</inkml:trace>
  <inkml:trace contextRef="#ctx0" brushRef="#br0" timeOffset="172400.55">18494 5530 0,'0'-13'15,"27"13"-15,-1-14 16,-12 14 0,-1 0-16,13-13 0,-13 13 0,1-13 0,-1 13 15,13 0-15,-12-13 16,38 13-16,-38-14 15,-1 14-15,0 0 0,0-13 0,1 13 16,-1 0-16</inkml:trace>
  <inkml:trace contextRef="#ctx0" brushRef="#br0" timeOffset="172621.33">18759 5358 0,'26'13'0,"-12"0"15,-54-39-15,93 52 0,-40-12 0,-13-1 0,13 0 16,1-13-16,-14 13 0,13 0 0,-13 1 16,0 25-16,0-25 15,0-1-15,-13 0 0,13 0 0,0 0 16,-14 1-16,14-1 0</inkml:trace>
  <inkml:trace contextRef="#ctx0" brushRef="#br0" timeOffset="173486.46">19156 5252 0,'-13'40'0,"13"-27"0,0 0 16,0 14-16,0-14 0,0 0 0,0 14 15,0 12 1,-14-26-16,14 1 0,0-1 0,0 0 16,0 0-16,0 1 0,-13-1 15,0-26 17,13-14-17,0 14-15,0-14 0,13 1 0,14-80 16,-14 80-16,0-1 15,0 1-15,1 13 0,-1-1 16,0 1-16,0 0 0,0 13 0,14-13 16,-14 13-16,-13 13 0,13-13 15,-13 13-15,0 27 16,-13-27 0,0 0-16,-14 27 0,1-14 0,13-12 15,0-1-15,-27 27 16,27-27-16,-1 0 15,14 0 1,0 0-16,14 1 16,-1-14-1,27 0 1,-27 0-16,40 0 16,-40 0-16,0 0 0,0 0 0,1 0 15,-1 0-15,0-14 0,0 14 16</inkml:trace>
  <inkml:trace contextRef="#ctx0" brushRef="#br0" timeOffset="174017.69">19473 5331 0,'-13'0'0,"0"0"16,0 0-16,13 14 16,-14-14-16,1 13 15,13 0 1,-13 0-16,13 1 16,0-1-16,0 0 15,13-13 1,14 0 15,-27-13-15,13 13-1,-13-13-15,13 13 16,0 0 15,1 13 0,-1-13 16,0 0-31,0 0 0,0 0-1,1 0-15,-14-13 0,26 13 16,-13 0-1,27-14 1</inkml:trace>
  <inkml:trace contextRef="#ctx0" brushRef="#br0" timeOffset="174409.49">19870 5120 0,'0'-14'0,"-13"1"0,0 13 16,0 13 0,13 1-1,-14-1-15,14 0 16,-13 0-16,13 1 0,0-1 0,-13 27 16,13 12-1,0-38 1,13-1-16,-13 0 15,0 0 1,-13 1 0,0-14-1,-1 13 1,1 0-16,0-13 0,0 13 0,13 1 16,-14-14-16,14 13 15,0 0 1,14-13-1,-1 0-15,0 0 0,14 0 16,-14-13 0</inkml:trace>
  <inkml:trace contextRef="#ctx0" brushRef="#br0" timeOffset="174738.34">20002 5278 0,'-13'0'0,"0"0"16,0 0-1,13 14-15,-13-14 0,13 13 32,0 0-32,13-13 31,0 0-16,0 0 1,0 0 0,1 0-1,-1 0 1,0 0-16,0 0 16,1 0-16,-1-13 0,0 13 15,14 0 1</inkml:trace>
  <inkml:trace contextRef="#ctx0" brushRef="#br0" timeOffset="175618.02">19235 5755 0,'0'-14'16,"0"54"-16,0-27 0,0 1 15,13 39 1,-13-40-16,0 0 0,0 13 0,0-12 16,0 25-1,0-25-15,0-1 0,0 0 0,0 0 16,0 0 0,-13-13-16,0 0 15,13-13 1,0 0-16,-13-27 15,13 27-15,13-13 16,-13 12-16,13-52 16,0 53-16,-13 0 0,14 0 15,12-14-15,-13 27 16,1 0-16,12 0 16,-26 13-16,0 1 15,0 12 1,0-13-16,-13 1 0,13-1 0,0 0 15,-13-13-15,13 13 0,-14 14 16,14-14 15,-13 0-15,26 0 0,1-13-16,-1 0 15,13 0 1</inkml:trace>
  <inkml:trace contextRef="#ctx0" brushRef="#br0" timeOffset="175950.45">19487 5940 0,'13'-40'15,"-13"27"-15,-13 26 47,-1 0-31,28 14-1,-1-1-15,13-26 16</inkml:trace>
  <inkml:trace contextRef="#ctx0" brushRef="#br0" timeOffset="176661.28">19685 5689 0,'-13'-14'16,"13"1"-16,-13 40 31,26-1-15,-13 0-16,0-12 15,0-1-15,0 0 0,0 27 16,0-27-16,0 14 0,0-14 16,0 13-16,0-13 0,0 1 0,-13-1 15,-1 27 1,14-27-16,-13 0 16,13 0-1,13-39 16,14-1-15,-14 27-16,-13-13 0,13 0 16,14-14-1,-14 14-15,-13 0 0,0 0 0,13 13 16,-13-13-16,0-1 16,13 1-1,-13 0-15,0 0 31,14 13-15,-14-14 15</inkml:trace>
  <inkml:trace contextRef="#ctx0" brushRef="#br0" timeOffset="176996.83">19685 5689 0,'53'-27'0,"-40"27"0,14 27 15,-14-14 1,0 0-16,-13 0 16,0 0-16,0 1 0,-13 39 15,0-40-15,13 0 0,-27 14 16,14-14-16,0 0 16,-1 0-16,14 0 0,-13-13 0,0 27 15,0-27 1</inkml:trace>
  <inkml:trace contextRef="#ctx0" brushRef="#br0" timeOffset="177502.58">19910 5821 0,'0'-27'15,"0"54"-15,0-67 16,-13 40 0,-1 13-1,14 1 1,0-1 0,0 0-16,0 0 15,14-13 1,-1 0-16,0 0 15,0 0-15,1 14 16,-1-14 0,0 0-1,0 0-15,0 13 32,1-13-17,-1-13-15,0 13 16,0 0-16</inkml:trace>
  <inkml:trace contextRef="#ctx0" brushRef="#br0" timeOffset="177696.64">20174 5794 0,'14'0'0,"-14"14"47</inkml:trace>
  <inkml:trace contextRef="#ctx0" brushRef="#br0" timeOffset="-202071.82">21153 9657 0,'-13'-13'31,"40"13"1,-14 0-32,0 0 15,0 0-15,67-13 16,-27 13-16,-27 0 15,1 0-15,-1-13 0,0 13 0,-12 0 0,52-14 16,-40 14 0,1-13-16,-14 13 15,0 0-15</inkml:trace>
  <inkml:trace contextRef="#ctx0" brushRef="#br0" timeOffset="-201822.6">21603 9406 0,'13'0'0,"14"0"0,-14 13 16,14 0-16,-14 1 15,13-1-15,14 27 16,-40-27-16,13 13 15,-13-13-15,13 1 0,-26 25 16,0 1 0,0-13-1,0-14-15</inkml:trace>
  <inkml:trace contextRef="#ctx0" brushRef="#br0" timeOffset="-197996.03">7210 8771 0,'0'0'0,"26"0"0,80-27 15,13 1 1,-53 13-16,159-27 16,-145 27-16,78-14 15,-91 14-15,12 0 0,0 0 0,-13-1 16,67 1-16,-94 13 16,94-13-16,-107 13 15,1 0-15,-14 0 0,0 0 0,0 0 16</inkml:trace>
  <inkml:trace contextRef="#ctx0" brushRef="#br0" timeOffset="-197716.09">7514 8811 0,'185'-40'0,"-118"27"15,65-14-15,-66 14 0,13 13 16,-13-13-16,133-14 16,-133 14-16,0 13 15,-26-13-15,13 13 0,-14 0 0,1 0 0,-13 0 16,26 0-1,-40 0-15,0 0 0,0 0 16,0 0-16</inkml:trace>
  <inkml:trace contextRef="#ctx0" brushRef="#br0" timeOffset="-187891.87">6416 7739 0,'40'40'0,"-27"-27"0,0 13 16,1-26-16,-14 14 0,13-1 16,0-13-16,-13 13 15,13-13 1,14-13-16,-27-14 15,13 14 1,-13 0-16,0-27 16,0 14-16,0 13 0,13-1 0,-13 1 15,0-13 1,0 12-16,0 1 16,13 26-1</inkml:trace>
  <inkml:trace contextRef="#ctx0" brushRef="#br0" timeOffset="-187582.76">6787 7752 0,'-14'-53'0,"14"40"16,-26 26 15,26 1-15,0-1-16,0 27 31,13-27-31,0-13 15,14 0 1,12-13-16,-25 13 16,-1-14-16,0 14 0</inkml:trace>
  <inkml:trace contextRef="#ctx0" brushRef="#br0" timeOffset="-187278.86">6985 7633 0,'-13'-13'15,"0"13"-15,39 13 0,-66-39 16,27 26-1,0 13-15,13 0 32,0 14-17,13-14-15,-13 0 0,13 0 0,-13 1 16,14-1-16,-14 13 0,13 14 16,-13-27-16,0 0 15,0 1-15,0-1 16,-13 0-16,13-39 47,26-1-32,-13 14-15,0 0 0,1 0 16,12-1-16,-13 1 16,1 0-16,12 0 15</inkml:trace>
  <inkml:trace contextRef="#ctx0" brushRef="#br0" timeOffset="-186371.4">6575 8043 0,'159'-13'0,"-120"0"0,94 0 15,-80-1 1,-14 1-16,1 0 0,13 0 0,-13 0 16,-1-1-16,27-12 15,-26-1-15,-14 14 0,1 0 0,-1 0 16,-12-1-16,12-12 0,14-27 15,-14 27-15,-26 12 0,27-25 16,-27 12 0,0-12-16,0 12 0,-53-52 15,26 52-15,1 1 16,-14-1-16,-13 14 0,-92-27 16,92 40-16,-13 0 15,13 0-15,-132 27 16,118-14-16,-118 27 15,79 13-15,53-27 16,14 1-16,12-1 0,-26 27 16,27-13-16,-1 52 15,27-39 1,14-26-16,-1-1 0,53 14 16,-26-14-16,-1-12 0,1-1 15,0 0-15,105 13 16,-105-26-16,-13 0 0,12 0 15</inkml:trace>
  <inkml:trace contextRef="#ctx0" brushRef="#br0" timeOffset="-181904.2">7792 7567 0,'40'13'0,"-27"1"0,-13-1 0,26 13 16,-26-13-1,0 1-15,0-1 0,0 0 0,14 14 16,-14-14 0,-14 0-16,14 0 0,0 1 15</inkml:trace>
  <inkml:trace contextRef="#ctx0" brushRef="#br0" timeOffset="-181439.44">7580 7713 0,'-13'0'16,"26"-14"-16,14 1 15,-1 13-15,1-13 16,-1 13-16,-13 0 16,1 0-16,-1-13 0,13 13 0,-12 0 15,-1-14-15</inkml:trace>
  <inkml:trace contextRef="#ctx0" brushRef="#br0" timeOffset="-181141.25">7792 7554 0,'26'13'31,"1"0"-16,-27 1-15,13-14 16,0 13-16,-13 0 0,14-13 16,-14 13-16,0 0 0,0 1 0,13-1 15,-13 0-15,-13 0 0,13 1 16,0-1-16,-14 0 16,14 0-16,0 1 0</inkml:trace>
  <inkml:trace contextRef="#ctx0" brushRef="#br0" timeOffset="-180659.31">8189 7766 0,'-13'-67'15,"13"54"1,13 0 0,0 26-1,0 0-15,14 1 16,-1-1 0,-13-13-1,14 0 1,-14 0-16,0-13 15,-13-1-15,0 1 16,0 0-16,0-14 16,0 14-16,0 0 15,0 0 1,0 0 0,14 13-16</inkml:trace>
  <inkml:trace contextRef="#ctx0" brushRef="#br0" timeOffset="-180408.73">8374 7607 0,'0'13'0,"13"0"15,-26-39-15,26 65 0,1-25 16,-1-1 0,0-13-16,0 0 0,14 0 15,-14 0 1,-13-13-16,13 13 15,-13-14-15,0 1 0,0 0 16,-13 0 0,0 0-1,-1 13-15,1 0 16,0 0 0</inkml:trace>
  <inkml:trace contextRef="#ctx0" brushRef="#br0" timeOffset="-180129.25">8559 7594 0,'13'13'0,"-26"-26"0,26 39 16,1-26-16,-14 13 15,13 0 1,0 1-1,0-28 32,1 14-31,-1 0-16,-13-13 0,26 13 16,-12 0-16,-1-13 0,0 13 15,13-13 1</inkml:trace>
  <inkml:trace contextRef="#ctx0" brushRef="#br0" timeOffset="-179755.4">9062 7554 0,'-13'26'0,"26"-12"16,0-14-1,0 13-15,1-26 16,12 13 0,-26-14-16,13 14 0,-13-13 15,14 13-15,-14-26 16,13 26-16,-13-14 0,0 1 0,13 13 16,-13-13-16,13 13 15,-13-13 1</inkml:trace>
  <inkml:trace contextRef="#ctx0" brushRef="#br0" timeOffset="-179323.32">9313 7527 0,'0'0'16,"0"-13"-16,0 40 47,14-14-32,-1-13 1,0 0 0,0 0-16,0 0 15,1 0-15,-1 0 16,0 0-16,0 0 15,1 13 1,-14 0 0,-14 14-1,14-14 1,-13 0-16,13 0 16,-13-13-16,39-26 46,-12 26-46,-1-13 16,0 0 0</inkml:trace>
  <inkml:trace contextRef="#ctx0" brushRef="#br0" timeOffset="-178899.43">8996 7832 0,'40'0'15,"-80"0"-15,106-14 0,-40 14 0,1-13 16,-1 13-16,14-13 0,13 0 0,-13 0 16,92-27-16,-92 27 15,-1-1-15,67-52 16,-79 53-16,12-13 0,-12-1 15,-1 1-15,14-27 16,-27 13-16,0 14 0,-13-14 16,0 13-16,0-26 0,-13 14 0,-13-1 15,-1 0-15,-26 14 0,-53-27 16,40 40-16,-13 0 0,0 13 16,-14 0-16,14 13 0,-14 0 0,-26 0 15,0 14-15,13 12 0,0 1 16,14 0-16,12-1 0,14 1 0,13 0 15,0 0-15,14-1 0,-1 1 0,13 39 16,27-52-16,0-1 16,14 14-16,12-14 0,14 1 0,13-1 15,13 1-15,0-14 0,0 0 0,13 0 16,80-13 0,0 0-16,-80-13 0,54 0 15</inkml:trace>
  <inkml:trace contextRef="#ctx0" brushRef="#br0" timeOffset="-169294.21">19103 11298 0,'-13'0'0,"13"-14"0,0 1 16,13 0 0,-13 0-16,13 0 0,14-1 15,39-25 1,-27 25-16,1 1 0,0 0 16,0 0-16,12-14 0,1 14 0,133-13 15,-134 12-15,15 1 16,-1 13-16,0-13 0,0 0 15,0 13-15,0-14 0,186-12 16,-173 26-16,0-13 16,199 13-1,-185 0-15,13 0 0,-14 13 0,14-13 0,-13 13 16,132 27 0,-133-27-16,-12 0 0,-1 14 0,0-1 0,1 1 15,-14-1-15,66 40 16,27 53-1,-106-79-15,66 79 16,-79-79-16,-14 13 0,0-14 0,1 1 16,26 66-1,-13 0-15,-27-40 16,-13-40-16,0 27 16,0-13-16,0 0 15,-13-1-15,13 1 0,-14 0 0,1-14 0,-27 54 16,-13 12-1,-26 40 1,66-105-16,-40 39 16,27-26-16,12-14 15,-12 14-15,-27 26 0,26-26 16,14-14-16,-13 14 0,-1-14 0,-12 14 16,-41 26-16,41-26 15,-1-14-15,-13 14 0,13-14 0,1 14 16,-107 40-1,93-54-15,0 0 0,0 1 16,-13-1-16,13 1 0,-13-1 0,13-12 0,-13 12 16,13 0-16,-13-12 0,0-1 15,0 13-15,0-12 0,-146 25 16,146-26 0,-14-13-16,1 14 0,13-1 0,0-13 0,-14 0 15,27 13-15,-13-13 0,0 0 16,-13-13-16,13 13 0,-1 0 0,1-13 15,13 13-15,-13-14 0,-53-12 16,53 13-16,13 0 0,-13-1 16,13 1-16,-13 0 0,13-14 0,0 14 15,-53-26-15,67 12 16,-14 14-16,13-14 0,-39-12 16,39 12-16,0 1 0,0-1 0,14 1 15,-53-40-15,52 39 16,1 1-16,-1-1 0,-52-65 15,52 65-15,1-12 16,13 12-16,-27-39 16,27 26-16,0 14 0,-1-14 0,1 14 15,0-14-15,0-39 16,-1 39-16,1 13 0,13-12 16,-26-80-1,26 92-15,0-12 0,0-1 0,0 13 16,0-39-16,0-26 15,0 65-15,0-52 16,0 52-16,0 1 0,0-1 16,0 1-16,13 0 15,-13-1-15,13 1 0,-13 12 0,13-12 16,1-14-16,-1 14 0,0 13 0,0-27 16,14 13-16,-14 14 0,14-13 15,-14-1-15,13 14 0,40-40 16,-52 40-16,12 0 0,-13-1 15,53-25 1,-39 26-16,-14-1 0,14 1 16,-1 0-16,0 0 0,27-14 15,-39 14-15,12 13 0,1-13 16,-1-1-16,0 1 0,1 0 0,-1 13 16,1-13-16,-1 0 0,67-14 15,-53 27-15,-14-13 16,1 0-16,12 13 0,-12-14 0,39 14 15,-26-13-15,-1 13 16,1-13-16,-14 13 0,14-13 0,-14 13 16,1 0-16,-1 0 0,1-14 0,-14 14 15,40 0 1,-27 0-16,-12-13 0,-1 13 16</inkml:trace>
  <inkml:trace contextRef="#ctx0" brushRef="#br0" timeOffset="-160799.32">22754 11814 0,'27'-14'0,"-14"14"0,0 0 16,0 0-16,1 0 16,-1 0-16,0 0 0,0 0 0,0 0 0,1 0 15,-1 0-15,40-13 16,-40 13-16</inkml:trace>
  <inkml:trace contextRef="#ctx0" brushRef="#br0" timeOffset="-160491.1">23006 11615 0,'13'0'0,"0"0"0,0 0 16,14 27-1,-14-14-15,13 13 16,-26 1-16,0-14 0,14 0 16,-14 1-16,-14 38 15,1-25-15,0-14 0,-27 40 16,14-27-16,13-12 15,-1-1-15</inkml:trace>
  <inkml:trace contextRef="#ctx0" brushRef="#br0" timeOffset="-156697.55">23363 11456 0,'0'-13'0,"13"40"47,-13-14-31,13 0-16,-13 27 15,0-27-15,0 0 0,13 1 0,-13-1 16,0 13-16,0-13 0,0 1 15,0 25 1,0-25-16,0-1 16,0 0-1</inkml:trace>
  <inkml:trace contextRef="#ctx0" brushRef="#br0" timeOffset="-156172.36">23376 11430 0,'40'-26'0,"-27"12"16,0 14-16,0 0 0,14 0 15,-14 14 1,-13-1-16,13 0 0,-13 0 16,-13 14-16,-13 12 15,12-12-15,-12 13 16,26-27-16,-13-13 15,-1 26 1,28-13 0,-1-13-16,0 14 15,0-14-15,1 0 16,12 13 0,-13-13-16,0 0 0,1 13 15,-1 0 1,-26 14-1,-1-27-15,14 13 0,-26 0 16,13 1-16,0-14 16,-14 13-1,14-13-15,0 0 16</inkml:trace>
  <inkml:trace contextRef="#ctx0" brushRef="#br0" timeOffset="-155586.34">23733 11417 0,'53'-13'0,"-40"13"0,14-14 15,-14 14-15,0 0 16,-13-13-1,-26 26 32,12 14-31,14-14 0,0 0-16,0 0 0,-13 1 15,13 12-15,0-13 0,0 1 0,-13-1 16,13 13-16,0-12 0,-13-1 0,13 0 15,-13-13-15,13 13 0,0 0 16,-14-13-16,14 14 0,-13-1 16,40-13 62,-27-13-78,26 13 15,-13 0 1,0-14-16,1 14 0,-1 0 0,0-13 16</inkml:trace>
  <inkml:trace contextRef="#ctx0" brushRef="#br0" timeOffset="-154604.94">23310 12237 0,'-13'0'0,"39"-13"16,-13 13 0,0-13-1,1 13-15,-1 0 0,0 0 16,-13-14-16,13 14 0,14 0 31,-14 0-31,0 27 16,-13-14-1,0 0-15,0 0 0,0 1 0,0-1 16,0 40 0,0-14-16,0-12 15,-13-14-15,26 40 16,-13-40-16,0 1 0,0-1 15,0 0-15</inkml:trace>
  <inkml:trace contextRef="#ctx0" brushRef="#br0" timeOffset="-154361.45">23376 12462 0,'13'-13'0,"0"-1"16,14 14-16,-14-13 16,0 13-16,1-13 0,-1 13 0,0 0 15,0-13-15,0 13 0,1-14 0,12 14 16,-13 0-16,1-13 0,25 0 15</inkml:trace>
  <inkml:trace contextRef="#ctx0" brushRef="#br0" timeOffset="-154018.42">23720 12224 0,'-13'0'0,"-14"0"16,14 0 0,13 13-16,-13-13 15,13 13-15,13 0 16,-13 1 0,13-1-16,0 0 0,-13 0 15,14 1-15,-14-1 16,13-13-16,-13 13 15,0 0-15,0 0 0,0 1 0,0-1 16,0 0-16,-13 0 16,13 1-16,-14-14 0,-12 26 15,26-13-15,-13-13 16,0 14-16,-1-14 16,1 13-16,0-13 15</inkml:trace>
  <inkml:trace contextRef="#ctx0" brushRef="#br0" timeOffset="-153798.5">23971 12197 0,'0'27'15,"0"-14"1,-13 27 0,13-27-16,0 13 0,0-12 0,-13-1 15,13 0-15,0 0 0,0 0 0,-13 1 16,13-1-16,0 0 0</inkml:trace>
  <inkml:trace contextRef="#ctx0" brushRef="#br0" timeOffset="-153577.95">23852 12303 0,'0'-13'16</inkml:trace>
  <inkml:trace contextRef="#ctx0" brushRef="#br0" timeOffset="-153417.92">24130 12343 0,'0'-13'31</inkml:trace>
  <inkml:trace contextRef="#ctx0" brushRef="#br0" timeOffset="-151685.57">23535 12832 0,'-27'-13'16,"14"13"-16,0 0 0,0 13 15,-1 1 1,-12 12 0,26-13-16,0 0 15,0 1-15,13-1 32,0-13-17,1 0 1,-1 0-16,0 0 0,-13 13 15,13 0-15,0 14 16,-13-14-16,14 0 16,-14 27-16,0-27 0,0 0 0,0 1 15,0 12-15,0-13 16,-14 1-16,14-1 0,0 0 0,0 0 0,-13-13 16,13 13-16,0-39 62,13 26-62,-13-13 0,27-14 16,-14 14-16,0 0 0,1 0 15,-1-14-15,0 14 0,0 0 16,1 0-16,-1-14 0,0 14 0,0 0 16,-13-1-16,13 1 0,-13 0 15,14 0-15,-14-1 0,13 1 16,-13 0-16,0 39 47,0-12-32,13-1 1,-13 0-16,13-13 0,1 0 16,-1 0-1,0 0-15,0-13 0,0 13 16,-13-13-16,14-1 0,-1 1 0,0 0 15,-13-13-15,13 12 0,-13-12 16,14-1-16,-14 14 0,0 0 0,13-14 16,-13 14-16,0 0 0,0 0 0,0 0 15,0-1-15,13 41 32,-13-14-17,0 53-15,13 0 16,1-39-1,-14-14-15,13 27 16,0-27-16,-13 0 16,13-13-16,0 27 15</inkml:trace>
  <inkml:trace contextRef="#ctx0" brushRef="#br0" timeOffset="-151518.02">23865 12885 0,'67'-39'16,"-134"78"-16,147-92 0,-54 53 16,-13 0-16,1-13 0,-1 13 15,0 0-15,14 0 0</inkml:trace>
  <inkml:trace contextRef="#ctx0" brushRef="#br0" timeOffset="-151049.89">24183 12594 0,'0'40'31,"0"-27"-31,-13 0 15,13 14-15,0 12 0,26-144 0,-52 250 16,26-105-16,0 0 0,13-292 0,-26 543 16,13-264-16,-14 12 0,14 14 0,0-13 15,0-14-15,0 1 0,-13-1 16,13 1-16,0-1 0,0-13 0,0 1 16,0 12-16,-13-13 0,13 1 15,0-1-15,-13-40 31,13 1-31,0 13 0,0-14 16,0-12-16,0-14 0,13 13 16,-13 0-16,13 14 0,-13-1 0,13 1 15,-13-1-15,14 14 0,-14 0 0,13 0 16,0 13-16,-13-13 0,13 13 16,1 0-16,-1 13 15,-13 0-15,0 0 16,-13 0-16,13 1 0,0-1 0,0 0 15,-14 0-15,1 14 16,13-14-16,-13 0 0,13 1 0,-13-14 16,-1 13-16,14 0 0,-13 0 15,0-13 1</inkml:trace>
  <inkml:trace contextRef="#ctx0" brushRef="#br0" timeOffset="-150800.37">24328 12621 0,'0'-14'15,"-13"54"-15,13-27 16,0 1-16,0 12 0,0-13 15,0 14-15,0-1 0,0 1 0,-13-1 16,13-13-16,0 14 0,0-14 0,0 13 16,0-12-16,0-1 0,0 0 15,0 0-15,0 1 0,13-1 16</inkml:trace>
  <inkml:trace contextRef="#ctx0" brushRef="#br0" timeOffset="-150424.08">24514 12806 0,'-14'-13'16,"-25"26"-1,26 0 1,-1 0-16,14 1 15,-13-14-15,13 13 0,0 0 16,-13-13-16,13 13 0,106-92 0,-212 171 16,119-92-16,-13 14 15,13-28 1,1 14-16,-1-13 0,0 0 16,-13 0-1,13 0 1,0 26 15,-13 13-15,0-13-1,0 1 1</inkml:trace>
  <inkml:trace contextRef="#ctx0" brushRef="#br0" timeOffset="-149957.14">24646 12846 0,'13'-14'15,"-13"-12"-15,-13 66 0,26-93 16,-13 39-1,-13 14 1,0 14 0,-1-1-16,1 13 31,0 14-31,13-14 31,0 1-31,0-14 16,13 0-16,0 1 15,1-14 1,-1 13-16</inkml:trace>
  <inkml:trace contextRef="#ctx0" brushRef="#br0" timeOffset="-149506.58">24752 12965 0,'0'0'0,"-13"-14"0,13 1 32,-14 40 30,41-27-31,-14-14-15,13-39 15,1 14-31,-27 12 16,0 14-16,13 0 0,-13 0 15,0-1-15,0 1 0,0 0 0,-13 39 47,0 41-31,26-28 0,-13-26-16,0 1 15,13-1-15,-13 0 0,0 0 16</inkml:trace>
  <inkml:trace contextRef="#ctx0" brushRef="#br0" timeOffset="-145389.42">22225 12991 0,'13'0'16,"0"0"-16,14 0 0,26 0 15,-27 0-15,1 0 16,-1-13-16,14 13 0,-14 0 16,1 0-16,12 0 0,-12 0 0,-1 0 0,1 0 15,-1 0-15,14-13 16,-27 13-16,14 0 0,-14 0 16,0 0-16,0-14 0,1 14 15</inkml:trace>
  <inkml:trace contextRef="#ctx0" brushRef="#br0" timeOffset="-145134.7">22728 12806 0,'0'-13'16,"0"39"-16,26-52 15,-13 39-15,-52-13 0,92 13 16,-40 0-16,27 27 16,-27-27-16,0 0 0,0 14 15,-13-14-15,13 0 0,-13 14 16,0-14-16,0 14 0,0-1 0,-13-13 16,13 27-16,-26 0 0,13-14 15,-14 0-15,1 14 0,-1 0 16,-13-14-16</inkml:trace>
  <inkml:trace contextRef="#ctx0" brushRef="#br0" timeOffset="-131328.67">20598 10941 0,'-13'-14'62,"13"-25"-46,0 25-16,0 1 15,0-13-15,13 12 0,-13-12 16,0 0-16,13-41 0,-13 28 16,13-1-16,-13 0 0,14 1 15,12-41-15,-13 41 0,0-1 16,1 0-16,-1 1 0,0 12 0,14-13 16,-14 14-16,13-1 0,-13 1 15,1 0-15,-1 12 0,13-12 0,-12 13 16,12-1-16,1-25 0,-1 25 15,0 1-15,1 0 0,13 0 16,-14-14-16,1 14 0,25 0 16,-25 0-16,-14-1 0,14 14 15,-14-13-15,0 13 0,13-13 16,-12 13-16,-1 0 0,0 0 16,-13-13-16,13 13 0,1 0 15,-1 0-15,0 0 16,0 0 15</inkml:trace>
  <inkml:trace contextRef="#ctx0" brushRef="#br0" timeOffset="-130838.27">21259 9803 0,'40'0'16,"-27"0"-16,27 0 0,-27 13 16,14-13-16,-14 0 15,0 0-15,0 0 0,0 0 0,14 13 16,-14-13-16,0 13 16,-13 1-16,14-1 15,-14 0-15,-14 0 0,14 14 16,-13-14-16,13 0 0,-13 14 15,-14 12-15,14-12 0,0-1 16,0 1-16,0-14 0,-1 0 0,14 14 16</inkml:trace>
  <inkml:trace contextRef="#ctx0" brushRef="#br0" timeOffset="-126066.29">19129 11377 0,'0'27'32,"0"-1"-17,-13-13-15,13 14 0,0-14 0,0 0 16,0 0-16,0 14 15,0-14-15,0 0 0,0 1 16,0-1-16,0 13 16,0-13-1</inkml:trace>
  <inkml:trace contextRef="#ctx0" brushRef="#br0" timeOffset="-125703.4">19076 11443 0,'0'-13'0,"27"0"31,-14 0-31,0 13 0,1 0 0,-1 0 0,0 0 16,0 0-16,1 0 0,-1 0 15,0 0-15,0 13 0,0-13 0,1 13 16,-1 0-16,0 0 0,-13 1 16,0-1-16,0 0 15,0 0-15,0 1 0,-13-1 0,0 27 16,13-27-1,-14-13-15,14 13 0,-13-13 16,0 13-16</inkml:trace>
  <inkml:trace contextRef="#ctx0" brushRef="#br0" timeOffset="-125334.23">19447 11417 0,'-53'0'15,"40"13"16,26 0-31,-13 0 16,13 1-16,0 12 16,1-13-16,-1 1 15,-13-1-15,13 0 16,-13 0-16,-13 14 16,0-1-1,-1-26-15,1 13 16,0-13-16,13 14 0,-13-14 15,0 13 1</inkml:trace>
  <inkml:trace contextRef="#ctx0" brushRef="#br0" timeOffset="-124463.31">19659 11337 0,'0'-26'16,"0"52"15,0-12-15,0-1-16,0 13 16,-14 27-1,14-40-15,0 14 0,0-14 16,-13 0-1,13 1-15,0-1 0,0 0 16</inkml:trace>
  <inkml:trace contextRef="#ctx0" brushRef="#br0" timeOffset="-123964.1">19672 11284 0,'13'0'0,"-26"0"16,39-13-16,-13 13 0,1 0 15,-1 0-15,-13 13 32,13-13-32,-26 27 15,0-14-15,-1 0 31,14 1-15,0-1 0,14 0-16,-14 0 15,13-13-15,0 14 16,-13-1-16,0 0 16,0 0-16,-13 0 15,13 1-15,-13-14 0,-1 13 16,1 0-16,0 0 15,0-13-15,13 14 16</inkml:trace>
  <inkml:trace contextRef="#ctx0" brushRef="#br0" timeOffset="-122890.27">19870 11364 0,'-53'13'16,"53"0"-16,-13-13 15,13 14-15,-13-1 16,13 0 0,0 0-1,13-26 1,0 13-1,1 0-15,-1-13 16,0 13 0,0 0 15,-13 13-15,13 0-16,1-13 15</inkml:trace>
  <inkml:trace contextRef="#ctx0" brushRef="#br0" timeOffset="-122698.16">20042 11258 0,'0'-26'0,"-13"65"31,26-52-31,-26 39 0,13-12 16,0 12-16,0-13 16,0 1-16,0-1 0,0 0 0,0 0 15</inkml:trace>
  <inkml:trace contextRef="#ctx0" brushRef="#br0" timeOffset="-122263.13">20002 11390 0,'14'0'0,"-14"-13"0,-14 26 0,41-26 16,-27 0-16,13 13 0,0-13 16,1-1-16,-1 14 15,-13-13-15,13 13 16,-13-13-16,0 39 62,0-12-46,13-14 15,14 0-31,-14-27 16,0 27-1,0-13-15,-13 0 16,14 13-16,-14-14 0,13 14 16,0 14-1,-13-1 1,13 0 0,-13 0-1,14-13-15,-1 0 0,-13 14 16</inkml:trace>
  <inkml:trace contextRef="#ctx0" brushRef="#br0" timeOffset="-121186.08">19143 11800 0,'26'-26'16,"-13"26"-16,1 0 15,-1-13-15,13 13 0,-13 0 0,14-13 16,-1 13-16,1-14 0,-1 14 0,1-13 15,-1 13-15,-13-13 0,14 13 16,-14 0-16,27-13 0,-27 13 16,0 0-16,0 0 0,1 0 15</inkml:trace>
  <inkml:trace contextRef="#ctx0" brushRef="#br0" timeOffset="-121005.44">19222 11814 0,'0'13'16,"0"-26"15,26 26-31,-12-13 0,-1 0 0,0 0 0,0 0 16,1-13-16,12 13 0,-13 0 15,14-14-15,-1 14 0,-13 0 0,14-13 16,-1 13-16</inkml:trace>
  <inkml:trace contextRef="#ctx0" brushRef="#br0" timeOffset="-119554.29">19288 11972 0,'13'-13'47,"1"26"31,-1-13-15,0 0-32,-13 14 0,13-1-15,-13 0-16,0 0 0,0 1 15,0-1-15,0 0 16,0 0-16,-13 14 16,13-1-1</inkml:trace>
  <inkml:trace contextRef="#ctx0" brushRef="#br0" timeOffset="-119042.99">19328 12025 0,'13'0'16,"0"0"-16,1 0 16,-1 0-16,0 0 15,0 0-15,0 0 0,1 0 16,-1-13-16,0 13 0,0 0 16,1-13-1,-1 13-15,-53 13 47,27 0-31,0-13-1,39-13 32,-13 13-47,1-13 16,-1 26-1,0-13 1,0 13 0,-13 1-1,13-1-15,-13 0 0,0 27 32</inkml:trace>
  <inkml:trace contextRef="#ctx0" brushRef="#br0" timeOffset="-118726.42">19407 12290 0,'-13'40'15,"0"-27"-15,13 0 0,-13 27 16,-1-40-1,14 13-15,-13 0 0,13 0 0,-13 1 16</inkml:trace>
  <inkml:trace contextRef="#ctx0" brushRef="#br0" timeOffset="-118565.27">19301 12382 0,'53'14'47,"0"25"-16</inkml:trace>
  <inkml:trace contextRef="#ctx0" brushRef="#br0" timeOffset="-118308.21">19420 12594 0,'14'0'15,"-1"0"1,0 0-16,0 13 16,1-13-1,-1 0-15</inkml:trace>
  <inkml:trace contextRef="#ctx0" brushRef="#br0" timeOffset="-118148.97">19566 12634 0,'-132'198'78</inkml:trace>
  <inkml:trace contextRef="#ctx0" brushRef="#br0" timeOffset="-117931.28">19315 12819 0,'53'13'16,"-40"1"-1,79 38 1,1-316-16,-133 542 31,53-278-31,1 13 0,-1-13 0</inkml:trace>
  <inkml:trace contextRef="#ctx0" brushRef="#br0" timeOffset="-117531.01">19381 12991 0,'13'-13'32,"-92"-146"-32,171 331 15,-92-159-15,0 1 16,0-1-16,0 0 0,-13 0 16,13 0-16,0 1 15,-13-1-15,13 0 0,0-132 0,-13 265 16,13-133-16,0 0 0,0 0 15,0 14 1,0-14-16,13-13 0,-13 13 16,13-13-16,0 13 15,0-13-15,14 0 16,-1 0 0,-26-13-16,14 13 0</inkml:trace>
  <inkml:trace contextRef="#ctx0" brushRef="#br0" timeOffset="-114814.03">19143 11271 0,'-40'-13'0,"13"13"16,14 13-16,0-13 15,0 0-15,0 0 0,-1 0 0,-12 13 16,13 1 0,-1-14-16,1 0 0,13 13 15,-26 0-15,26 0 0,-14 1 16,1-1-16,13 0 0,-13 0 15,13 1-15,-13-1 0,13 13 0,-13 27 16,13-26-16,0-1 16,0 1-16,-14-1 0,28 14 0,-14-1 15,0 1-15,0 0 0,0-1 0,13 1 16,-13 0-16,0-1 0,13 1 0,-13 0 16,0 13-16,13 0 0,-13-14 15,0 14-15,0-13 0,13 0 0,-13 13 16,0-14-16,14 1 0,-14 0 15,0-1-15,0 1 0,0-14 16,13 14-16,-13-13 0,0 12 0,0-12 0,0-14 16,0 13-16,0 1 15,13-1-15,-13 1 0,0-14 0,0 14 16,0-14-16,0 0 0,0 13 0,0-12 16,0-1-16,13 0 0,-13 0 15,0 1-15,14-1 0,-14 0 16,13 0-16,-13 1 0,13-1 15,0 0-15,-13 0 16,14-13-16,-1 13 0,-13 1 0,13-14 16,-13 13-16,13 0 0,0-13 0,1 13 15,-1 1-15,0-1 16,0-13-16,1 0 0,-14 13 16,13-13-16,0 0 0,-13 13 0,27-13 15,-14 0-15,0 13 16,0-13-16,14 0 15,-14 14-15,0-14 0,0 0 16,1 0-16,-1 0 16,0 0-16,0 0 0,1 0 15,-1 0-15</inkml:trace>
  <inkml:trace contextRef="#ctx0" brushRef="#br0" timeOffset="-111979.57">18838 11628 0,'-53'-13'0,"40"13"0,0 0 15,0 0-15,-1 0 0,1 0 16,-13 0-16,-1 13 0,1-13 0,-1 0 16,1 0-16,0 14 0,-1-14 15,1 13-15,-14-13 0,13 0 0,1 13 16,0-13-16,-1 13 0,1-13 15,-1 14-15,14-14 0,0 13 16</inkml:trace>
  <inkml:trace contextRef="#ctx0" brushRef="#br0" timeOffset="-111585.55">18865 11959 0,'-80'27'15,"67"-27"-15,-13 13 16,-1 0-16,1 0 0,13-13 15,-14 14-15,1-1 0,12 0 16,-12 0-16,13 0 0,0 1 0,-14-14 16,14 13-16</inkml:trace>
  <inkml:trace contextRef="#ctx0" brushRef="#br0" timeOffset="-111220.51">18772 12409 0,'-26'13'0,"12"0"0,1 1 16,66-54-16,-119 80 0,40-27 0,12 0 15,1 0-15,-13 14 0,-27 12 16,13 1-16,27-27 0,0 14 15,-1-14-15,-12 0 16,13 27-16</inkml:trace>
  <inkml:trace contextRef="#ctx0" brushRef="#br0" timeOffset="-110901.64">18878 12687 0,'-26'13'15,"12"-13"-15,1 13 0,0 0 0,-14 14 16,14-14-16,-13 0 0,12 14 16,-38 26-16,25-27 15,1 1-15,12-1 0,-12 1 0,13-14 16,0 13-16,-1-12 0,1-1 16,13 0-16,-13 13 0,13-12 15</inkml:trace>
  <inkml:trace contextRef="#ctx0" brushRef="#br0" timeOffset="-110679.16">18957 13044 0,'-26'26'16,"13"1"-16,13-14 0,-27 0 0,-12 40 16,-1 0-16,13-26 15,-12 12-15,12-12 0,265-305 0,-502 582 0,251-264 16</inkml:trace>
  <inkml:trace contextRef="#ctx0" brushRef="#br0" timeOffset="-109145.97">17939 11443 0,'-66'53'0,"52"-40"0,14 1 16,0-1-16,0 0 0,14 0 15,-14 1-15,13-1 0,0 26 16,0-12-16,1 13 0,-1-14 16,0 14-16,0 26 0,0-26 0,-13-14 15,0 14-15,0-14 16,0 1-16,0 12 0,-13-12 0,0 12 0,13-12 15,-13-1-15,0 1 0,-1-1 16,1-12-16,0-1 0,-14 0 16,14 0-16,0 0 0,0 1 0,-1-14 15,1 0-15,0 13 0,13-26 0,-26 13 16,26-14 0,0-12-16,13 26 15,-13-13-15,13 13 0,0-13 0,0 13 16,1-14-16,-1 14 15,0 14-15,14-14 0,-14 13 16,13 26-16,-12 1 0,-1-13 16,0 12-16,0 1 0,-13 0 0,0-1 15,0 14-15,0 0 0,0 13 16,0-13-16,-13 13 0,13 1 0,-13-15 16,0 15-16,-1 52 15,1-53-15,13-13 0,-13 39 16,0-39-16,13-13 0,0 0 0,0-1 15,0-12-15,13 26 16,-13-27-16,13 27 0,0-40 16,-13 0-16,14 1 0,-1-1 15,0-13-15,-13 13 0,13-13 16,0 0-16,1 0 0,-1 0 0,0-13 16,0 13-16,1-13 0,-1 13 0,0-14 15</inkml:trace>
  <inkml:trace contextRef="#ctx0" brushRef="#br0" timeOffset="-103974.32">20386 11311 0,'-13'0'15,"39"13"1,-12-26-16,12 13 0,-13 0 0,40 0 16,-40 0-1,14 0-15,-14-13 0,14 13 0,12 0 16,1-14-1,-27 14 1</inkml:trace>
  <inkml:trace contextRef="#ctx0" brushRef="#br0" timeOffset="-103729.4">20638 11205 0,'26'0'0,"-13"0"0,14 27 16,-14 12 0,-13 14 15,0-40-31,0 1 0,-13 12 15,13-13 1</inkml:trace>
  <inkml:trace contextRef="#ctx0" brushRef="#br0" timeOffset="-102624.66">21193 11086 0,'27'0'16,"-14"13"-16,-13 0 15,13-13-15,-13 14 16,-13-1-16,13 0 0,0 0 0,-13 14 16,-1-14-16,1 0 0,0 14 15,0-27-15,-1 13 16,1 0-16,0 0 0,0 1 15,13-1 1,-13-13 0,39 13-16,-13-26 15,0 13-15,1 0 16,-1 0-16,0-13 0,14 13 16,-1-14-16,-13 14 0,0 0 15,1-13-15,12 13 0,-13 0 0,1 0 16,-1-13-16</inkml:trace>
  <inkml:trace contextRef="#ctx0" brushRef="#br0" timeOffset="-101765.29">21272 11258 0,'40'0'0,"-40"13"16,13-13-16,1 13 15,-14 1-15,0 12 16,-14-13 0,14 1-16,-13-1 15,-13 0-15,26 0 0,-14 1 16,1-14-16,0 13 0,0-13 16,0 13-16,-1-13 0,1 0 0,0 0 15</inkml:trace>
  <inkml:trace contextRef="#ctx0" brushRef="#br0" timeOffset="-101271.96">21127 10835 0,'-26'13'16,"12"0"-16,54-39 0,-93 65 0,40-25 15,0-1-15,-1 27 0,1-14 0,0 14 16,0-1-16,-1 1 0,1 13 0,13-13 16,0 13-16,0-14 0,0 1 15,0 13-15,0-13 0,0-1 16,13 1-16,1 0 0,-1-14 0,0 1 0,0-14 15,1 13-15,-1-13 16,13-13-16,-12 14 0,38-14 16,-25-14-16,13 14 0,-14-13 0,14-13 15,-1 13-15,-12-14 0,13 1 16,-14-1-16,0 1 0,27-27 16,-26 26-16,-14-12 0,14 12 15,-14 1-15,-13 12 0,13-12 0,-13 13 16,0-14-16,0 14 0,-13-13 0,13-1 15,-13 14-15,-1-27 0,1 14 16,-13-1-16,12 14 0,1 0 16,0-14-16,-14 14 0,14 0 0,-13 13 15,13-13-15,-1 0 0,-12 13 16,13 0-16,-1 0 0,-12-14 0,13 14 16,-1 14-16,1-14 0,-13 0 0,13 0 15</inkml:trace>
  <inkml:trace contextRef="#ctx0" brushRef="#br0" timeOffset="-96118.65">21669 10623 0,'-39'26'0,"25"-12"16,14 12-16,-13-13 0,0 14 15,13-14-15,-13 14 0,13-14 0,0 0 16,0 0-16,-13-13 16,13 13-16,0 1 0,13-14 15,0 0-15,0 0 16,-13-14-16,27 1 15,-14 0-15,0 13 16,0-13-16,1 13 16,-1 0-16,0 13 15,0-13-15,-13 13 0,14 0 16,-14 1-16,13-1 16,-13 0-16,0 0 0,13-13 15,-13 14-15,0-1 16,0 0-1</inkml:trace>
  <inkml:trace contextRef="#ctx0" brushRef="#br0" timeOffset="-95836.22">21815 10808 0,'0'-13'31,"13"26"-31,-13 27 47,-13-80-47,26 93 0,0-66 47,1 13-47,-14-13 0,13 13 16,0-14-1,0 1-15,14 13 16,-14 0-16,0 0 16</inkml:trace>
  <inkml:trace contextRef="#ctx0" brushRef="#br0" timeOffset="-95147.32">22013 10755 0,'-13'40'16,"13"-27"-16,13 0 0,-13 1 15,0-1-15,14 0 16,-14 0-16,13-13 15,0 0-15,0 0 16,0-13 0,-13 0-16,14 13 15,-14-13-15,13 13 16</inkml:trace>
  <inkml:trace contextRef="#ctx0" brushRef="#br0" timeOffset="-94782.41">22212 10702 0,'-27'80'31,"-12"39"0,105-318-31,-132 411 16,52-199-16,14 1 0,0-1 0,0 0 0,-13 0 16,26 0-1,14-26 17,-27 0-32,13 13 0,0-13 15,1 13-15,12 0 16,-13 13-1,-26 0 17,0 14-32,0-14 15,13 0-15,-14 0 0,1 1 16,0-1-16</inkml:trace>
  <inkml:trace contextRef="#ctx0" brushRef="#br0" timeOffset="-94433.35">22939 10649 0,'-13'27'16,"13"-14"-1,0 0-15,-13 1 0,13-1 16,-13 13-16,13-12 0,-14-1 0,14 0 16,-13 27-16,0-27 15,13 0-15,0 0 0,0 1 16</inkml:trace>
  <inkml:trace contextRef="#ctx0" brushRef="#br0" timeOffset="-94227.24">23164 10623 0,'14'0'15,"-54"79"32,40-52-47,-13-14 0,-1 14 0,1-14 16,0 13-16,0 1 0,-1-14 15,14 0-15,-13 0 0,13 1 16,119-279-16</inkml:trace>
  <inkml:trace contextRef="#ctx0" brushRef="#br0" timeOffset="-94059.15">23032 10808 0,'13'-13'62,"40"53"-46,-40-40-1</inkml:trace>
  <inkml:trace contextRef="#ctx0" brushRef="#br0" timeOffset="-93879.36">23310 10689 0,'13'27'78,"-39"78"-47,26-91-15,0-1-16,-14-13 0</inkml:trace>
  <inkml:trace contextRef="#ctx0" brushRef="#br0" timeOffset="-93585.11">22966 10438 0,'-146'132'16,"107"-92"-16,12-1 16,14 14-16,-14-13 0,14 0 15,0-1-15,13 1 0,-13 0 0,26-14 16,-13 1-16,13-1 0,0 1 15,1-1-15,-1-13 0,0 1 0,199-636 0,-397 1257 16,211-622-16,-13-13 0,40 0 16</inkml:trace>
  <inkml:trace contextRef="#ctx0" brushRef="#br0" timeOffset="-93348.51">23667 10385 0,'26'40'16,"14"224"15,-53-224-15,0 0-16,-1-14 0,1 14 0,-13-14 15,-14 27-15,14-40 16,-41 27-16</inkml:trace>
  <inkml:trace contextRef="#ctx0" brushRef="#br0" timeOffset="-92850.79">22423 10557 0,'53'13'0,"-26"0"0,-107-39 16,186 79-16,-79-14 0,-14-12 15,0 13-15,0-14 0,-13 27 16,-13-13-16,13-1 0,-13-12 16,-27 52-16,14-52 0,-1-1 15,1 1-15,-1 12 0,1-12 16,0-14-16,-27 27 0,0-14 15,39-13-15,-12-13 0,13 0 16</inkml:trace>
  <inkml:trace contextRef="#ctx0" brushRef="#br0" timeOffset="-92474.33">21564 10530 0,'-106'212'0,"92"-172"16,1 13-16,13-14 0,0 1 0,0 0 16,0-1-16,0 1 15,13 0-15,1-14 0,12 14 0,14 13 16,0-27-16,-14-12 0,14-1 0,-1 0 15,1 0-15,0 0 16,-1-13-16,-12 0 0</inkml:trace>
</inkml:ink>
</file>

<file path=ppt/ink/ink13.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26:55.730"/>
    </inkml:context>
    <inkml:brush xml:id="br0">
      <inkml:brushProperty name="width" value="0.05292" units="cm"/>
      <inkml:brushProperty name="height" value="0.05292" units="cm"/>
      <inkml:brushProperty name="color" value="#0070C0"/>
    </inkml:brush>
  </inkml:definitions>
  <inkml:trace contextRef="#ctx0" brushRef="#br0">10993 1521 0,'-39'-13'0,"26"13"15,-1-13 1,1 13-16,26-13 47,1 13-32,12 0-15,-13 0 0,14 0 16,26-14-16,-14 14 0,14-13 0,13 13 16,14-13-16,-14 13 0,13-13 0,-13 0 15,14 13-15,12-14 0,-12 1 16,-1 0-16,0 13 0,1-13 0,-1-1 16,1 1-16,-1 0 0,0 0 0,1 13 15,-14-14-15,0 1 0,-13 13 16,0-13-16,-13 13 0,-1 0 0,-12-13 15,-1 13-15,14 0 16,-27 0-16,0-13 0,1 13 16,-1 0-16,0 0 0,0 0 15,0 0-15,1 0 16</inkml:trace>
  <inkml:trace contextRef="#ctx0" brushRef="#br0" timeOffset="1220.58">16206 1786 0,'-27'0'15,"67"0"17,-27 0-17,14 0-15,-1 0 0,1 0 0,12-13 16,14 13-16,53-14 16,-53 14-16,13-13 0,13 13 0,-12 0 15,12-13-15,0 13 0,1 0 0,-1-13 16,0 13-16,1 0 15,12-13-15,-12 13 0,-1 0 0,14 0 16,-14-14-16,14 14 0,-14 0 0,14-13 16,-1 13-16,-12 0 0,12-13 15,1 13-15,0-13 0,-14 13 0,14-14 16,-14 14-16,13 0 0,1-13 0,-14 13 16,1-13-16,12 13 0,-12 0 15,-1 0-15,1-13 0,-1 13 16,80 0-16,-80 0 0,0 0 15,-26 0-15,0 0 0,0 0 16,53 0-16,-53 0 0,0 0 16,-13 0-16,-14 0 0,14 0 0,-14 0 15,1 0-15,-14 0 0,13 0 16,14 0-16,-27 0 0,0 0 16,1 0-16,-1 0 0,0 0 15,0 0-15,1 0 16,-1 0-16,-40 13 62</inkml:trace>
  <inkml:trace contextRef="#ctx0" brushRef="#br0" timeOffset="6060.47">5689 4114 0,'26'0'0,"-13"0"15,0-13-15,14 13 16,-14 0-16,0 0 0,1 0 15,-1 0-15,0 0 0,0 0 16,14 0-16,-14 0 0,13 0 0,1-13 16,26 13-16,-27 0 15,1-13-15,12 13 0,-12 0 0,13-14 16,-1 14-16,-12 0 0,12-13 16,-12 13-16,-1 0 0,14-13 15,-14 13-15,1 0 0,-1 0 0,1-13 0,13 13 16,-27 0-16,13 0 0,1 0 15,-1-14-15,1 14 0,-14 0 16,13 0-16,-12 0 0,12 0 0,-13 0 16,0 0-16,1 0 0,12 0 0,-13-13 15,1 13-15,-1 0 16,13 0-16,-13 0 0,14 0 0,-1 0 16,-12 0-16,-1 0 0,13 0 0,1 0 15,-1 0 1,-13 0-16,14 0 0,-14 0 0,0 0 0,14 0 15,-1 0-15,-12 0 0,12 0 16,0 0-16,-12-13 0,39 13 16,-40 0-16,13 0 0,1 0 15,-14 0-15,13 0 0,-12 0 16,12 0-16,-13 0 0,14 0 0,-14 0 16,13 0-16,-12 0 0,12 0 0,-13 0 15,1 0-15,12 0 0,-13 0 16,14 0-16,-14 0 0,0-13 15,14 13-15,-14 0 0,13 0 0,1 0 16,-14 0-16,14 0 0,-1 0 16,0 0-16,-12 0 0,12 0 0,1 0 15,26 0-15,-27 0 0,-13-13 16,14 13-16,-1 0 0,1 0 16,-14 0-16,13 0 0,1 0 0,-14 0 15,13-14-15,1 14 0,-1 0 16,-12 0-16,12 0 0,0 0 0,-12 0 15,12 0-15,-13 0 0,14 0 0,-14 0 16,14 0-16,-1 0 0,-13 0 16,14 0-16,-1 0 0,1-13 0,-14 13 15,40 0-15,-40 0 0,13 0 16,1 0-16,-14 0 0,0 0 16,14 0-16,-14 0 0,13 0 15,-12 0-15,-1 0 0,0 0 0,14-13 16,-14 13-16,13 0 15,-12 0-15,-1 0 0,0 0 0,0 0 16,0 0-16,1 0 16,-1 0-16,0 0 15,0 0-15,1 0 16,-1 0-16,13 0 16,-12 0-1,-1 0-15,0-13 0,0 13 16,0 0-16,1 0 0,-1 0 15,0 0-15,0 0 0,1 0 0,-1 0 16,27 0 0,-14 0-16,0 0 15,-12 0-15,-1 0 0,13 0 0,-12 0 16,-1 0-16,0 0 0,0 0 0,0 0 16,1 0-16,12 0 0,-13 0 15,1 0-15,-1 0 0,0 0 0,0 0 16,1 0-16,-1 0 0,13 0 15,1 0-15,-14 0 0,0 0 16,0 0-16,1 13 0,-1-13 16,0 0-16,0 0 0,1 0 15,-1 0-15,0 0 0,0 0 16,0 0-16,1 0 0,-1 0 16,0 0-16,0 0 0,1 0 15,-1 0-15,0 13 0,0-13 0,0 0 16,1 0-16,-1 0 0,0 0 15,14 0-15,-14 0 0,0 0 0,0 0 16,1 0-16,12 13 0,-13-13 0,0 0 16,1 0-16,-1 0 0,0 0 15,14 0-15,-14 0 0,0 0 0,0 0 16,1 14-16,-1-14 0,0 0 0,0 0 16,0 0-16,1 0 15,-1 0-15,0 0 0,0 0 0,1 0 16,-1 0-16,0 0 0,14 13 0,-14-13 15,0 0-15,0 0 0,0 0 16,1 0-16,-1 0 0,0 0 0,0 0 16,14 0-16,-14 0 0,0 0 0,1 0 15,12 0-15,-13 0 0,0 0 16,14 0-16,-14 0 0,0 0 16,14 0-16,-14 0 0,0 0 0,0 0 15,1 0-15,12 0 0,-13 0 16,1 0-16,-1 0 0,0 0 0,0 0 15,1 0-15,-1 0 0,0 0 0,0 0 16,0 0-16,1 0 0,12 0 16,-13 0-16,14 0 0,-14 0 15,14 0-15,-14 0 0,0 13 16,0-13-16,0 0 0,1 0 0,-1 0 16,13 0-16,-12 0 0,-1 0 0,0 0 15,13 0-15,-12 0 0,-1 0 16,13 0-16,1 0 0,-14 13 0,14-13 15,-1 0-15,-13 0 0,14 0 0,-14 0 16,13 0-16,-12 0 16,12 13-16,-13-13 0,14 0 0,-14 0 15,27 0-15,-27 0 16,13 0-16,-12 14 0,-1-14 0,13 0 16,-12 0-16,-1 0 0,13 0 0,-13 0 15,1 0-15,12 0 0,-13 0 16,1 0-16,-1 0 0,13 13 0,-12-13 15,-1 0-15,0 0 0,0 0 0,14 0 16,-14 0-16,0 0 0,0 0 16,14 0-16,-14 0 0,13 0 0,-12 0 15,12 0-15,-13 13 0,1-13 16,12 0-16,-13 0 0,1 0 16,12 0-16,-13 0 0,0 0 0,14 0 15,-14 0-15,0 0 0,1 0 0,-1 13 16,0-13-16,0 0 0,1 0 15,-1 0-15,0 0 0,0 0 0,0 0 16,1 0-16,-1 0 0,0 0 0,14 0 16,-1 14-1,-13-14-15,0 0 0,1 0 0,-1 0 16,0 0-16,0 0 0,1 0 16,-1 0-16,13 0 0,-12 0 0,-1 0 15,26 13-15,-25-13 16,12 0-16,-13 0 0,1 0 0,12 0 15,1 0-15,-14 0 0,13 13 0,-13-13 16,14 0-16,-14 0 0,14 0 16,-14 0-16,13 0 0,-12 0 15,12 0-15,-13 13 0,0-13 0,1 0 16,12 0-16,-13 0 0,14 0 0,-14 0 16,14 0-16,-14 0 0,13 0 15,-13 14-15,14-14 0,-14 0 0,14 0 16,-14 0-16,13 0 0,-13 0 15,14 0-15,-1 0 0,-12 0 0,12 13 16,-13-13-16,1 0 0,12 0 0,-13 0 16,27 0-16,-27 0 15,0 0-15,14 0 0,-14 0 16,0 13-16,1-13 0,12 0 16,0 0-16,-12 0 0,-1 0 0,13 0 15,-12 0-15,-1 0 16,0 0-16,0 0 0,0 0 0,1 0 15,12 0-15,-13 0 0,1 0 16,-1 0-16,13 0 0,-12 0 0,-1 0 16,13 0-16,-13 0 0,14 0 0,-14-13 15,14 13-15,-14 0 0,0 0 16,14 0-16,-14 0 0,0 0 16,13 0-16,-12-13 0,-1 13 0,0 0 15,14 0-15,-14 0 0,0 0 16,0 0-16,1-14 0,-1 14 0,13 0 15,-13 0-15,14-13 0,-14 13 16,0 0-16,1 0 0,-1 0 16,-13-13-16,13 13 0,0 0 0,1 0 15,-1 0-15,0-13 0,0 13 16,0 0-16,1 0 0,-1-14 16,0 14-16,0 0 15,1 0-15,12 0 16,-13-13-16,0 13 15,1 0-15,-1 0 16,0 0-16,0 0 16,1 0-1,-1 0-15,13 0 16,-12 0 0,-1 0-16,0 0 0,0 0 15,0 0 1,-52 13 15,12-13-31,-52 0 0</inkml:trace>
  <inkml:trace contextRef="#ctx0" brushRef="#br0" timeOffset="9164.58">15624 4194 0,'-14'0'0,"54"13"62,-27-13-46,1 0-16,12 13 0,-13-13 0,14 0 0,-1 13 15,1-13-15,-1 0 0,1 14 16,-14-14-16,13 0 0,14 0 16,-14 0-16,-12 13 0,12-13 15,-13 0-15,1 0 0,-1 0 0,0 0 16,0 0-16,14 0 15</inkml:trace>
  <inkml:trace contextRef="#ctx0" brushRef="#br0" timeOffset="9468.49">16021 4167 0,'13'0'31,"13"13"-15,-13-13-16,1 14 0,-1-1 0,0 0 15,0 0-15,1 1 0,-1-1 0,0 0 16,-13 0-16,13 0 0,-13 1 0,0 12 15,0-13-15,0 1 16,0-1-16,0 0 0,0 0 16,-13 1-16,13-1 0,0 0 15</inkml:trace>
  <inkml:trace contextRef="#ctx0" brushRef="#br0" timeOffset="9764.67">16788 4286 0,'0'-13'0,"0"53"31,0-14-15,0-13-16,13 1 16,-13 12-16,0-13 15,0 1-15,0-1 16,0 0-16,13-13 0,-13 13 0,0 0 0,0 1 16</inkml:trace>
  <inkml:trace contextRef="#ctx0" brushRef="#br0" timeOffset="10125.04">16788 4286 0,'0'-13'16,"0"26"-16,13-26 0,0 0 15,-13 0-15,14 13 16,-1 0-16,0 0 0,0 0 0,0 0 16,1 0-16,-1 13 0,0-13 15,0 13-15,14 0 0,-27 0 16,26 27-1,-26 0 1,0-27-16,0 0 0,-26 27 16,26-27-16,-13 0 0,-1 1 15,1-1-15,0-13 16,13 13-16,-13-13 0</inkml:trace>
  <inkml:trace contextRef="#ctx0" brushRef="#br0" timeOffset="10468.57">17211 4260 0,'-40'0'0,"80"0"0,-93 0 0,40 0 16,0 0-16,0 0 0,13 13 0,-14-13 15,1 0-15,0 13 16,0 0 0,26 14-1,13-1 1,1 1 0,-14-27-16,0 13 15,-13 0 1,0 1-16,-13 12 15,0-13-15,0-13 16,-1 13-16,1 1 0,-13-1 16,12-13-16,14 13 15,-13-13-15,0 13 16</inkml:trace>
  <inkml:trace contextRef="#ctx0" brushRef="#br0" timeOffset="11222.49">17926 4286 0,'0'40'0,"0"-27"0,0 27 15,0-27-15,0 0 16,0 1-16,0-1 0,0 0 16,0 0-16,0 0 0,0 1 15,0-1 1,0-53 15,0 27-15,0-13-1,0 12-15,0 1 0,0 0 0,0 0 16,13-1-16,-13 1 0,0 0 16,13 13-16,13 0 31,-26 13-31,14 0 0,-1 1 15,13 12 1,-26-13-16,14-13 0,-1 14 16,0-1-16,0 0 15,1-13 1,-1 0 0,0-13-16,0 13 15,-13-13-15,13 13 0,-13-14 0,0 1 16,14 13-16,-14-13 0,0 0 0,0-1 15,13 14-15,-13-13 0,0 0 16,0 0-16,0-1 16,13 14-1,-13-13-15,0 0 16</inkml:trace>
  <inkml:trace contextRef="#ctx0" brushRef="#br0" timeOffset="11505.58">18243 4247 0,'13'13'16,"-13"13"0,0-13-16,0 1 15,13 12 1,1-26-16,-1 13 16,-13 1-16,13-14 0,0 0 15,1 0-15,-1 0 0,0 0 16,0 0-16,-13-14 15,14 14-15,-14-13 0,0 0 16,-14-14 0,1 14-1,0 0 1,0 13 0,-1 0-16,1 0 15</inkml:trace>
  <inkml:trace contextRef="#ctx0" brushRef="#br0" timeOffset="11836.72">18455 4194 0,'13'0'0,"0"13"15,-13 0 1,13-13-16,-13 13 0,27 27 15,-27-27 1,13 0-16,0 1 16,1-1-1,-1 0-15,0-26 16,0 13 0,-13-13-16,13 13 15,-13-14-15,14 1 0,-14 0 16,0 0-16,13 13 0,-13-13 15,0-1-15,13 1 0</inkml:trace>
  <inkml:trace contextRef="#ctx0" brushRef="#br0" timeOffset="13969.51">17410 4657 0,'0'-14'15,"26"14"-15,-13 0 16,40-13-16,-13 0 16,0 13-16,12-13 0,41 0 15,-53 13-15,13-14 0,0 14 0,0-13 16,-1 13-16,1-13 15,-13 0-15,13 13 0,0 0 0,-27-14 0,14 14 16,-14 0-16,-12 0 0,12-13 16,-13 13-16,1 0 0,-1 0 15,0 13 1</inkml:trace>
  <inkml:trace contextRef="#ctx0" brushRef="#br0" timeOffset="14208.65">17608 4736 0,'66'0'16,"-53"0"-1,14-13-15,-1 13 0,1 0 0,-1-13 16,14 13-16,0-14 0,-1 14 0,41-13 15,-41 13 1,-12-13-16,-1 13 0,1 0 0,-1 0 0,-13-13 16,14 13-16,-14 0 0,0 0 15</inkml:trace>
  <inkml:trace contextRef="#ctx0" brushRef="#br0" timeOffset="20531.43">4339 6787 0,'-13'13'0,"39"-13"78,-12 0-78,-1 0 16,0 0-16,0 0 0,1 0 16,25-13-16,-12 13 15,-14 0-15,13 0 0,1 0 0,-1 0 16,1 0-16,39-14 15,-26 14-15,92-13 16,-79 13-16,0 0 0,0-13 16,0 13-16,-1 0 0,1-13 0,53-1 15,53 1 1,-106 13-16,0-13 0,0 13 16,53-13-16,-54 13 0,1 0 15,0 0-15,0-13 0,-13 13 16,13 0-16,-14-14 0,14 14 0,-13 0 15,0 0-15,26-13 16,-40 13-16,54 0 16,-54 0-16,-13 0 0,14-13 0,-14 13 15,14 0-15,-14 0 16,0 0-16,0 0 0,1 0 0,12 0 16,-13 0-1,0 0-15,1-13 16,-1 13-16,0 0 15,0 0 17,1 0-17,-1 0 17,-53 0 108,40 13-124,-13-13-16</inkml:trace>
  <inkml:trace contextRef="#ctx0" brushRef="#br0" timeOffset="49068.72">11655 6773 0,'-13'0'0,"39"0"32,-13 0-32,1 0 0,39 14 15,-27-14-15,0 0 16,80 0-16,-13 0 15,-40 0-15,0 0 0,0-14 16,0 14-16,-1 0 0,54 0 16,-53 0-16,0 0 0,119 0 15,-119-13-15,0 13 16,0 0-16,0 0 0,119 0 16,-119 0-16,0 0 15,-1-13-15,1 13 0,53 0 16,-53 0-16,-13 0 0,92-13 15,-105 13 1,25 0-16,-12 0 0,0 0 0,26 0 16,-26 0-16,-14 0 15,14 13-15,52-13 16,-65 0-16,-1 0 0,1 0 0,-1 0 16,40 0-16,-39 0 15,13 0-15,-14 0 0,1 0 16,12 0-16,-12 0 0,65 0 15,-52 0-15,-14 0 16,1 0-16,13 13 0,12-13 16,-25 0-16,-1 0 0,27 13 15,-26-13-15,12 0 0,-25 0 16,12 0-16,1 0 0,65 14 16,-65-14-16,-1 0 0,27 13 15,-27-13-15,1 0 16,-1 13-16,1-13 0,-1 0 0,54 13 15,-54-13-15,14 0 16,0 0 0,12 0-16,-25 0 0,13 0 0,-27 0 15,40 0-15,-27 13 16,1-13-16,52 0 16,-53 0-16,1 0 0,-14 0 15,14 0-15,52 0 16,-53 0-16,41-13 15,-41 13-15,1 0 0,-1 0 16,0 0-16,41 0 16,-41 0-16,0 0 0,1 0 15,-14 0-15,14 0 0,52-13 16,-53 13-16,-12 0 16,25 0-16,41 0 15,-54-13-15,-13 13 0,67 0 16,-27 0-16,-27-13 15,54 13 1,-54 0-16,27 0 16,-27-14-16,1 14 0,-1 0 0,-12 0 15,52 0 1,-40-13-16,1 13 0,-14 0 0,13 0 16,27 0-16,-40 0 15,14-13 1,-14 13-16,0 0 0,1 0 15,-1 0 1,0 0-16,0 0 16,1 0-1,-1 0 17,0-13 14</inkml:trace>
  <inkml:trace contextRef="#ctx0" brushRef="#br0" timeOffset="55368.47">16748 6919 0,'13'-13'0,"-13"26"31,0 0-31,-13 14 16,-13 39 0,12-53-16,-25 80 15,39-80 1,-27 40 0,27-40-16,0 0 0,0 0 0,14 14 15,-1-14 1,26 0-1,-25-13-15,39 13 16,-27-13-16,-13 0 16,14 0-16,-1 0 0,-13 0 0,27 0 15,-13-13-15,-14 13 0,0 0 16,0 0-16,0 0 0,27-13 16</inkml:trace>
  <inkml:trace contextRef="#ctx0" brushRef="#br0" timeOffset="55635.59">17039 7091 0,'13'-13'16,"1"13"-16,-1 13 15,0-13-15,0 13 0,40 0 16,-40 1-16,27 25 16,-27-26-1,-13 1-15,0-1 0,14 0 0,-28 40 16,1-40-16,0 14 16,-14 12-1,14-39-15,0 14 0,13-1 0</inkml:trace>
  <inkml:trace contextRef="#ctx0" brushRef="#br0" timeOffset="57225.19">17820 6853 0,'0'-27'0,"-14"67"15,14 39-15,0-39 16,0 79-1,0-79-15,0-1 0,14 54 16,-14-67-16,0 14 16,13-27-16,-13 14 0,0-14 15,13 0-15,-13 1 0,0-1 16,13 0 0,-26-39-1,-13-14 1,12 27-16,-25-14 15,26 14 1,-1 0-16,1-1 16,0 14-16,0-13 0,13 0 15,-14 13 1,14-13-16,14 0 0,-1-1 16,-13 1-16,13 13 15,0-13-15,1 0 0,-1-1 0,40-12 16,-40 13-1,0 0-15,0-1 0,1 1 0,-1 0 16,0 0-16,0-1 16,1 1-16,-1 0 15,-13 26 32,0 14-31,13-14-16,-13 0 0,13 0 15,-13 1 1,13-14-16,-13 13 0,14-13 0,-1 0 16,0 0-16,0 0 15,14-13 1,-14 13 0,0 0-16,1-14 15,-1 28 1,-13 12-1,0-13 1,13 14 0,0-14-1,0 0-15</inkml:trace>
  <inkml:trace contextRef="#ctx0" brushRef="#br0" timeOffset="57409.32">18336 7078 0,'-14'26'31,"1"-13"-15,13 1-16,-13-1 0,13 0 15,0 0-15,-13 0 0,13 14 16,0-14-1</inkml:trace>
  <inkml:trace contextRef="#ctx0" brushRef="#br0" timeOffset="57679.51">18217 6919 0</inkml:trace>
  <inkml:trace contextRef="#ctx0" brushRef="#br0" timeOffset="58579.64">18269 7144 0,'27'-13'16,"-27"-1"-16,26 1 15,-26 0-15,14 13 16,-14-13-16,0-1 15,0 1-15,-14 26 47,1 27-31,0-40-16,13 13 0,-13 1 0,13-1 16,0 0-1,0 13-15,13-12 0,0-1 16,0 0-1,1-13 1,12-13 0,-26 0-16,27-1 15,-14 1-15,0 0 16,0 0 0,-13 0-16,13 13 0,1 0 15,-1 0 1,0 13-1,-13 0 1,0 0-16,13-13 16,-13 13-1,14-13 1,-1-13 0,0 13-1,0 0 1,1 0-16,-1 0 15,0 0 17,0 0-17</inkml:trace>
  <inkml:trace contextRef="#ctx0" brushRef="#br0" timeOffset="59035.92">18825 6919 0,'0'-13'0,"0"39"31,-13 1-15,13-14-16,0 0 0,-13 27 16,13-27-16,0 13 15,0-12-15,0-1 16,0 0-16,0 0 15,-14 1 17,1-1-17,0-13 1,13 13-16,-13 0 16,13 0-1,13-13 1,13-13-16,14 0 31,-27 13-31,14-13 16,-14 13-16,0 0 15,0 0 1,-13 13-16,14-13 16,-14 13-16,0 0 15,-14 1 1,14-1-16,-13 0 15,13 0-15</inkml:trace>
  <inkml:trace contextRef="#ctx0" brushRef="#br0" timeOffset="59304.42">18269 7435 0,'14'-13'0,"-1"13"16,0-14-16,14 14 0,-14 0 0,13-13 0,1 13 16,52-26-16,-39 26 15,-14 0-15,27-14 16,-40 14-16,14 0 0,-14 0 15,0-13-15,27 13 16,-27 0-16</inkml:trace>
  <inkml:trace contextRef="#ctx0" brushRef="#br0" timeOffset="59511.26">18296 7514 0,'-13'0'0,"26"0"16,0 0 0,0 0-16,1 0 15,39-13 1,-27 13-16,0-13 0,27-1 16,-26 14-16,92-26 15,-79 13-15,-14 13 0</inkml:trace>
  <inkml:trace contextRef="#ctx0" brushRef="#br0" timeOffset="59947.4">19328 7170 0,'-13'0'16,"52"0"-16,-25 0 16,12 0-16,-13 0 15,27-13-15,-14 13 16,14 0-16,-27 0 15,14-13-15,-14 13 16,0-13 0</inkml:trace>
  <inkml:trace contextRef="#ctx0" brushRef="#br0" timeOffset="60189.37">19447 7011 0,'26'0'15,"14"0"1,0 27-16,13-1 16,-40-12-16,0-1 15,0 0-15,1 0 0,-14 1 0,13-1 16,-13 0-16,0 0 0,0 0 15,-13 27-15,-1-27 16,-39 40-16,40-40 16</inkml:trace>
  <inkml:trace contextRef="#ctx0" brushRef="#br0" timeOffset="63070.3">20254 6945 0,'0'-13'0,"0"53"31,0-14-16,0 1-15,0-14 0,0 13 0,13 41 16,-13-41-16,13 27 16,-13-40-16,0 14 0,14-1 15,-14-13-15,13 14 16,-13-14-16,0 0 16,0 0-1,-13-13-15,-1 0 16,-12-13-1,-1 13-15,14 0 16,13-13-16,-13 13 0,-14 0 16,14-13-16,0 13 15,13-14 1,0 1-16,13 0 16,-13 0-16,13 0 15,-13-1-15,40-25 16,-40 25-16,13 1 0,1 0 0,-1 0 15,0 0 1,0-1-16,1 14 0,-14-13 0,13 13 16,-13-13-16,26 13 15,-13 0-15,14 13 16,-14-13-16,14 27 16,-14-27-1,0 13 1,-13 0-16,13-13 15,-13 13 1,14-13-16,-1-13 31,-13 0-15,13 0 0,-13-1-1,13 1-15,-13 0 16,13 0-16,1 13 15,-1 0 1,0 0-16,0 13 16</inkml:trace>
  <inkml:trace contextRef="#ctx0" brushRef="#br0" timeOffset="63480.47">20690 7064 0,'-13'14'32,"0"12"-17,13 1 1,0-14-16</inkml:trace>
  <inkml:trace contextRef="#ctx0" brushRef="#br0" timeOffset="63639.75">20704 6972 0</inkml:trace>
  <inkml:trace contextRef="#ctx0" brushRef="#br0" timeOffset="64188.83">20849 7104 0,'0'-13'16,"0"0"0,-13-1-1,13 41 1,-13-27 0,13 13-1,0 0-15,13-13 16,-13 14-1,13-28-15,14 14 16,-14 0 0,0-13-16,0 13 31,1 13-31,-1-13 16,0 0-1,0 14-15,0-28 16,14 14-1,-14-13-15,14 0 16,-14 13-16,0-27 16,0 27-16,1-13 0,-1-13 15,0 26 1,-13-14 0,13 14-16,0 14 31,1-1-16,-1 0 1,-13 0 0</inkml:trace>
  <inkml:trace contextRef="#ctx0" brushRef="#br0" timeOffset="64956.83">21630 6945 0,'-40'0'0,"27"27"16,13-14-16,0 0 15,0 14 1,13-14-16,0-13 0,0 13 16,14-13-1,-14-13 1,0 0-16,1-14 16,-14 14-1,0 0 1,13 13-16,0 26 31,0-13-31,-13 1 0,0-1 16,0 13-16,0-12 0,0 25 15,0-12-15,0-14 0,0 0 16,0 0-16,-13 14 16,13-14-16,-13 0 0,0-26 46,26-13-30,0-1 0,14 14-16,-14 0 15,0 0-15</inkml:trace>
  <inkml:trace contextRef="#ctx0" brushRef="#br0" timeOffset="65489.46">22106 6787 0,'-13'0'16,"-1"13"-1,14 0-15,-13-13 0,0 13 0,0 0 16,-27 54 0,40-54-16,-13 13 0,0 14 15,13-27-15,0 0 16,13 14-16,0-14 15,0-13-15,1 0 0,12 0 16,-13 0-16,0 0 16,-13-13-16,14 13 0,25-27 15,-25 27-15,-1-13 0,0 0 16,0 13 0,-13-13-16,14 13 15,-14 13 1,13 0-1,0-13 1,-13 13 0,13-13-16,0 0 0,1 0 0,-1 0 15,0 0-15,14-13 16,-14 0-16,0 13 0,0-13 16,-13 0-1,-13-14 1,0 27-16,13-13 15,-13 13-15,-1 0 0,1 0 16,0 0-16,0 0 16,-1 13-1,28 0 1,12-13 0</inkml:trace>
  <inkml:trace contextRef="#ctx0" brushRef="#br0" timeOffset="66356.72">22582 6906 0,'0'-14'0,"0"28"0,13-28 16,-39 28 15,13-1-15,-1-13-1,1 26-15,0-12 16,13-1-16,0 0 15,13-13-15,-13 13 16,13-13-16,1 0 16,-1 0-16,13 0 15,-12-13-15,-1 13 16,0 0-16,0-13 16,1 13-1,-1 0 16,0 0-31,-13 13 16,13-13 0,0 0-1,1 0-15,-1 0 16,0 0-16,0 0 16,1 0-1,-1 0-15,-13-13 16,13 13-16,0 0 15,1-13 1,-1-1 15,-13 1 204,0 0-204,-13 13-15,-1 0 15,1 0-31,0 13 15,0-13 1,13 13 0,-14-13-16,1 14 15</inkml:trace>
  <inkml:trace contextRef="#ctx0" brushRef="#br0" timeOffset="66991.5">23111 6998 0,'40'0'0,"-13"0"0,-1 0 15,-13 0 1,14 0-16,-14 0 16,0-13-16</inkml:trace>
  <inkml:trace contextRef="#ctx0" brushRef="#br0" timeOffset="67252.75">23297 6906 0,'13'13'31,"0"13"-15,-13-12-16,0-1 16,0 0-1,0 0-15,0 14 16,13-1 0</inkml:trace>
  <inkml:trace contextRef="#ctx0" brushRef="#br0" timeOffset="68406.8">23654 6853 0,'13'0'63,"13"-14"-48,-12 14-15,-1 0 47,-40 0 31,14 14-62,0-1 15,26 0-15,-13 0-16,0 1 0,13-14 0,-13 13 15,27 27 1,-27-27-16,0 0 0,13 27 16,-13-27-1,0 0-15,0 0 0,-13-13 0,13 14 16,-13-1-16,-1 0 15,1-13 1,0 0-16,0 0 16,0 0-16,13-13 31,13 0-15,0 13-16,0-14 15,0 1-15,27-13 16,-13-1-1,-14-12-15,-13 25 16,13 14-16,-13-26 16,-13-1-1,-14 14 1,14 13 0,-27 13-1,27-13-15,0 14 16</inkml:trace>
  <inkml:trace contextRef="#ctx0" brushRef="#br0" timeOffset="68792.39">23839 6919 0,'13'0'16,"0"0"-1,-13 13 1,0 0-1,0 1-15,0 12 16,0-13-16,0 0 16,0 1-16,14-1 15,-1 13-15,-13-12 16,26-14 0,-26 13-16,14-13 0,-1 0 15,0 0-15,13 0 16,-12 0-16,-1-13 15,0 13-15,-13-14 16,13 14-16,-13-13 16,0 0-1,0 0 1,-13 13-16,13-14 0,-26 14 16,12 0-16,1 0 15,0 0-15,-13 0 16,12 0-1,1 14-15,0-14 0</inkml:trace>
  <inkml:trace contextRef="#ctx0" brushRef="#br0" timeOffset="69010.6">24196 6932 0,'13'13'16,"-26"14"-1,13-14-15,-13-13 0,13 13 0,-13 0 16,13 1-16,0-1 0,-14-13 16,1 40-16,13-27 15,-13-13-15</inkml:trace>
  <inkml:trace contextRef="#ctx0" brushRef="#br0" timeOffset="69228.46">24090 6932 0,'0'-13'16</inkml:trace>
  <inkml:trace contextRef="#ctx0" brushRef="#br0" timeOffset="69379.53">24342 7104 0</inkml:trace>
  <inkml:trace contextRef="#ctx0" brushRef="#br0" timeOffset="70339.61">20651 7355 0,'39'0'0,"-12"0"16,92-13-16,0 0 15,-40 13-15,159-27 16,27 14 0,-172 0-16,-14 13 0,199-26 15,-199 26-15,93 0 16,-92 0-16,-14 0 16,0 0-16,-13 0 0,-14 0 0,1 0 15,0 0-15,-14 0 0,1 0 16,-1 0-16,-13 0 0,1 0 0,12 0 15,-13 0 1,-26 13 15</inkml:trace>
  <inkml:trace contextRef="#ctx0" brushRef="#br0" timeOffset="72841.41">20836 7488 0,'198'-14'0,"-145"14"0,132-13 16,-118 0-16,-1 13 15,0 0-15,13 0 0,-13-13 0,120 13 16,-133 0-16,92-13 16,-92 13-1,-13 0-15,-14 0 0,1 0 0,52-14 16,-53 14-1,-12 0-15,-1 0 0,0 0 16,0 0-16,14 0 16,-14 0-1,0 0 1,1 0 0,-1-13-1</inkml:trace>
  <inkml:trace contextRef="#ctx0" brushRef="#br0" timeOffset="78684.61">22318 7567 0,'13'13'15,"0"14"1,-13-14 0,0 0-16,0 0 0,0 1 15,0 39-15,0-40 16,0 0-16,0 0 0,0 1 0,0-1 15,0 0-15,-13 13 16,13-12-16</inkml:trace>
  <inkml:trace contextRef="#ctx0" brushRef="#br0" timeOffset="78968.33">22304 7792 0,'0'26'32,"0"-12"-17,14-1 1,-14 0-16,13 0 0,0-13 16,-13 14-16,13-14 0,1 0 0,12 0 15,0-14 1,-12 14-1,-1-13-15,0 0 0,0 0 16,1-1 0,-14 1-1</inkml:trace>
  <inkml:trace contextRef="#ctx0" brushRef="#br0" timeOffset="80804.57">20783 7541 0,'-26'0'0,"-1"0"0,14 0 16,0 0-16,-14 0 0,14 13 0,-13-13 16,-1 0-16,1 0 0,-1-13 0,1 13 15,-1 0-15,1 0 0,-14 0 16,-39-14-1,52 1-15,1 13 0,-14-13 0,14 13 0,-1-13 16,14 13-16,-14-14 0,1 1 16,0 0-16,12 13 0,-12-13 0,13 0 15,-1-1-15,1 1 0,0 0 16,0 0-16,-14-27 16,27 13-16,0 14 0,-13 0 15,13 0-15,0-14 0,0 14 16,0 0-16,0-14 0,0 14 0,13 0 15,-13-13-15,0 12 0,0 1 0,0-13 16,13 12-16,-13 1 0,14 0 16,-14 0-16,13-14 0,0 14 0,0 0 15,1 0-15,-1-1 0,0 1 0,27-13 16,-14 12-16,40-12 16,-39 13-16,13-1 0,-1 1 15,1 0-15,0 13 0,-1-13 0,1 0 16,13 13-16,-13-14 0,13 14 15,-14 0-15,14-13 0,-13 13 0,13-13 16,0 13-16,0 0 0,-1 0 0,1 0 16,0 0-16,13 0 0,-13 0 15,13 0-15,-13 0 0,14 0 0,-1 13 16,0-13-16,13 0 0,-13 13 0,1-13 16,-15 0-16,1 14 0,0-14 15,0 0-15,0 13 0,-13-13 16,13 0-16,0 13 0,-14-13 0,14 0 15,-13 0-15,13 0 0,-13 13 0,-14-13 16,14 0-16,-14 0 0,1 0 16,12 0-16,-12 13 0,-1-13 0,1 0 15,-1 0-15,1 0 0,-1 14 16,0-14-16,1 0 0,-1 0 0,27 13 16,-39-13-16,12 13 15,0-13-15,-12 0 0,12 13 0,-13-13 16,14 14-16,-1-14 0,-12 0 15,12 13-15,-13-13 0,0 13 0,14-13 16,-14 13-16,0-13 0,1 14 0,-1-1 16,0 0-16,0-13 0,1 13 15,-1 14-15,0-14 16,0 0-16,-13 0 0,13 1 0,-13-1 16,14 0-16,-14 0 0,13 1 0,0 12 15,-13-13-15,0 0 0,13 1 16,-13-1-16,14 27 15,-14-27-15,0 0 0,-14 0 16,14 0-16,-26 14 16,13-14-16,-1-13 0,1 13 0,-13 1 0,-1-1 15,-12 0-15,-1-13 0,-106 27 16,80-14 0,13-13-16,-13 13 0,13-13 0,-13 13 0,13-13 15,0 0-15,0 13 16,14-13-16,-14 0 0,-27 14 15,54-1-15,13-13 0,-1 0 16,1 0-16</inkml:trace>
  <inkml:trace contextRef="#ctx0" brushRef="#br0" timeOffset="92748.53">10438 8652 0,'26'13'63,"1"-13"-48,-14-13-15,13 13 16,-12 0-16,-1 0 16,13 0-16,-12 0 0,-1 0 0,0 0 15,13 0-15,-12 0 0,12 0 0,1 0 16,-14-13-16,40 13 16,-27 0-16,1 0 0,-1 0 0,1 0 15,-14 0-15,13 0 0,14 0 0,-14 0 16,1-14-16,26 14 15,-27 0-15,1 0 0,-1 0 0,1 0 16,-1 0-16,14 0 0,-14 0 16,1-13-16,-1 13 0,1 0 15,26 0-15,-27 0 0,0 0 16,67 0 0,-66 0-16,52 0 15,-53 0-15,1 0 0,-14 0 0,14 0 16,-1 0-16,0-13 0,1 13 15,52 0 1,-52 0-16,-1 13 0,-13-13 0,14 0 16,-14 0-16,14 0 0,-14 0 0,13 0 15,-13 0-15,14-13 0,-14 13 16,0 0-16,14 0 0,-1 0 16,-12 0-16,12 0 0,-13 0 15,0 0-15,1 0 0,12 0 0,-13 0 16,1 0-16,-1 0 0,13 0 0,-13 0 15,1 0-15,12 0 0,-13 0 16,1 0-16,-1 0 0,0 0 0,14-13 16,-14 13-16,0 0 0,0 0 0,14 0 15,-14 0-15,0 0 0,14 0 16,-14 0-16,0 0 0,0 0 0,1 0 16,12 0-16,-13 0 0,0 0 15,1 0-15,-1 0 0,0 0 0,40-14 16,-40 14-1,27 0-15,-27 0 16,0 0-16,1 0 0,-1 0 16,0 0-16,0 0 0,1 0 15,12 0 1,-13-13-16,1 13 0,12 0 16,-13 0-1,14 0 1,-14 0-16,13 0 0,-12 0 15,-1-13 1,0 13-16,0 0 16,0 0-16,14 0 15,-1 0 1,14 0 0,-27 0-16,1 0 0,-1 0 15,0 0-15,27 0 16,13 0-1,-27 0-15,14 0 16,-27 0 0,0 0-16,0 0 0,1 0 15,-1 0-15,27 0 16,-27 0-16,13 0 16,-13 0-16,1 0 15,-1 0 1,0 0-1,0 0 1,1 0 0,-1 0-1</inkml:trace>
  <inkml:trace contextRef="#ctx0" brushRef="#br0" timeOffset="93976.28">16669 8678 0,'13'-13'0,"13"13"0,-12 0 0,-1 0 16,0 0-16,27 0 0,-14 0 16,1 0-16,-1 0 0,1 0 15,12 0-15,1 13 0,13-13 16,0 0-16,-13 0 0,12 0 0,1 0 16,0 0-16,-13 0 0,13 0 0,0 0 15,0 0-15,0 0 0,0 0 16,-1 0-16,1-13 0,0 13 15,-13 0-15,13 0 0,-13 0 0,-14 0 16,14 0-16,-1 0 0,14-13 0,-26 13 16,13 0-16,-14 0 0,0 0 15,1 0-15,-1 0 0,1 0 0,-1 0 16,1 0-16,-1-13 0,-13 13 0,1 0 16,-1 0-16,13 0 0,-12 0 15,12 0 1,-13 0-16,0 0 0,1 0 15,-1 0 1,0-14 0,0 14-1,1 0 17,-1 0 14,-53 0 1,27 0-31,0 0-16</inkml:trace>
  <inkml:trace contextRef="#ctx0" brushRef="#br0" timeOffset="95640.16">2262 9419 0,'13'-13'47,"1"13"-47,-1 0 0,0 0 0,0 0 16,14 0-16,26 0 15,-14 0-15,-12-13 0,26 13 16,0 0-16,53 0 0,-54 0 16,15-14-16,-14 14 0,-1 0 15,107-13-15,-119 13 16,13 0-16,-14 0 0,1 0 16,-13-13-16,12 13 0,-12 0 0,-14 0 15,13 0-15,-12 0 0,-1 0 0,13 0 16,-12 0-16,-1 0 0,0 0 15,13 0 1,-52-13 156,13 13-156,0 13-1</inkml:trace>
  <inkml:trace contextRef="#ctx0" brushRef="#br0" timeOffset="97607.42">10808 9366 0,'622'-13'15,"-569"13"-15,13 0 0,106-13 16,-119 13-1,0 0-15,-13 0 0,-14 0 0,0 0 0,1 0 16,-1 0-16,14 0 16,-27 0-16,1 0 0,-1 0 15,0 0-15</inkml:trace>
  <inkml:trace contextRef="#ctx0" brushRef="#br0" timeOffset="98884.41">16087 9379 0,'39'0'15,"-12"14"-15,-14-28 0,66 28 16,-52-14 0,13 0-16,12 0 0,-12 0 0,13 0 0,0 0 15,0 0-15,106 0 16,-93 13-16,-13-13 0,26 0 16,0 0-16,1 0 0,65 13 15,-65-13-15,171 13 16,-172-13-1,1 14-15,12-14 0,-12 0 0,-1 13 0,14-13 16,132 13 0,-172 0-16,0-13 0,52 0 15,-65 0-15,0 0 0,-14 0 0,14 0 16,-14 0 0,-12 0-16,12 14 0,-13-14 0,0 0 0,1 0 15,-1-14 1,0 14-16,0 0 15,1 0-15,-1 0 47</inkml:trace>
  <inkml:trace contextRef="#ctx0" brushRef="#br0" timeOffset="100100.21">1574 10213 0,'40'0'0,"-14"-13"0,-12 13 0,12 0 15,1 0-15,12 0 16,1 0-16,13-14 0,119 14 16,-106-13-16,0 13 0,13 0 15,1-13-15,-14 0 0,80 0 16,-67 13-16,-13-14 0,119-12 16,-119 13-1,-26 13-15,13 0 0,-13-14 16,-1 14-16,-12-13 0,-1 13 0,-12 0 15,-1 0-15,0 0 0,0 0 0,0 0 16,1-13-16,-1 13 0,0 13 16</inkml:trace>
  <inkml:trace contextRef="#ctx0" brushRef="#br0" timeOffset="102621.24">12753 11695 0,'-13'0'0,"52"0"47,1 0-47,-27 0 15,14 0-15,-14 0 0,13 0 0,1 0 16,-1 0-16,27 0 15,-26 0-15,-1 0 0,40 0 16,-52 0-16,12 0 16,-13 0-16,0 0 0,1 0 15,-1 0-15,0 0 0,0 13 32</inkml:trace>
  <inkml:trace contextRef="#ctx0" brushRef="#br0" timeOffset="103145.32">13031 11549 0,'39'0'0,"1"13"16,-13 1-16,-14-14 15,0 13-15,13-13 0,-12 13 16,12-13-16,14 26 15,-27-12-15,0-1 0,1 0 0,-1 0 16,-13 1-16,13-14 0,-13 39 16,0-25-1,-13-1-15,13 0 0,-13 0 0,-1 0 16,14 1-16,-39 25 16,25-25-16,1-1 0,0 0 15,13 0-15</inkml:trace>
  <inkml:trace contextRef="#ctx0" brushRef="#br0" timeOffset="104126.34">13811 11536 0,'0'-13'0,"0"39"31,0 1-16,0-14-15,13 0 16,-13 0 0,0 0-16,14-13 0,-1 14 0,0 12 15,0-26-15,1 0 16,-1 0-16,13 0 16,-12 0-1,-14-13-15,13 13 0,0-13 0,-13-1 16,13 14-1,0-13-15,-13 0 16,14 13-16,-1 13 16,0 0-1,-13 1 1,0-1-16,13-13 0,-13 13 16,14 0-1,-1-13-15,0 0 16,0-13-1,14 0-15,-14-14 16,-13 14 0,0 0-1,0 0-15,0 0 16,0-1-16,-13 14 16,13-13-1</inkml:trace>
  <inkml:trace contextRef="#ctx0" brushRef="#br0" timeOffset="104500.34">14221 11377 0,'14'27'0,"-14"12"15,0-26-15,0 1 16,0-1-16,0 0 0,0 0 16,0 1-16,-14-1 0,14 13 15,0-12 1,0-1 0,14-13-16,-1-13 15,13-1 1,-12 14-1,-14-13-15,26 13 16,0 13 0,-12-13-16,-1 14 15,-13-1-15,13 0 16,-13 0 0,13 0-16</inkml:trace>
  <inkml:trace contextRef="#ctx0" brushRef="#br0" timeOffset="105053.46">14539 11443 0,'-40'40'0,"40"-27"16,0 0-1,13-13 1,1 0-16,-1 0 15,0-13 1,0 13 0,1 0-16,-1 0 15,0 27 1,-13-14-16,0 0 0,13 14 0,-13-14 16,0 13-16,0 1 0,-13 39 15,0-40-15,-27 67 16,27-67-16,0-12 0,13-1 15,-14 0-15,1 0 0,-27 0 16,27-13 0,0-13-1,13 0 1,0-13-16,13 12 16,-13 1-16,13 0 0,1-14 0,-1 14 15,13-13-15,-12 26 16,-1-13-16,0-1 0,27-12 15,-27 26-15,13-13 0,1-1 0,-14 1 16</inkml:trace>
  <inkml:trace contextRef="#ctx0" brushRef="#br0" timeOffset="106038.57">15081 11509 0,'-13'14'32,"13"-1"-17,0 0-15,0 0 0,13 1 16,0-14-1,1 0-15,12 0 16,-13 0 0,1-14-16,25-12 15,-25 26 17,-1 0-32,0 0 15,-13 13-15,13 0 0,0-13 16,-13 14-16,14-14 15,-1 13-15,0-13 16,0-13 0,1-1-1,-1 1 1,-13 0-16,0 0 16,13-1-1,-13 1-15,13 13 16</inkml:trace>
  <inkml:trace contextRef="#ctx0" brushRef="#br0" timeOffset="106357.75">15558 11509 0,'13'-13'0,"-13"0"15,0 0 1,-27 39 15,27-13-15,-13 1-16,0 12 15,13-13-15,0 1 16,13-1 0,-13 0-16,40-13 15,-27 0-15,0 13 0,40-26 16</inkml:trace>
  <inkml:trace contextRef="#ctx0" brushRef="#br0" timeOffset="106985.33">16060 11430 0,'-53'13'0,"40"0"16,0-13-16,0 14 0,13-1 15,0 0-15,0 0 16,13 14-1,-13-14-15,13-13 16,0 0 0,1 0-1,-1-13-15,0 13 0,0-27 16,-13 14 0,13 0-1,1 13 16,-1 26-15,-13-12 0,13-1-16,-13 0 15,13 14 1,-13-14 0</inkml:trace>
  <inkml:trace contextRef="#ctx0" brushRef="#br0" timeOffset="107353.59">16259 11456 0,'0'0'15,"13"14"-15,-13-1 16,13-13-16,-13 13 0,0 0 0,0 1 16,-13 12-1,13-13-15,0 1 0,0-1 16,0 0 0,0-53 30,13 14-30,0 13-16,1-1 16,-14 1-16,13 13 0,0 0 0,-13-13 15,13 13-15,0 0 16,1 0-16</inkml:trace>
  <inkml:trace contextRef="#ctx0" brushRef="#br0" timeOffset="107645.64">16510 11509 0,'13'-13'0,"-13"0"0,-13 13 31,-13 26-16,12-26-15,14 14 16,0-1-16,-13 0 16,0 0-16,13 14 15,0-14-15,26 0 16,-12-13 0,12 13-16,-13-13 0,14 0 15,-14 0-15,0 14 0,14-14 16,-14-14-16</inkml:trace>
  <inkml:trace contextRef="#ctx0" brushRef="#br0" timeOffset="108496.3">16960 11443 0,'0'40'0,"0"-27"0,0 14 16,0 12-1,0-12 1,0-14-1,26-26 17,-13 0-17,27-14 1,-27 27-16,14-13 16,-14 13-16,0 0 15,1 0-15,-1 13 16,-13 0-16,13 1 15,-13-1-15,13 13 16,0-13 0,14 1-1,-1-28-15,-12 14 16,-1 0-16,-13-13 16,13 13-16,0 0 0,-13-13 0,14 13 15,-1-13-15,0 13 31,0 0-15,-13 13-16,13-13 16,1 0-16,12 0 15,-13 0 1,1-13-16,-1 13 16,0-27-1,-13 14-15,0-13 16,0 12-1,-13 1 1,0 13-16,-1 13 16,1-13-1,0 14-15,13-1 16,0 0-16,0 0 16</inkml:trace>
  <inkml:trace contextRef="#ctx0" brushRef="#br0" timeOffset="108733.6">17621 11377 0,'13'-79'16,"-13"105"15,-26 14-16,26-27-15,0 0 0,-13 14 16,13-14-16,0 0 0,-13 14 0,13-14 16,0 0-16,0 0 0,0 1 0,0-1 15,13 0-15,-13 0 16,0 1-16</inkml:trace>
  <inkml:trace contextRef="#ctx0" brushRef="#br0" timeOffset="108948.15">17515 11483 0,'27'-13'15,"-14"13"-15,0 0 0,1 0 16,12 0-1,-13-14-15,14 14 0,-14 0 0,0 0 16,0 0-16,1 0 0,12 0 0,-13 0 16,1-13-16,-1 13 0</inkml:trace>
  <inkml:trace contextRef="#ctx0" brushRef="#br0" timeOffset="109285.24">18164 11404 0,'0'13'15,"0"13"1,0-13-16,-14 27 16,14-27-16,0 1 15,0-1-15,0 0 0,0 0 16,0 1-1</inkml:trace>
  <inkml:trace contextRef="#ctx0" brushRef="#br0" timeOffset="109464.49">18084 11324 0</inkml:trace>
  <inkml:trace contextRef="#ctx0" brushRef="#br0" timeOffset="109873.35">18309 11404 0,'0'26'16,"13"-26"-16,-13 13 16,0 0 15,14-26-15,12 13-1,-26-13-15,13 13 16,1 0-1,-1 0-15,0 0 16,0 13 0,-13 0-16,13-13 0,1 40 15,-14-27 1,0 1 0,13-14-1</inkml:trace>
  <inkml:trace contextRef="#ctx0" brushRef="#br0" timeOffset="110160.35">18719 11192 0,'0'26'31,"0"-12"-15,-13 38-1,-13 1 1,12 0-16,14-13 16,0-27-16,0 0 15,0 1-15,0-1 0,0 0 16,14-13-1</inkml:trace>
  <inkml:trace contextRef="#ctx0" brushRef="#br0" timeOffset="110360.36">18561 11377 0,'13'0'31,"0"0"-31,13-13 16,1 13-16,-14 0 15,0 0-15,1 0 0,-1 0 16,13 0-16,-13 0 0,1 0 0,12 0 16</inkml:trace>
  <inkml:trace contextRef="#ctx0" brushRef="#br0" timeOffset="110861.19">18852 11496 0,'0'-13'16,"0"0"-1,0-1-15,0 1 16,0 0 0,-14 13-1,1 0-15,0 13 16,13 0-1,0 1 1,13-1 0,-13 0-16,13-13 0,1 13 15,-1-13-15,0 0 16,-13 14-16,13-14 16</inkml:trace>
  <inkml:trace contextRef="#ctx0" brushRef="#br0" timeOffset="111136.85">18971 11483 0,'13'13'31,"-26"0"0,13 14-15,0-14-16,26-26 47,-13 13-32,-13-13-15,14 13 16,-14-14-16,13 14 0,0-13 16,0 13-1,0-13-15,1 13 0</inkml:trace>
  <inkml:trace contextRef="#ctx0" brushRef="#br0" timeOffset="111772.28">19169 11443 0,'13'53'16,"1"-26"-1,-14-14 1,13 0-16,-13 0 15,13-13 1,0-13 0,0 13-16,-13-13 0,14 13 15,-14-13-15,13-14 16,0 14-16,0 0 16,1-1-1,-1 14-15</inkml:trace>
  <inkml:trace contextRef="#ctx0" brushRef="#br0" timeOffset="112518.37">19831 11205 0,'0'-13'16,"0"66"15,-14-40-31,14 13 0,0-12 16,-13 12-16,13-13 0,-13 14 0,13-14 15,-13 14-15,13-14 0,0 0 16,-14 13-16,14-12 0,0-1 0,-13 13 16,13-12-1,0-1 1</inkml:trace>
  <inkml:trace contextRef="#ctx0" brushRef="#br0" timeOffset="113186.25">19632 11430 0,'13'-13'16,"27"13"-16,-27 0 16,14 0-16,-14 0 0,0 0 0,14-13 15,-14 13-15,13 0 0,-12-14 16,-1 14-16,0-13 0,13 13 0,-12-13 16,-1 0-16,0-1 0,0 1 15,1-13-15,-14 12 0,13 1 16,-13 0-16,13 13 0,-13-13 15,13 0-15,-13-1 0,0 1 16,13 13-16,-26 27 31,13-14-31,-13 26 16,0-25 0,0 39-16,13-40 15,-14 0-15,14 0 16,-13 14-1,26-14 1,1 0 15,-1-13-15,0 13 0,0-13-16,0 0 15,1 0-15,-1 0 0,-13-13 0,13 13 16,0 0-16,1 0 0,12-26 15,-26 13 1,13 13-16,-13-14 0,14 14 16,-28 14 15,14 12-15,0-13-1,0 0-15,0 1 16,14-1-1,-1-13 1,0 0-16,0 0 0,0 13 0,1-26 0</inkml:trace>
  <inkml:trace contextRef="#ctx0" brushRef="#br0" timeOffset="113899.56">20505 11298 0,'0'-14'16,"0"28"-16,0-1 15,0 0-15,0 0 0,0 14 16,0-14-16,0 14 0,0 12 16,0-12-16,-13 12 0,13 1 15,0 0-15,0-1 0,-13 1 0,0 40 16,13-67-16,0 13 0,-14 1 15,14-14-15,0 0 0,0 0 0,-13 1 16,13-1-16,0 0 0,-13 0 16,13-39 15,0-27-15,13 26-16,-13-12 0,13-1 15,1 14-15,-1-14 0,0 13 0,13-12 16,-12 12-16,-1 14 0,0 0 0,14 0 15,-14-1-15,13 1 16,-12 13-16,-1 0 16,0 13-16,-13 1 15,0 12 1,-13-13-16,13 1 0,-13-1 0,-1 0 16,1 0-16,0 0 0,0 1 15,-1-14 1</inkml:trace>
  <inkml:trace contextRef="#ctx0" brushRef="#br0" timeOffset="114201.13">20770 11430 0,'-13'26'16,"13"-12"-16,0-1 15,0 27 1,0-27-16,0 0 0,13 0 0,0 1 16,0-1-16,0-13 31,14 0-31,-14 0 0,-13-13 16,13-1-1,-13 1-15,0 0 16,-13 0-16,13-1 0,-13 1 15,-14 0 1,14 13 0</inkml:trace>
  <inkml:trace contextRef="#ctx0" brushRef="#br0" timeOffset="114661.47">20915 11271 0,'14'27'31,"-14"-14"-31,0 0 0,13 40 16,-13-26-16,0-1 0,0 0 15,0 1-15,13 13 0,-13-1 16,0-12-16,0-1 0,0 1 0,13 12 15,-13-25-15,0-1 0,0 0 16,0 0-16,0 1 0,0-1 16,0 0-16,0 0 15,0-39 17,13-27-17,-13 26-15,14-12 0,-1 12 16,13-26-16,-12 27 0,-1 13 15,0-1-15,0 1 0,1 0 0,-1 0 16,0 13-16,-13-14 16,13 14-16,0 0 0,1 0 15,-14 14-15,-14-1 16,1 0-16,13 0 16,-13 1-16,0-1 0,0-13 0,-1 13 15,1 0-15,0 1 0,0-14 16,13 13-16,-14-13 0</inkml:trace>
  <inkml:trace contextRef="#ctx0" brushRef="#br0" timeOffset="115337.46">21246 11417 0,'0'-13'0,"-13"39"31,13 0-15,0 1-16,0-14 15,13 0 17,13-13-17,1-13 1,-27 0-16,13 0 16,0-1-16,1 28 46,-14-1-46,0 0 16,0 0-16,13-13 0,-13 14 16,13-14-16,0 13 15,1-26 1,-1 13 0,0-14-16,0 1 0,0 0 15,-13 0-15,27-53 16,-14 52-1,0-39 1,1 40-16,-14 0 0,0 0 0,0-1 16,13 1-16,-13 0 15,-13 53 17,-1 13-17,14-40-15,-13 40 16,13-40-16,0 0 15,-13 0-15,13 1 0,0-1 0,13-13 16,-13 13-16,13 0 16,1 1-16,-1-14 0,13 0 15</inkml:trace>
  <inkml:trace contextRef="#ctx0" brushRef="#br0" timeOffset="115672.29">21841 11377 0,'-13'-13'0,"0"13"15,-14 0 1,14 0-16,0 13 16,0-13-16,0 13 0,-1-13 15,14 14-15,-13-14 0,13 13 0,-13 0 16,13 0-16,13-13 15,0 0 1,14 0 0,-14 0-1,13 0 1,-12 0 0,-1 13-1,0-13 1,0 0-16,1 0 15,25 0-15,-25 0 16</inkml:trace>
  <inkml:trace contextRef="#ctx0" brushRef="#br0" timeOffset="116493.29">22027 11245 0,'13'-13'0,"-13"39"16,0-13-16,0 40 16,0-26-16,0-1 0,0 1 0,0-1 15,0 0-15,0-12 16,0 52-16,-13-40 16,13-12-16</inkml:trace>
  <inkml:trace contextRef="#ctx0" brushRef="#br0" timeOffset="116817.24">21960 11496 0,'14'-13'0,"-1"0"16,0 13-16,0 0 15,1-14-15,-1 14 0,13-13 0,-13 13 16,1-13-16,12 13 0,-13 0 16,1-13-16,-1 13 0,0 0 15,0-13-15,1 13 16,-1 0 0,0 13-16,-13 0 15,0 13 1,0-12-1,0-1-15,0 0 0,0 0 16</inkml:trace>
  <inkml:trace contextRef="#ctx0" brushRef="#br0" timeOffset="117537.51">22397 11364 0,'0'13'0,"-13"14"16,13-14-16,0 0 16,13-13-16,-13 13 0,0 0 15,13-13-15,-13 14 0,13-14 16,1 0-16,-1 0 15,13-14 1,-12-12 0,-14 0-1,0 12-15,0 1 0,-14-13 16,14 12 0,-13 14-1,0 0-15,39 14 47,-12-14-47,12 0 16,-13 13-1,27 0 1,-40 0-16,13-13 0,-13 14 16,13-1-1,1 0-15,-14 0 16,13-13 15,0-13-15,0 13-1,-13-13 1,27 13 0,-1-13-1,1 13 1,-14 0-16,13-14 15,-12 14-15</inkml:trace>
  <inkml:trace contextRef="#ctx0" brushRef="#br0" timeOffset="118036.43">23019 11033 0,'79'0'16,"-79"13"-16,13-13 0,1 14 15,-14-1-15,13 0 0,-13 13 16,13-12-16,-13-1 0,0 27 16,0-14-16,0-13 0,-13 14 15,13-14-15,0 13 0,-13-12 0,13-1 16,0 0-16,-14 0 0,14 1 16,0-1-16,0 0 0,0 0 0,0 1 15,-13-14-15,13 13 0,0 0 0,0 0 16,0 0-16,0 1 15</inkml:trace>
  <inkml:trace contextRef="#ctx0" brushRef="#br0" timeOffset="118188.81">23085 11655 0</inkml:trace>
  <inkml:trace contextRef="#ctx0" brushRef="#br0" timeOffset="135566.44">23244 11232 0,'13'-14'0,"0"14"16,0 0 0,14 0-16,-14 0 0,0 0 15,0 0-15,14 0 0,13 0 16,-27 0-16,13 0 15,-12 0-15,12 0 16</inkml:trace>
  <inkml:trace contextRef="#ctx0" brushRef="#br0" timeOffset="135832">23455 11060 0,'40'13'16,"-27"0"0,0 0-16,1-13 0,-14 13 15,13 1-15,0 25 16,-13-12-16,0-14 0,0 0 15,0 1-15,-13 25 16,0-26-16,13 1 0,-14 12 16,14-13-16</inkml:trace>
  <inkml:trace contextRef="#ctx0" brushRef="#br0" timeOffset="136404.51">23879 10888 0,'0'0'16,"-14"13"-1,14 0-15,0 0 0,-13 27 16,13-27-16,0 14 16,0-1-16,0-13 0,0 1 15,0 25 1,0-26-16,0 1 16,0-1-16,27-26 31,-14 13-31,13-14 15,-26 1-15,27 13 16,-14 0-16,13 0 16,1 13-1,-14-13-15,-13 14 0,13-14 0,1 26 16,-14-13 0,13 14-16,0-14 15,-13 0-15,13 1 16,1-14-1</inkml:trace>
  <inkml:trace contextRef="#ctx0" brushRef="#br0" timeOffset="136913.34">24262 11060 0,'-13'0'0,"0"0"15,0 0-15,13 13 16,-14-13-16,14 13 0,-13 0 16,13 0-16,0 1 15,0-1 1,0 0 0,13 0-16,1-13 15,-1-13 1,0 13-1,0-13 1,1 0 0,-1 13-16,0 0 15,-13 13 1,13-13-16,0 13 16,-13 0-1,14-13-15,-14 14 16,13-14-16,-13 13 31,26-26-15,-26-1-1,14 1 1,-1 13-16,-13-13 16,13 13-16,0-13 15,1-1 1</inkml:trace>
  <inkml:trace contextRef="#ctx0" brushRef="#br0" timeOffset="137268.23">24633 10874 0,'0'-13'0,"0"40"0,0 12 16,0-25-16,0-1 16,0 0-16,-14 13 0,28 1 15,-14-14 1,0 0-16,0 1 0,0-1 16,-14 0-1,14 0-15,-26 0 16,13 1-1,-14-1 1,27 0-16,-13-13 0,0 13 0,13 1 16,-13-1-1,26 0 1,13 0 0,-12-13-16,12 0 15,-13 0-15,0 0 0,1 14 16</inkml:trace>
  <inkml:trace contextRef="#ctx0" brushRef="#br0" timeOffset="137779.5">23349 11748 0,'-13'0'0,"53"0"31,0 13-15,-27-13-16,0 0 0,0 0 0,1-13 15,-1 13-15,40 0 16</inkml:trace>
  <inkml:trace contextRef="#ctx0" brushRef="#br0" timeOffset="138001.31">23521 11642 0,'14'0'16,"-1"0"-1,0 13-15,0 0 16,-13 0-16,14 14 0,-14-14 16,13 0-16,-13 1 0,0-1 0,0 26 15,0-25-15,-13 12 0,13-13 16,0 1-16,-14-1 0,14 0 16,0 0-16,0 0 0</inkml:trace>
  <inkml:trace contextRef="#ctx0" brushRef="#br0" timeOffset="138649.25">23984 11509 0,'-13'40'16,"13"-13"0,0-1-16,0 40 15,0-53 1,0 40-16,13-39 0,-13 12 16,0-13-16,0 0 0,0 14 15,0-14-15,0 0 0,0 1 0,0-1 16,-13-13-16</inkml:trace>
  <inkml:trace contextRef="#ctx0" brushRef="#br0" timeOffset="138976.38">23812 11814 0,'27'0'15,"-14"0"-15,14-14 16,-1 14-16,-13-13 16,27 13-16,-27-13 0,14 13 15,-14-13-15,0 13 0,0-13 16,14 13-16,-14-14 16,0 14-16,1 14 15,-1-14 1,-13 13-16,0 0 15,13 0-15,-13 0 16,0 1-16,0-1 16,13-13-16,-13 13 0,0 0 15,13 1-15,-13-1 16</inkml:trace>
  <inkml:trace contextRef="#ctx0" brushRef="#br0" timeOffset="139121.54">24143 11655 0,'-13'0'16</inkml:trace>
  <inkml:trace contextRef="#ctx0" brushRef="#br0" timeOffset="139741.9">24249 11761 0,'0'13'0,"0"-26"0,0 39 16,0-13-16,0 1 15,13-1-15,-13 0 16,14-13 15,-1-13-15,0 13-16,0 0 16,14 0 15,-27 13-31,13-13 31,0 13-31,0-13 16,1 0-1,-1 0 1,0-13 0,0 13-1,1 0 1,-1 0-1,0 0 1,0 0-16,14 0 16,-14 0-1,0 0-15,0-13 0,1 13 16,-1-13-16,0 13 0,-13-14 16,13 14-16,-13-13 0,13 0 15,-26 39 32,13-12-31,13-1-1,1-13-15,-1 13 16,0-13-16,0 0 16,1 0-16</inkml:trace>
  <inkml:trace contextRef="#ctx0" brushRef="#br0" timeOffset="140416.2">23469 12356 0,'26'-13'0,"-13"13"16,14 0-16,-14 0 0,0 0 0,0 0 15,14 0-15,-14 0 0,0 0 0,1-13 16,-1 13-16,0 0 0,0 0 0,0 0 15</inkml:trace>
  <inkml:trace contextRef="#ctx0" brushRef="#br0" timeOffset="140657.26">23680 12211 0,'0'0'16,"13"-14"-1,27 54 1,-40-27-16,13 0 16,-13 14-1,14-14-15,-14 14 0,0-14 0,0 0 16,-14 13-16,14-12 0,-13 12 16,13-13-16,0 1 0,0-1 15,-13-13-15,13 26 0</inkml:trace>
  <inkml:trace contextRef="#ctx0" brushRef="#br0" timeOffset="140999.75">23839 12290 0,'13'26'16,"-13"-12"-16,0-1 16,0 0-16,0 0 0,13 0 15,-13 1-15,0-1 0,0 0 16,0 14-16,14-14 16,-14 0-16,0-39 46,0 12-46,0 1 0,0 0 16,0 0-16,13-27 16,-13 27-16,0 0 0,13-1 15,-13 1-15,13 0 16,1 13 0,-1 0-1</inkml:trace>
  <inkml:trace contextRef="#ctx0" brushRef="#br0" timeOffset="141349.74">24037 12409 0,'-13'-13'31,"26"-1"-15,-13 1-16,-13 0 15,0 26 32,13 0-47,-13 1 16,13 12-1,13-13-15,0 1 16,0-1 0,14-13-16,-14 0 0,14 0 15,-14 0-15,0 0 16,0 0-16</inkml:trace>
  <inkml:trace contextRef="#ctx0" brushRef="#br0" timeOffset="141605.32">24236 12316 0,'-13'0'15,"-1"14"17,28-1-32,-14 0 15,0 0-15,13-13 16,-13 13-16,0 1 0,0-1 0,0 0 15,0 0-15,0 1 16,0-1-16,-13 0 16,13 0-16,-14 1 0,1-14 15</inkml:trace>
  <inkml:trace contextRef="#ctx0" brushRef="#br0" timeOffset="142280.17">24381 12356 0,'-26'26'16,"26"-12"-16,0-1 15,0 0-15,0 0 0,0 1 16,13-1-16,0 0 16,1-13-16,-1 0 15,0 0 1,0-13-16,1 0 0,-14-1 16,0 1-16,0 0 15,13 0-15,-13-1 0,-13 1 16,13 0-16,0 0 15,-14 13-15,1 0 16,0 13 0,13 0-1,0 14 1,26-14 0,-26 0-16,14-13 15,-1 0-15,0 0 16,0 0-16,0-13 15,1 13-15,-14-13 0,13 13 16,0-14 0,0 14-16,1 14 31,-14-1-15,13 0-1,-13 0 1,13-13-16,-13 14 15,13-14-15,0 0 32,1-14-17,-1 1 1</inkml:trace>
  <inkml:trace contextRef="#ctx0" brushRef="#br0" timeOffset="142542.37">24659 12396 0,'0'-14'0,"13"1"31,-26 40-31,40-41 31,-27 28-15,0-1-1,0 0-15,0 0 32,26-26-1,-26 0-15,13 0-1,1 13 1,-1 0-1,0 0-15</inkml:trace>
  <inkml:trace contextRef="#ctx0" brushRef="#br0" timeOffset="142760.57">24911 12343 0,'0'-13'0,"-27"26"31,1 13-15,26-13 0,-14 1-16,14-1 15,0 0-15,0 0 16,0 1-16,14-14 16,-14 13-16,13-13 0,0 0 0,0 13 15,1-13-15</inkml:trace>
  <inkml:trace contextRef="#ctx0" brushRef="#br0" timeOffset="143391.39">23548 13018 0,'0'0'0,"26"-14"16,-12 14-1,12-13-15,14 13 16,-27 0 0,0 0-16,0-13 0,14 13 15,-14 0 1</inkml:trace>
  <inkml:trace contextRef="#ctx0" brushRef="#br0" timeOffset="143620.23">23773 12912 0,'13'0'0,"0"13"31,-13 0-16,13 0-15,-13 1 16,-13 12-16,13-13 16,0 1-16,-13 25 15,13-26-15,-13 1 16,13-1 0</inkml:trace>
  <inkml:trace contextRef="#ctx0" brushRef="#br0" timeOffset="144146.7">23932 12819 0,'0'-13'16,"-14"39"-16,14-12 15,0-1-15,-13 0 0,13 0 0,0 0 16,0 14-16,0-1 16,13-12-16,-13-1 0,0 0 0,14 0 15,-1 1-15,-13-1 16,13-13-16,0 0 0,0 0 16,1 0-16,-1 0 15,0-13-15,0 13 0,1-14 16,-14 1-16,13 13 15,-13-13-15,13 13 16,-13 13 15,0 0-15,0 1-16,13-1 16,1 0-16,-14 0 15,13-13-15,0 0 16,0 13-1,0-26-15,1 13 0,-14-13 16,0 0 0,0-14-1,0 14-15,-14 0 16,1 0 0,0 13-16</inkml:trace>
  <inkml:trace contextRef="#ctx0" brushRef="#br0" timeOffset="144453.2">24302 12912 0,'0'13'31,"0"0"-31,0 0 16,13 14 0,-13-14-16,13-13 0,-13 13 15,0 1-15,0-1 16,0 13-16,-13-26 15,13 13-15,0 1 16,-13-14-16,13 13 31</inkml:trace>
  <inkml:trace contextRef="#ctx0" brushRef="#br0" timeOffset="144696.76">24434 12740 0,'0'0'15,"0"26"1,0-13 0,0 1-16,0-1 0,0 0 0,0 14 15,14-14-15,-14 0 0,0 13 16,0-12-16,13 39 15,0-40-15,-13 0 0,0 0 0,0 1 16,0-1-16,13-13 0,-13 13 16,0 0-16</inkml:trace>
  <inkml:trace contextRef="#ctx0" brushRef="#br0" timeOffset="144881.82">24421 13004 0,'0'-13'16,"13"13"-16,1-13 0,25 13 31,1-13-15,-27 13-16,0 0 0,1-14 15</inkml:trace>
  <inkml:trace contextRef="#ctx0" brushRef="#br0" timeOffset="145280.6">24619 12660 0,'0'0'0,"-13"0"32,0 14 30,13-1-46,0 40 15,0-40-31,0 0 0,-13 27 16,26 13-1,-13-40-15,0 27 16,0-27-16,13 0 16,-13 0-16,0 14 0,13-14 15,-13 0-15,0 1 0,14-1 16,-14 0-16,13-13 15</inkml:trace>
  <inkml:trace contextRef="#ctx0" brushRef="#br0" timeOffset="145746.07">24739 12885 0,'0'0'32,"-14"13"-32,14 1 15,-13 12-15,13-13 16,13 1 0,-13-1-1,14-13-15,-1-13 16,0 13-1,0 0-15,14 0 16,-27 13 0,13 0-16,-13 0 15,13 1-15,-13-1 0,0 0 0,0 27 16,-13-14-16,13 14 16,-27-1-16,27-12 15,-13-14-15,0 0 0,13 1 0,-13-1 16,13 0-16,-13 0 15,13-39 1,13-14 0,-13 27-1,13 13-15,-13-13 0,13-1 0,0 14 0,-13-13 16,14 13-16,-1-13 16</inkml:trace>
  <inkml:trace contextRef="#ctx0" brushRef="#br0" timeOffset="146048.48">24130 13454 0,'79'-40'0,"-39"40"0,26-26 16,-26 13-16,0-1 0,-1 1 16,1 13-16,-14-13 0,-12 13 0,12-13 15,-13 13-15,1 0 0,-1 0 16,0 0-16,13-13 0,-12 26 15</inkml:trace>
  <inkml:trace contextRef="#ctx0" brushRef="#br0" timeOffset="146224.79">24170 13520 0,'53'0'15,"-40"0"-15,13-13 16,1 13-16,12-13 0,1 0 0,0-1 16,0 14-16,-1-13 0,-12 13 0,-1-13 15,14 0-15,-27 13 16,13-14-16</inkml:trace>
  <inkml:trace contextRef="#ctx0" brushRef="#br0" timeOffset="148291.32">20823 11814 0,'-27'13'16,"14"-13"-16,53-13 46,-1 13-46,80-27 16,-66 27-16,53-13 16,-40 0-16,0 13 15,1-13-15,-1-1 0,13 14 0,1-13 16,65 0-16,-79 0 16,40-1-16,-66 14 0,13-13 0,-27 13 15,27-13 1,-27 13-16,1 0 0,-14-13 15,0 13-15</inkml:trace>
  <inkml:trace contextRef="#ctx0" brushRef="#br0" timeOffset="148646.72">21206 11880 0,'53'0'0,"-13"0"16,-14 0-16,67-13 0,-40 13 15,0 0-15,172-27 16,-159 27-16,53-13 15,-13 0-15,-53 13 16,-14 0-16,1-14 0,-13 14 0,-1 0 16,0 0-16,-12 0 0,12 0 15,-13-13-15,1 13 16,-1 0-16,0 0 16,-26 27 15</inkml:trace>
  <inkml:trace contextRef="#ctx0" brushRef="#br0" timeOffset="154571.62">12541 12713 0,'-13'0'0,"53"0"46,-27 0-46,0 0 0,53 0 32,-39 0-32,-1 0 0,1 0 0,12 0 15,-12 0-15,52 0 0,-52 0 16,12 0-16,-12 0 0,-1 0 16,1 0-16,12 0 0,-25 0 15,-1 0-15,0 0 0,0 0 16,1 0-16,-1 0 0,0 0 15</inkml:trace>
  <inkml:trace contextRef="#ctx0" brushRef="#br0" timeOffset="154989.42">12925 12488 0,'26'14'16,"-12"-14"-16,-1 0 15,13 13-15,-12 0 0,38 13 16,-38-12 0,39 25-1,-40-25-15,0-1 0,-13 0 16,13 0-16,-13 1 0,0-1 15,0 0-15,0 0 0,-13 0 16,0 14-16,0-1 0,-1-12 16,1-1-16,-13 13 0,12 1 15,1-14-15,0 0 0,0 0 0,-14 1 16,14-1-16,0-13 16</inkml:trace>
  <inkml:trace contextRef="#ctx0" brushRef="#br0" timeOffset="156222.34">13996 12475 0,'-92'13'0,"79"1"16,13-1-1,26 13 1,-13-13-16,-13 1 0,14-1 16,12 0-16,-13 0 0,0 1 15,1-1-15,-1 13 16,13-12-16,-12-1 0,-14 0 0,0 0 16,0 0-1,0 1-15,-14-14 0,14 13 0,-26 13 16,-1-12-16,1-1 0,13 0 15,-14-13-15,1 13 0,13-13 16,-14 14-16,14-14 0,-14 0 0,1 0 16,13 0-16,0 0 0,-1 0 15,1 0 1</inkml:trace>
  <inkml:trace contextRef="#ctx0" brushRef="#br0" timeOffset="156851.29">14248 12607 0,'-27'14'0,"14"-1"16,0 0-16,13 0 0,-13 1 15,13-1 1,0 0-1,0 0-15,0 0 0,13-13 16,0 0-16,0 0 16,1-13-16,-1 0 31,0-13-15,0 26-16,-13-14 15,14 28 1,-1 12-1,-13-13-15,13 0 16,-13 1-16,13 12 16,0 1-1,1-27 1</inkml:trace>
  <inkml:trace contextRef="#ctx0" brushRef="#br0" timeOffset="157398.4">14473 12607 0,'0'27'47,"0"-1"-32,0-12 1,13-1-16,0-26 47,0 13-16,1-14-31,-1 28 16,13-1-1,-26 0 1,14-13 0,-14 13-1,13 0-15,0-26 47,0 0-31,0 13-1,1 13 1,12-13 0,-13 13-1,14 1 1</inkml:trace>
  <inkml:trace contextRef="#ctx0" brushRef="#br0" timeOffset="158071.03">14711 12409 0,'26'53'15,"-26"-27"-15,14 1 0,-14-1 16,0 27-16,13 13 15,-13-26-15,0-14 0,0 1 16,0-1-16,0 1 0,-13-1 0,13-12 16,0-1-16,0 0 0,0 0 15,0 0-15,0 1 0,0-1 16,0-53 15,13-13-15,-13 27-16,0 13 15,13-1-15,-13-12 0,13 13 16,0-14-16,-13 14 0,14 0 0,-1 13 16,-13-13-16,13 13 0,0-14 0,1 28 15,-1-14 1,-13 13-16,0 0 0,13-13 16,-13 13-16,0 0 0,0 1 15,-13-1-15,13 0 0,-13 0 0,-1 14 16,1-14-16,13 0 0,-13 1 15,0-14-15,13 13 0,-14-13 0,1 13 16,0-13 0</inkml:trace>
  <inkml:trace contextRef="#ctx0" brushRef="#br0" timeOffset="158365.14">15002 12369 0,'13'13'15,"-13"1"-15,0-1 0,0 0 16,0 0-16,0 1 0,0-1 0,0 0 15,0 14-15,0-14 0,0 13 0,-13-13 16,13 1-16,0 12 0,0-13 16,0 1-16,0-1 0,-13 0 0,13 0 15,0 1-15,0-1 0,0 0 16,0 0-16,13 0 16</inkml:trace>
  <inkml:trace contextRef="#ctx0" brushRef="#br0" timeOffset="158699.97">15042 12779 0,'26'-13'0,"-13"0"16,0 0-1,1-1-15,12-12 16,-13 0-16,1 12 0,-14 1 15,13 0-15,-13 0 16,-13 39 15,-1-26-15,14 13-16,0 1 0,-13-14 16,13 13-16,0 0 0,0 13 15,13-12 1,-13-1-16,14-13 0,-1 13 15,0-13-15,0 0 0,1 0 16,25 0 0,-26 0-16</inkml:trace>
  <inkml:trace contextRef="#ctx0" brushRef="#br0" timeOffset="159136.19">15438 12660 0,'27'0'15,"-14"-13"-15,27 13 16,-27 0-16,0 0 0,14 0 16,-14 0-16,0 0 0,0 0 15,1 0-15,-1 0 0,0 0 16,0 0-16,1 0 0,-1-13 16,0 13-16</inkml:trace>
  <inkml:trace contextRef="#ctx0" brushRef="#br0" timeOffset="159440.5">15610 12528 0,'27'13'47,"-14"-13"-47,-13 13 0,13-13 15,1 14-15,-14-1 0,13-13 16,-13 13-16,13 0 0,-13 1 0,13-14 16,-13 13-16,13 0 0,-13 0 0,0 1 15,14-1-15,-14 0 16,0 0-16,-14-13 0,14 13 0,0 1 0,-13-1 15,13 13-15,-13-26 0,13 14 16,-13-1-16,0 0 0,13 0 16</inkml:trace>
  <inkml:trace contextRef="#ctx0" brushRef="#br0" timeOffset="160156.26">16192 12409 0,'0'13'16,"0"0"-16,-13 1 0,13-1 16,0 0-16,0 14 0,0-1 15,0 0-15,0 1 0,-13-1 0,13 1 16,0-1-16,0 1 0,0-1 16,-13 1-16,13 12 0,0-25 15,-13-1-15,13 0 0,0 0 16,0 1-16,0-1 0</inkml:trace>
  <inkml:trace contextRef="#ctx0" brushRef="#br0" timeOffset="160846.43">16060 12343 0,'13'0'0,"1"0"16,-1-13-16,93 13 15,-53-14-15,0 14 0,13 0 0,0 0 16,13 0-16,-13-13 0,14 13 15,-14 0-15,13-13 0,67 13 16,-80-13-16,-13 13 0,13 0 0,-13-14 16,-13 1-16,13 13 0,-1-13 15,-12 13-15,-13 0 0,25-13 16,-25 13-16,-14-13 0,14 13 16,-14 0-16,0 0 15,0 0-15,1 0 0,-1 0 16,0 13-16,0 0 15,-13 0-15,13 0 16,-13 1-16,0-1 0,0 13 0,0-12 16,14 52-1,-14-40-15,0-13 0,0 14 0,0-1 16,0 1-16,13-1 0,-13 1 16,0-14-16,13 13 0,-13 14 15,13-27-15,-13 14 0,0-14 16,0 0-16,0 0 0,0 1 0,0-1 15,0 0-15,0 0 0,-13-13 16,13 14-16,-13-1 0,0 0 16,-1 0-16,1-13 0,-13 0 15,13 14-15,-14-14 0,-13 13 0,1-13 16,-14 13-16,0-13 0,-13 13 16,-14-13-16,14 0 0,-13 13 15,13-13-15,-14 0 0,-12 14 0,12-14 16,1 0-16,0 13 0,-1-13 15,1 13-15,13-13 0,13 0 0,0 13 16,0-13-16,0 14 0,27-14 0,-1 0 16,1 0-16,12 13 0,1-13 15,0 0-15,0 0 0,0 0 0,13 13 16</inkml:trace>
  <inkml:trace contextRef="#ctx0" brushRef="#br0" timeOffset="161600.85">16325 12607 0,'-13'27'15,"13"-14"-15,0 0 0,13-13 0,-13 14 16,0-1-16,13 0 0,0 0 16,0 0-16,-13 1 15,14-1-15,-1 0 16,-13 0-1,-13 1-15,13-1 0,-14-13 16,14 13-16,-13-13 0,0 0 16,0 13-16,0-13 0,-1 0 15,1 0-15,-13 0 16</inkml:trace>
  <inkml:trace contextRef="#ctx0" brushRef="#br0" timeOffset="161855.19">16444 12528 0,'13'0'16,"0"0"-16,-13 13 0,14 0 15,-14 1-15,0-1 0,13 13 16,0-12-16,-13 12 15,0-13-15,13 1 0,-13-1 16,0 13-16,13-13 0,-13 1 0,0-1 0,0 0 16,0 0-16,14-13 15,-14 14-15,0-1 0,0 0 0,0 0 16,13 1-16</inkml:trace>
  <inkml:trace contextRef="#ctx0" brushRef="#br0" timeOffset="162062.26">16497 12793 0,'13'-27'16,"0"27"-16,0 0 0,1-13 15,-1 13-15,13 0 16,-12 0-16,-1-13 0,0 13 0,14 0 15,-14 0-15,0-14 0,0 14 16,14 0-16,-14 0 0</inkml:trace>
  <inkml:trace contextRef="#ctx0" brushRef="#br0" timeOffset="162494.17">16801 12660 0,'-26'27'0,"12"-27"16,14 13-1,-13 0-15,13 0 16,0 1 0,13-14-1,14 0 1,-14-14-16,0 1 31,1 0-31,-1 0 31,0 26 1,-13 13-32,0-12 0,0-1 15,13 0-15,-13 0 16,0 1-16,13-1 16</inkml:trace>
  <inkml:trace contextRef="#ctx0" brushRef="#br0" timeOffset="162805.75">16986 12515 0,'0'39'32,"0"-25"-32,-13-1 0,13 0 15,0 0-15,0 1 0,0-1 0,0 0 16,0 14-16,0-14 0,0 0 0,0 0 16,0 0-16,0 1 0,13-14 15,-13 13-15,0 0 0,0 0 0,13 1 16,-13-1-16,14-13 15,-14 13-15,13-13 16</inkml:trace>
  <inkml:trace contextRef="#ctx0" brushRef="#br0" timeOffset="163017.01">16867 12674 0,'13'-27'15,"1"27"1,-1 0-16,40-13 16,-40 13-1,0-13-15,14 13 0</inkml:trace>
  <inkml:trace contextRef="#ctx0" brushRef="#br0" timeOffset="163461.16">17105 12740 0,'14'0'16,"-14"-14"-16,0 1 16,0 0-16,0 0 15,-14 13 1,1 0 15,13 13-31,-13 0 16,13 0-16,13 1 15,-13-1-15,13 0 16,14 0 0,-14-13-1,0 0-15</inkml:trace>
  <inkml:trace contextRef="#ctx0" brushRef="#br0" timeOffset="163925.34">17277 12713 0,'0'13'15,"0"1"1,14-1 15,-1-13 1,13 0-17,-13 0-15,1 0 16,-1 0-1</inkml:trace>
  <inkml:trace contextRef="#ctx0" brushRef="#br0" timeOffset="164740.91">14618 13084 0,'93'-14'0,"-67"14"15,1 0-15,-1 0 0,14-13 0,-14 13 16,27 0-16,13 0 16,-52 0-16,12 0 0,1-13 0,-1 13 15,-13 0-15,0 0 0,1 0 16</inkml:trace>
  <inkml:trace contextRef="#ctx0" brushRef="#br0" timeOffset="165012.57">14499 13137 0,'-53'0'15,"27"0"-15,105 0 0,-171 13 0,78-13 16,54 0 15,-14 0-31,1 0 0,13-13 16,-14 13-16,27 0 0,-13 0 15,13 0-15,-14 0 0,14-14 0,-13 14 16,-14 0-16,14 0 0,-14 0 16,27-13-16,-39 13 0,12 0 15,-13 0-15,1 0 0,-1-13 0,0 13 16,0 0 0,0 0-16,-13-13 0,14 13 15</inkml:trace>
  <inkml:trace contextRef="#ctx0" brushRef="#br0" timeOffset="166812.34">14949 13203 0,'0'13'0,"0"0"16,0 0-16,0 1 15,13-1-15,-13 0 0,0 0 16,0 1-16,13-1 0,-13 13 16,14 1-16,-14-14 15,13 0-15,-13 0 0,13 1 0,-13-1 16,13 0-16,-13 0 0,14 1 16,-14-1-16,13 0 0,0 13 15,0-12-15,-13-1 0,13 0 16,1 0-16,-14 1 0,13-1 0,13 13 15,-12-13-15,-1 1 16,0-1-16,14 0 16,12 0-16,-26 1 15,1-14-15,-1 13 0,27-13 16,-1 13-16,-25-13 0,12 13 16,0-13-16,1 0 0,13 0 15,-14 0-15,27 14 0,0-14 0,0 0 16,0 0-16,0 0 0,66 0 15,-66 0-15,0 0 0,13 0 16,-13 0-16,26-14 0,40 14 16,13 0-16,-66 0 15,1 0-15,-1-13 0,0 13 16,79 0-16,-78-13 0,12 13 16,-13 0-16,0-13 0,0 13 0,1 0 15,12-14-15,-13 14 0,0-13 16,0 0-16,0 13 0,-13-13 0,14 13 15,52-14-15,-14 1 16,-52 0-16,0 0 0,0 13 16,0-13-16,0 13 0,-13-14 15,66 1-15,-54 0 0,1 13 16,40-27-16,-40 14 0,0 0 16,0 0-16,0 0 0,0-1 15,-1 1-15,1 0 0,0 0 0,40-1 16,-53 1-16,13 0 15,-14 0-15,41-14 0,12 1 16,-12-1-16,12 1 16,1-1-1,-54 14-15,1 0 0,0 0 16,52-14-16,-65 14 0,52 0 16,1-14-16,-54 14 15,14 0-15,26-14 0,-26 14 16,26-13-16,0-14 15,-40 27-15,1 0 0,-1-14 16,14 1-16,-14 12 16,1-12-16,13-27 15,-14 27-15,-13 12 16,1 1-16,-1 0 0,0 0 16,-13-1-16,26-12 0,-12 13 15,12-27-15,-26 27 16,13 0-16,1-14 0,-1 14 15,0 0-15,-13-1 0,13 1 0,0 0 16,1 0-16,-14 0 0,13-1 0,0 1 0,0 0 16,1-14-1,-1 14-15,0 0 16,0 0-16,-13-1 0,14 1 16,-14 0-1,13 13-15,-13-13 0,13 13 0,-13-13 16,13-1-1,0 1-15,1 0 16,-1 0 0,0-1-1,0 1 17,-39 26 46</inkml:trace>
  <inkml:trace contextRef="#ctx0" brushRef="#br0" timeOffset="167319.01">20783 12277 0,'0'13'16,"13"-13"-1,0 0 1,1 0-16,12 0 16,-13-13-16,1 13 0,-1 0 0,27-14 15,-14 14-15,-13 0 16,0-13-16,1 13 0,-1 0 15,0 0-15,14-13 16,-14 13-16,-13 13 16,13-13-1,0 13-15,-13 1 0,14-1 16,-14 0-16,0 0 0,0 1 16,0 25-16,0-26 0,0 1 15,0 12-15,0-13 16,0 1-16,0-1 0,0 0 15,0 0-15,0 1 0,0-1 16,0 0-16,-14 0 16</inkml:trace>
  <inkml:trace contextRef="#ctx0" brushRef="#br0" timeOffset="168107.39">17555 13216 0,'0'-13'15,"40"52"1,-40-25-16,13-1 15,-13 0-15,0 0 0,13 14 16,-13-14-16,0 0 0,0 0 0,13 27 16,-26-27-16,13 1 15,0-1-15,0 0 16,0-39 15,0 12-31,13 1 16,-13 0-16,0-14 0,14-12 15,-1 26-15,-13-1 16,13-12-16,14-14 16,-14 27-16,0 13 15,-13-13 1,13 13-16,1 0 0</inkml:trace>
  <inkml:trace contextRef="#ctx0" brushRef="#br0" timeOffset="168420.65">17846 13322 0,'0'-13'0,"13"-1"0,-13 1 15,0 0 1,0 0-1,0-1-15,0 41 32,0-14-17,0 14 1,0-14-16,0 0 16,14-13-16,-14 13 0,13-13 15,0 13-15,0-13 16,1-13-1,12 0-15</inkml:trace>
  <inkml:trace contextRef="#ctx0" brushRef="#br0" timeOffset="168852.38">18058 13110 0,'0'-13'16,"0"0"-16,0 52 15,0-52-15,0 0 16,-13 26-1,13 0-15,0 1 0,0 12 16,0-13-16,-14 14 0,14-1 0,0 1 16,0-1-16,-13 1 0,13 25 15,0-25-15,-13-1 0,13 1 0,0-14 16,0 14-16,-13-14 0,13 13 16,0-13-16,0 1 15,-14-1-15,28-40 31,-14 14-15,0 0-16,13-13 0,-13-1 0,13 14 16,14-80-1,-1 67 1,-13 13-16,1-1 0,-1 1 16,0 13-1,0 0-15,0 0 0,-13 13 16,0 1-16,0-1 15,0 0-15,-13-13 16,13 13-16,-13 0 0,0 1 16,0-14-1,13 13-15</inkml:trace>
  <inkml:trace contextRef="#ctx0" brushRef="#br0" timeOffset="169160.34">18150 13176 0,'27'27'32,"-27"-14"-32,13 0 15,-13 14-15,0-1 16,0-13-16,0 1 15,0-1-15,0 0 16,27-26 15,-27 0-31,26-54 16,-13 41 0,14-1-16,-1 1 15,40 0 1,-52 26-16,12 0 15,-13 0-15</inkml:trace>
  <inkml:trace contextRef="#ctx0" brushRef="#br0" timeOffset="169757.31">18375 13309 0,'14'0'16,"25"-27"0,-39 14-1,13 13-15,1-27 0,-14 14 0,13 0 16,-13 0 0,0-1-16,0 1 15,-13 40 16,-1-1-15,14-13-16,0 1 16,0-1-16,14 0 15,-14 0-15,13 1 0,0-14 16,0 13-16,1-13 16,-1 0-16,0 0 0,0 0 15,14 0-15</inkml:trace>
  <inkml:trace contextRef="#ctx0" brushRef="#br0" timeOffset="170029.26">18680 13203 0,'-14'0'16,"1"0"-1,13 13 1,0 0-1,0 0-15,13 14 16,-13-14-16,14 0 0,-14 1 16,-14-1-1,14 0-15,0 0 16,-13-13-16,13 13 16,-13-13-16,0 0 0</inkml:trace>
  <inkml:trace contextRef="#ctx0" brushRef="#br0" timeOffset="170731.39">18799 13203 0,'13'-14'15,"-26"28"-15,26-41 0,-13 14 16,0 0-1,0 0-15,0-1 16,-13 41 31,13-14-31,0 0-16,13-13 15,-13 13-15,13 1 16,0-1 15,1-13-15,-1 0-1,0 13-15,0-13 32,0 0-32,14 0 15,-14-13 1,0 13-16,14-13 15,-14-1-15,0 1 16,-13 0-16,14 0 16,-1 0-16,-13-1 15,13-25-15,0 25 0,-13 1 16,0 0-16,13 0 16,-13 0-1,14 26 1,-14 0-1,13 13 1,-13 1-16,13-14 0,-13 0 16,0 14-1,0-14-15,0 0 16,-13 0-16</inkml:trace>
  <inkml:trace contextRef="#ctx0" brushRef="#br0" timeOffset="170904.29">18904 13150 0,'27'-27'0,"-14"27"15,40-26 1,-40 26-16,14-13 0,-14-1 0,13 14 16,1-13-16,-14 13 0,14-13 15,-1 0-15,-13 13 0,27-27 16,0 14-16</inkml:trace>
  <inkml:trace contextRef="#ctx0" brushRef="#br0" timeOffset="173080.87">21683 9353 0,'185'0'16,"-132"0"-16,0 0 0,0 0 15,-1 0-15,1 0 0,14-13 0,-1 13 16,13 0-16,-26-13 0,0 13 16,0 0-16,0 0 0,0-14 0,-14 14 15,1 0-15,13-13 0,-40 13 16,27 0-16,-27 0 0,0 0 16,-13-13-16,14 13 0,-1 0 15,0 0-15,0 0 16</inkml:trace>
  <inkml:trace contextRef="#ctx0" brushRef="#br0" timeOffset="183253.7">11192 1733 0,'238'-26'15,"-159"12"-15,-12 1 0,12 13 16,66-13-16,-65 0 16,12 13-16,-12-14 0,-14 14 0,13 0 0,1-13 15,-27 13-15,66 0 16,-27 0-16,-52 0 15,-14-13-15,1 13 0,-1 0 0,-12 0 16,-1 0-16,0 0 0,0 0 16,0 0-16,1 0 0,-1 0 15,0 0-15</inkml:trace>
  <inkml:trace contextRef="#ctx0" brushRef="#br0" timeOffset="185436">16338 2037 0,'40'0'62,"-27"0"-62,0 0 0,27 0 16,-14 0-16,27-13 0,0 13 15,0 0-15,13-13 0,14 13 0,12 0 0,-12-13 16,12 13-16,1 0 16,13 0-16,-14 0 0,14 0 0,106 0 15,-106 0-15,-1 0 0,14 0 16,-13 0-16,0 0 0,0 0 15,0 0-15,-14 0 0,14 0 0,-13 0 16,79 13-16,-93-13 16,-26 0-16,13 0 0,-26 0 0,13 0 15,-27 0-15,1 0 0,-1 0 0,-13 0 16,14 0-16,-14 0 16,0 13-16,1-13 0,-1-13 15,0 13 1</inkml:trace>
  <inkml:trace contextRef="#ctx0" brushRef="#br0" timeOffset="189810.08">4273 12449 0,'0'132'15,"0"-92"-15,0-1 0,13 1 0,-13 13 16,0-13-16,0-1 0,0-12 0,0-1 16,0 1-16,0-1 0,13 1 15,-13-1-15,0-13 0,0 1 0,0 12 16,0-13-16,0 0 0,0 1 15</inkml:trace>
  <inkml:trace contextRef="#ctx0" brushRef="#br0" timeOffset="190209.48">4075 12502 0,'0'-27'0,"0"14"0,0 53 0,0-93 0,13 39 15,13-25 1,1 39-16,-14-14 0,13 1 16,1 0-16,-1 13 0,1 0 0,-1 0 15,1 0-15,26 26 16,-27-12-16,1-1 0,-14 0 0,0 0 16,0 1-16,0 12 0,-13-13 15,0 1-15,-13 38 0,0-38 16,-13 52-16,12-53 0,-12 27 15,13-27-15,-1 0 16,1 14-16,0-27 16</inkml:trace>
  <inkml:trace contextRef="#ctx0" brushRef="#br0" timeOffset="190738.23">4577 12660 0,'-26'14'0,"-1"12"16,14 53-1,13-65 1,0 12-16,0-13 0,13 14 0,-13-1 16,14-13-16,-1 14 15,-13-14-15,13 0 0,0-13 0,1 14 0,-1-1 16,0-13-16,0 0 0,0 13 16,1-13-16,-1-13 15,0 13-15,-13-13 0,13-1 16,-13 1-16,-13-13 0,0-1 15,13 1 1,-13 13-16,-1-14 0,1 14 0,0-14 0,0 14 16,0 0-16,-1 0 0,-12-1 15,13 14-15,-14 0 16</inkml:trace>
  <inkml:trace contextRef="#ctx0" brushRef="#br0" timeOffset="191234.35">4630 12528 0,'40'66'15,"-27"-26"-15,0 0 0,14 65 16,-14-65-16,-13 0 16,13-1-16,0 1 0,1 0 15,-14 0-15,13-1 0,-13-12 0,13-1 16,-13 1-16,13 12 0,-13-12 16,14-14-16,-14 0 0,0 0 15,0 1-15,0-1 0,0 0 16,-14-53 15,14-26-15,-13 13-16,13 14 0,0-14 0,0 13 15,-13-13-15,13 13 0,0-12 0,13 12 16,-13 13-16,0-12 0,13 12 16,1 14-16,-14 0 0,13 0 0,0-1 15,0 14-15,1-13 16,-1 26-16,0 1 0,-13-1 15,13 0-15,-13 13 0,0-12 16,-13 12-16,13-13 0,0 14 16,-13-14-16,13 14 0,-13-14 0,-1 0 15,14 0-15,0 0 0,0 1 0,-13-14 16,13 13-16</inkml:trace>
  <inkml:trace contextRef="#ctx0" brushRef="#br0" timeOffset="192536.44">5080 12687 0,'0'-13'0,"-13"39"47,26-13-47,-26 0 0,26 1 15,-13 25 1,0-25-16,13-14 0,-13 13 16,27 0-1,-14 0 1,0-26-16,14 0 15,-27 0-15,13 13 16,-13-14-16,13 1 16,0 13-1,1 0 1,-1 27 0,0-14-16,0 0 15,0-13 1,1 0-16,12 0 15,1-26 1,-14 12-16,-13 1 16,13-13-16,-13 12 0,0-12 15,0 13-15,0-14 0,0 1 16,0-1-16,0-12 0,0-1 16,0 14-16,-13-1 0,13 1 0,0 12 0,0 1 15,0-13-15,0 12 16,0 54 15,13 26-15,-13-39-16,0-1 0,13 1 0,-13 12 15,0-12-15,14-1 0,-14 1 16,13-14-16,-13 13 0,13-12 0,-13-1 16,13 0-16,0 0 0,-13 1 0,14-1 15,-1-13-15,0 0 0,0 0 16,14 0-16,-14 0 15</inkml:trace>
  <inkml:trace contextRef="#ctx0" brushRef="#br0" timeOffset="193096.31">5715 12621 0,'-13'0'16,"26"0"-16,-39-14 15,12 14-15,1 0 16,0 14 0,0-1-16,-1 0 15,1 14-15,13-14 0,-13 0 16,13 0-16,0 0 16,0 1-16,0-1 15,13 0-15,0 0 16,1-13 15,12-13-15,-13 13-1,1 0-15,-1 0 16,0 0-16,0-13 16,14-14-1,-1 1 1,-13-14-1,-13 27-15,14 0 0,-14-14 16,0 14-16,0 0 0,0-14 0,0 1 16,0 0-16,0-1 0,13 14 0,-13-14 15,0 14-15,0 0 0,0 0 16,0-1-16,13 28 31,-13-1-31,0 27 0,13-14 16,-13-13-16,0 14 0,14-1 15,-14-13-15,0 14 0,13-14 0,-13 0 16,0 14-16,13-14 0,-26 0 0,26-13 16,-13 14-16,13-1 0</inkml:trace>
  <inkml:trace contextRef="#ctx0" brushRef="#br0" timeOffset="193440.6">5728 12568 0,'0'-14'15,"13"14"1,27-26 0,-13 26-16,-14-13 15,0 13-15,14 0 0,-14-13 0,0 13 0,0-14 16,14 14-16,-14-13 15,0 13-15,0-13 0,14 0 16,-14-1-16,0 14 0,0-13 16,1 13-1,-1 0 1,0 13 0,-13 1-16,0 12 0,13-13 15,-13 1-15,0-1 0,14 0 16,-14 0-16,0 0 0,13 1 15,-13-1-15,13 0 16,-13 0-16,13 1 16</inkml:trace>
  <inkml:trace contextRef="#ctx0" brushRef="#br0" timeOffset="193589.18">6046 12356 0,'-14'-13'0</inkml:trace>
  <inkml:trace contextRef="#ctx0" brushRef="#br0" timeOffset="194207.61">6271 12316 0,'-14'40'0,"1"0"15,13-27 1,0 13-16,0-12 0,13 25 15,1-25-15,-1-1 16,0-13-16,0 0 16,14 0-1,-14 0-15,-13-13 0,13 13 0,0-27 32,1 14-32,-28 0 0,14-1 15,0 1-15,0 0 0,-13-14 16,0 14-1,13 0-15,-13 13 16,0-13 0,39 26 31,-13 0-47,14 14 15,-14-27-15,0 26 16,-13-13-1,13-13-15,-13 27 0,14-14 16,-14 0 0,13-13-1,0 0-15,0 0 16,1 0 0,-14-13-16,13 13 0,13-13 15,-13 13 1,14 0-1,-14-13-15,0 13 0,1 0 16,12 0 0,-13 0-1</inkml:trace>
  <inkml:trace contextRef="#ctx0" brushRef="#br0" timeOffset="195030.47">5649 13494 0,'-80'26'0,"41"-13"15,12 1 1,1-1-16,26 0 0,-13-13 16,13 13-16,-14 1 0,28-1 15,12 0 1,-13-13 0,27 13-16,-27-13 0,14 13 15,-14-13-15,40 14 0,-40-1 16,14-13-16,-14 0 0,0 13 15,13 0-15,-12 1 16,-14-1-16,0 13 16,0-12-16,-14-1 0,1 0 0,0 0 15,-40 27-15,27-14 16,-1-12-16,-26 12 0,40-26 16,0 13-16,0-13 0,-14 0 0,14 0 15,0-13 1</inkml:trace>
  <inkml:trace contextRef="#ctx0" brushRef="#br0" timeOffset="195984.27">5993 13454 0,'-13'0'16,"26"0"-16,-40 0 0,27 13 16,-13-13-16,0 14 0,13-1 0,-13 0 15,13 0-15,-14 0 0,14 14 16,0-14-16,0 0 0,0 14 16,0-14-16,0 0 0,0 0 0,14 14 15,-1-14-15,0 0 16,0 1-16,1-14 0,-1 0 15,13-14 1,-13 14-16,-13-13 16,0 0-16,14 0 0,-14-1 0,0 1 15,13 0-15,-13 0 0,0 0 16,0-1-16,0 1 0,0 0 0,0 0 16,0-1-16,0 1 15,0 40 16,0-14-15,13-13-16,-13 13 0,0 0 16,13 1-16,1-1 15,-1-13 1,13 0 0,-12-13-1,-1-1-15,0 14 31,0-13-31,0 13 16,1 0 0,-1 13-16,0-13 0,-13 14 15,13-1 1,1-13-16,-1 0 47,0-13-47,0-1 15,1 14 1,-1 0 0,0 0-1,0 14-15,0-14 16,1 0-16,-1 0 31,13-14-15,-12 14-1,-14-13 1,13 13-16,13-13 16,-12 0-1,-1 13-15,0-14 0,0 1 16,-13 0-16,13 0 0</inkml:trace>
  <inkml:trace contextRef="#ctx0" brushRef="#br0" timeOffset="196455.8">6575 13256 0,'-13'-53'0,"13"39"0,0 1 16,-14 13-16,14-13 0,27 106 16,-54-160 15,27 94-31,14 13 16,-14-1-16,13 1 0,0 39 15,14 1 1,-27-41-16,13-12 0,0 79 15,0-53 1,-13-14-16,14 1 16,-14-27-16,0 0 15,0 1-15,0-41 32,0 14-32,0-13 15,0 12-15,0-25 0,0-1 0,0 0 16,13-26-16,-13 40 15,13 12-15,-13-12 0,13 13 0,-13-14 16,13 14-16,1 13 0,-14-13 16,13 13-16,-13-13 0,13 13 0,0 13 15,1-13-15,-1 13 16,-13 0-16,13 14 0,-13-14 16,0 0-16,0 0 0,0 27 15,0-13-15,-13-14 0,13 13 16,-13-13-16,13 1 0,-14-1 15,1 13-15,0-12 0,13-1 16,-13-13 0,-1-13-16,14-1 15</inkml:trace>
  <inkml:trace contextRef="#ctx0" brushRef="#br0" timeOffset="196700.19">6892 13004 0,'27'27'16,"-27"-1"-16,0-13 0,0 1 15,13 12-15,-13 1 0,0-1 0,13-13 16,-13 14-16,0-1 0,0 1 0,14 12 15,-14-25-15,0-1 16,0 13-16,0-13 0,13 1 16,-13-1-16,13 0 0</inkml:trace>
  <inkml:trace contextRef="#ctx0" brushRef="#br0" timeOffset="197008.99">7183 13375 0,'27'-53'15,"-27"40"-15,13-1 0,-53 94 16,80-173-16,-40 80 0,0 0 16,0-1-16,-13 14 0,-14 0 31,1 40-16,13 0-15,0 13 16,13-40-16,0 0 16,0 0-16,0 1 15,13-1-15,-13 0 0,13-13 0,0 13 0,0-13 16,1 14-16,-1-14 0,0-14 16,0 14-16,14-13 0,-1 13 15,27-40-15,-26 14 0</inkml:trace>
  <inkml:trace contextRef="#ctx0" brushRef="#br0" timeOffset="197583.27">6496 12039 0,'26'-14'0,"-13"14"0,14 0 16,-1 0-16,1 0 0,26-13 15,-14 13-15,14-13 0,-13 13 0,13 0 16,0 0-16,0-13 0,-14 13 15,1 0-15,13 13 0,-13-13 16,12 13-16,-38 0 0,12 1 16,1-1-16,-14 13 0,13 1 15,-13-1-15,14 14 0,-14 0 16,0-14-16,14 14 0,-14 13 0,14-14 16,-14 14-16,13 0 0,14 53 15,-27-53-15,14 0 0,-14 0 0,0 0 16,0 0-16,1-1 0,12 1 15,0 53-15,1-66 0,-1 13 16,1-14-16,-14 14 0,14-13 16,-14-13-16,13 12 0,-13 1 0,1-14 15,-1 1-15,0-1 0,-13 1 0,13-14 16,-13 13-16,0-12 0,0 12 16,-13-13-16,0 14 0,0-14 0,-14 13 15,1 1-15,-1-1 0,1 1 0,-27-1 16,0-12-16,-13 12 0,0-13 15,-80 14-15,67-14 0,-1 0 16,1-13-16,-14 0 0,1 0 0,-1-13 16,14 13-16,-27-13 0,0-14 15</inkml:trace>
  <inkml:trace contextRef="#ctx0" brushRef="#br0" timeOffset="198217.33">4299 11906 0,'-105'-13'16,"25"26"-16,41 0 0,-1 1 16,0-1-16,1 0 0,12 0 15,-13 1-15,14-14 0,-1 13 0,14 0 16,0 14-16,-13-14 0,12 13 0,1 1 15,0-14-15,13 27 16,0-14-16,0 1 0,0 12 0,13 1 0,0 0 16,1-1-16,12 1 0,0 0 15,41 52-15,-28-39 16,-12-13-16,12 13 0,-12-14 0,13 14 16,-14 0-16,1 0 0,-1-13 0,0 13 15,1 0-15,-1 0 0,1 0 16,-14-1-16,13 15 0,-12-14 0,12 13 15,-13 0-15,1 13 0,-1-13 0,0 14 16,-13-1-16,13-13 0,1 80 16,-1-67-16,0-13 0,-13-13 15,26 13-15,-12-13 0</inkml:trace>
  <inkml:trace contextRef="#ctx0" brushRef="#br0" timeOffset="198328.11">4485 14274 0,'2196'-39'0,"-1998"12"0,-13 14 16,1-14-16,-14 1 15</inkml:trace>
  <inkml:trace contextRef="#ctx0" brushRef="#br0" timeOffset="203965">7422 13256 0,'26'-14'16,"0"1"-1,1 0-15,13 0 16,-14-1-16,14 1 0,-14 13 16,14-13-16,0 0 0,-1 0 0,-12-1 15,39-12-15,-13 13 16,-27-1-16,27 1 15,-40 0-15,1 13 0,-1 0 16,0-13-16,0 13 16</inkml:trace>
  <inkml:trace contextRef="#ctx0" brushRef="#br0" timeOffset="204287.35">7805 12925 0,'0'-13'15,"13"13"-15,1-14 0,-1 14 16,0 0-16,0 0 0,1 0 15,12 14-15,-13-14 0,1 0 0,12 0 16,0 13-16,-12-13 0,-1 0 0,13 13 16,14 14-1,-27-14-15,0-13 0,1 13 0,-14 0 16,13 1-16,-13 12 0,0 27 16,-13-13-1,-14-14-15,14 0 0,0 1 0,-14-1 16,14 1-16,-27 13 15</inkml:trace>
</inkml:ink>
</file>

<file path=ppt/ink/ink14.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31:04.030"/>
    </inkml:context>
    <inkml:brush xml:id="br0">
      <inkml:brushProperty name="width" value="0.05292" units="cm"/>
      <inkml:brushProperty name="height" value="0.05292" units="cm"/>
      <inkml:brushProperty name="color" value="#0070C0"/>
    </inkml:brush>
  </inkml:definitions>
  <inkml:trace contextRef="#ctx0" brushRef="#br0">9406 476 0,'13'-39'15,"-13"25"-15,-26 41 47,12-1-47,-12-13 0,13 14 16,-14 13-16,-26 13 0,40-27 15,-13 14-15,-1-14 0,-26 54 16,14-28 0,12-12-1,14-27-15,13 1 0,-13-14 0,0 26 16,-1-13-1,1-13 1</inkml:trace>
  <inkml:trace contextRef="#ctx0" brushRef="#br0" timeOffset="328">8877 463 0,'13'0'16,"0"0"-1,0 13-15,1 0 0,12 1 0,14 12 0,-14-13 16,93 67-1,-79-54-15,-13 1 0,39 12 16,-40-12-16,1-14 0,-1 0 0,-13 1 16,0-1-16,1 0 15,-1 0-15,27 27 16,-27-40-16,-13 13 16,13-13-16,0 0 15</inkml:trace>
  <inkml:trace contextRef="#ctx0" brushRef="#br0" timeOffset="2756.41">10014 900 0,'14'0'0,"-28"-14"31,-12-39-31,13 40 16,13-26-16,-13-1 0,-1 13 15,1-26-15,0 14 0,-14-54 16,27 53-16,-13 1 0,0-1 0,13 0 16,-13-26-1,13 40-15,-14 13 0,14-1 16,0 1-16,27 40 16,-1 26-1,1-14 1,-1 14-16,1-13 15,-1-14-15,-13 1 0,14-1 0,-14 1 16,0-1-16,1-13 0,-1 1 0,0-1 16,0 0-16,1 0 0,-14 0 15,13 1-15,0-1 0,-26 0 32,-27-13-17,14 0-15,-1 0 16,1 0-16,-1 0 0,1 0 0,-40 13 15,26-13 1,13 0-16,1 0 0,13 0 0,-40 0 16,13-13-1,67-40 17,12 14-17,-12-1-15,12 13 0,1-12 0,66-67 16,-80 79-16,1 14 0,-1-13 15,-12 13-15,12-1 0,-13 1 16,-13 0-16,14 13 0,-1-13 16,-13 26-16,0 27 15,-13-27 1,-1 26-16,1 1 0,-13 13 0,12-13 16,1-1-16,-27 41 15,27-41-15,0-12 0,0 13 0,-14-14 16,14 14-16,13-27 0,-13 13 0,13-12 15,-13 12-15,13 1 16,0-14-16</inkml:trace>
  <inkml:trace contextRef="#ctx0" brushRef="#br0" timeOffset="16027.77">2871 4352 0,'-13'0'15,"-1"0"32,41 14 78,-1-14-109,27 0 0,-40 0-16,14 0 0,-14 0 15,66 0 1,-39 0-16,-13 0 0,12 0 15,-12 0-15,12 0 0,28 0 16,-28 13-16,-12-13 0,39 0 16,-27 0-16,-12 0 0,-1 0 15,14 13-15,-13-13 0,52 0 16,-53 0-16,1 0 0,-14 0 16,66 13-1,-65-13-15,12 0 0,1 0 0,39 14 16,-40-14-1,40 0 1,-52 0-16,52 0 0,-40 0 16,-13 0-16,14 0 15,-14 0-15,14 13 0,-14-13 0,13 0 16,-13 0-16,14 0 0,26 0 16,-40 0-16,14 0 15,25 0 1,-38 0-16,25 0 0,-25 0 15,-1 0-15,0 0 16,14 0-16,-1 0 16,-13 0-1,0 0 1,1 0-16,-1 0 16,0-13-16,0 13 0,1 0 15,-1 0 1,0 0-16,0 0 0,0 0 15,1 0-15,-1 0 16,0 0 0,0 0-1,1 0 1,-1 0 0,0 0 15</inkml:trace>
  <inkml:trace contextRef="#ctx0" brushRef="#br0" timeOffset="18569.72">10478 4114 0,'211'-13'0,"-171"13"0,13 0 0,145 0 15,-118 0-15,-1 0 16,-13 0-16,13 0 0,1 0 0,-1 13 16,-13-13-16,159 14 15,-92-1 1,-81-13-16,1 13 0,0-13 0,93 13 15,-106-13 1,-14 0-16,0 13 0,-12-13 0,-1 0 16,0 0-16,0 0 0,14 0 15,-1 0 1</inkml:trace>
  <inkml:trace contextRef="#ctx0" brushRef="#br0" timeOffset="18945.52">12171 4022 0,'40'0'16,"-14"13"-1,-13 0-15,0-13 16,1 13-16,52 14 15,-53-14-15,0 0 0,0 1 0,14 25 16,-14-26 0,-13 1-16,0-1 0,0 0 15,-26 14-15,12-14 16,-12 0-16,0 0 0,-1 0 0,-13 14 16,-26-1-16</inkml:trace>
  <inkml:trace contextRef="#ctx0" brushRef="#br0" timeOffset="21752.35">13600 3889 0,'0'-13'0,"-14"40"31,14-14-31,-13 27 16,0-14-16,13 0 0,-13 1 0,13-14 16,-14 40-1,1-40-15,13 14 0,-13-14 0,13 0 16,-13 0-16,13 1 0,0-1 0,0 0 15,0 0 1</inkml:trace>
  <inkml:trace contextRef="#ctx0" brushRef="#br0" timeOffset="22132.97">13520 3916 0,'0'0'0,"0"-27"0,13 14 15,-13 0-15,14 13 0,-14-13 16,13 13-16,13-14 15,-12 14-15,-1 0 16,26 14 0,-12-1-1,-14 0-15,0 14 16,-13-14-16,0 0 0,-13 14 16,13-14-16,-26 13 15,12-13-15,-12 14 16,13-14-1,0 0 1,-1-13-16</inkml:trace>
  <inkml:trace contextRef="#ctx0" brushRef="#br0" timeOffset="22910.5">13864 3982 0,'-40'0'0,"27"0"0,0 13 0,0 0 16,0 1 0,-1 12-1,1-13-15,13 1 0,0-1 0,-13 0 16,26 0-1,-13 1-15,27-28 47,-14 1-47,0 0 16,0 0-16,0-1 16,-13 1-1,14 13-15,-14-13 16,13 13-16,-13-13 15,0 39 17,0-13-17,0 1 1,0-1-16,0 0 31,13-13-15,0 0 15,1-13-15,-1 13-16,0 0 0,14 0 31,-14 13-15,0-13-1,0 0 1,-13 13-16,13-13 15,1 0 1,-1 0 0,0 0-1</inkml:trace>
  <inkml:trace contextRef="#ctx0" brushRef="#br0" timeOffset="23625.55">14433 3889 0,'40'-13'0,"-1"13"16,-25 0-16,12-13 15,-13 13-15,1 0 0,-1 0 16,13-13-1,-13 13-15,-13-14 16,14 14 0,-28 14-1,1 12 1,0-13-16,13 1 0,-13-1 16,0 13-16,-1-12 0,-25 38 15,25-38-15,1-1 16,0 0-16,13 0 0,-40 14 15,27-27-15,13 13 32,-13-13-32,0 0 15,39 0 17,14 0-17,-27 0 1,0 0-16,14 0 0,-14 0 15,0 0-15,0 0 16,1 0-16</inkml:trace>
  <inkml:trace contextRef="#ctx0" brushRef="#br0" timeOffset="23988.75">14843 3956 0,'-26'13'15,"-1"13"1,27-13 0,0 1-16,-13-1 0,13 0 0,-13 0 15,0 1 1,39-14 31,-13-14-47,0 14 15,1 0 1,-1 0-16,0 0 16,-13 14-16,13-14 15,-13 13-15,0 0 16,14 0-1</inkml:trace>
  <inkml:trace contextRef="#ctx0" brushRef="#br0" timeOffset="24504.38">15346 3850 0,'0'0'0,"-13"26"32,13-13-32,-14 1 0,14-1 0,-26 27 15,26-27-15,-13 13 16,-1-13-16,1 27 16,13-27-1,-13-13-15,13 14 0,0-1 0,-13-13 16,0 0 15,-14-13-15,14 13-16,-14 0 15,1 13 1,13 0-16,-1-13 0,1 13 0,0-13 16,-13 27-1,12-14-15,41 0 31,-14-13-31,27 0 16,-14-13-16,40 0 16,-52 13-16,12 0 0,-13-13 15,0 13-15,27-14 16,-27 14-16,14 0 16,-14 14-1,-13-1 1,0 0-1,0 0 1</inkml:trace>
  <inkml:trace contextRef="#ctx0" brushRef="#br0" timeOffset="24637.63">15505 3995 0,'0'-13'16</inkml:trace>
  <inkml:trace contextRef="#ctx0" brushRef="#br0" timeOffset="25009.56">15690 4008 0,'0'0'0,"-13"0"0,-1 14 0,1-14 16,0 13-16,0-13 15,13 13-15,-14-13 0,14 13 0,-13-13 16,13 14-16,-13-1 0,26 0 31,0-13-15,1 0-16,-1 13 0,0-13 16,0 0-16,1 0 15,-1 0-15,-13 14 16,26-14-1,-13 0-15,-13 13 0,14-13 0,-1 0 16,0 0-16</inkml:trace>
  <inkml:trace contextRef="#ctx0" brushRef="#br0" timeOffset="25317.12">16259 4048 0,'13'-13'0,"13"13"16,-12 0-16,-1 0 16,0 0-16,40-13 15,-27 13-15,-12 0 0,-1 0 0,13 0 16,-12 0-16,-1 0 0,0 0 16,0-14-16</inkml:trace>
  <inkml:trace contextRef="#ctx0" brushRef="#br0" timeOffset="25576.54">16497 3770 0,'13'0'16,"13"0"-1,-12 14-15,12-1 0,-13 0 0,1 0 16,12 0-16,-13 14 0,-13-14 0,14 14 15,-1-14-15,0 13 16,-13 1-16,13-14 0,-13 13 0,0-12 0,0-1 16,-26 40-1,13-27-15,-40 27 16,26-40-16,14 1 0,-14-14 16,14 13-16,-26 0 15</inkml:trace>
  <inkml:trace contextRef="#ctx0" brushRef="#br0" timeOffset="29109.34">17462 3770 0,'0'27'31,"-13"12"-31,13-25 16,0 12-16,-13-13 0,13 14 16,-13 39-16,13-53 15,-13 40 1,13-40-16,0 1 0,0-1 15</inkml:trace>
  <inkml:trace contextRef="#ctx0" brushRef="#br0" timeOffset="29645.65">17515 3770 0,'146'-13'0,"-120"0"0,1 13 0,39 0 16,-53 0-1,0 0-15,1 0 0,-1 0 0,27 0 16,-27 0-1,13 0 1,-12 13 0,-1 14-16,0-27 15,-13 13-15,13 0 0,-13 0 0,13 0 16,-13 1-16,14 25 16,-1-25-16,13 25 15,-26-25-15,14-1 0,-14 0 0,0 0 16,0 0-16,13-13 0,-13 27 15,-13-14 1,-1 0-16,14 1 16,-13-14-16,0 0 0,0 13 0,-1-13 15,1 0-15,-13 13 0,-40-13 16,39 0 0,1 0-16,-1 0 0,14 13 0,-13-13 0,-27 0 15,26 0 1,1 0-16,-1 0 0,14 0 0,-27 0 15,27 0 1,0 0-16,0 0 16</inkml:trace>
  <inkml:trace contextRef="#ctx0" brushRef="#br0" timeOffset="31393.54">16126 4339 0,'93'27'0,"-67"-27"0,14 13 0,66 13 16,-40-12-1,0-1-15,-13 13 0,13-13 0,0 1 0,146 39 16,-133-27 0,-12-13-16,-1 1 0,-13-1 15,0 0-15,-14 0 0,14 0 0,-26-13 0,26 14 16,-27-1-16,-13-13 15,14 0 1,-14 0-16,0 0 0</inkml:trace>
  <inkml:trace contextRef="#ctx0" brushRef="#br0" timeOffset="31721.39">17515 4511 0,'27'13'0,"-1"1"15,14 12 1,-27-26-16,0 13 0,14 1 0,-14-1 0,0 0 16,1 0-16,12 14 15,-26-1 1,0-13-16,-26 1 16,-1-1-16,14 0 15,-14-13-15,1 13 0,-40 0 16</inkml:trace>
  <inkml:trace contextRef="#ctx0" brushRef="#br0" timeOffset="32768.3">18534 4339 0,'-66'0'0,"53"0"16,-1 13-1,28 1 1,-14-1-16,13 0 15,13 0 1,-12-13-16,-1 14 0,-13-1 0,13-13 0,14 26 16,-27-13-16,13-13 15,-13 14 1,0-1-16,-13 0 0,-1-13 16,1 13-1,0-13-15,0 14 0,-14-14 16,14 0-16,0 13 15,-1-13-15,1 0 16,0 0-16,0 0 16</inkml:trace>
  <inkml:trace contextRef="#ctx0" brushRef="#br0" timeOffset="33232.26">18785 4392 0,'-26'0'31,"26"13"-31,-13 1 16,-1 12-16,14-13 16,-13 0-16,13 14 15,0-14 1,13 0-16,1 1 15,12-14 1,-13 0 0,1-27-1,-14 14-15,13-14 16,-26 14 0,13-13-1,-14 26-15,1-13 16</inkml:trace>
  <inkml:trace contextRef="#ctx0" brushRef="#br0" timeOffset="33636.49">18931 4379 0,'-13'13'16,"13"0"-16,0 1 15,0-1 1,0 0-16,13-13 15,0 13 1,0-13-16,1 0 16,12-13-1,-13 13-15,1 0 16,-1 0-16,0 13 31,-13 0-15,0 1-1,0-1 1,0 0-16</inkml:trace>
  <inkml:trace contextRef="#ctx0" brushRef="#br0" timeOffset="33940.4">19354 4286 0,'0'-13'0,"0"26"0,-13-13 31,0 40-15,0-40-16,13 13 0,-14 0 0,14 1 16,-13-1-16,0 0 15,13 0-15,-13 14 16,13-14-16,-14 0 16</inkml:trace>
  <inkml:trace contextRef="#ctx0" brushRef="#br0" timeOffset="34317.75">19513 4233 0,'-13'14'31,"0"12"-15,13-13-1,-14 0-15,14 14 16,-13-14-16,13 0 0,-13 1 15,13-1 1,0 0 0,0 0-16,0 1 15,13-1 1</inkml:trace>
  <inkml:trace contextRef="#ctx0" brushRef="#br0" timeOffset="34498.81">19209 4379 0,'13'-13'31,"0"13"-31,0 0 0,1 0 0,-1 0 16,40 0-1,-40 0-15,27 0 16</inkml:trace>
  <inkml:trace contextRef="#ctx0" brushRef="#br0" timeOffset="34720.58">20016 4286 0,'-27'13'15,"27"1"-15,0-1 16,-13 13-16,0-12 16,13 12-1,0-13-15,-13-13 0,13 14 16</inkml:trace>
  <inkml:trace contextRef="#ctx0" brushRef="#br0" timeOffset="34873.08">19989 4233 0,'0'-13'0</inkml:trace>
  <inkml:trace contextRef="#ctx0" brushRef="#br0" timeOffset="35240.62">20135 4273 0,'0'26'0,"0"-12"16,0-1 0,-13 13-1,13-12 1,13-14-1,0-14 1,0 14 0,0 0-1,1-13-15,12 13 16,-13 13-16,1-13 0,-1 0 16,0 0-1,0 14-15,1-14 16,-14 13-1</inkml:trace>
  <inkml:trace contextRef="#ctx0" brushRef="#br0" timeOffset="35761.78">20836 4022 0,'-27'66'15,"27"-53"-15,-13 14 16,13-14-16,0 0 0,-13 13 16,13-12-16,0-1 0,0 0 15,0 0-15,-13 1 16,-14-28 15,14 14-15,0 0-16,-14 0 15,14 0-15,0 0 0,0 14 16,0-14-16,-1 0 0,1 13 0,-13-13 16,12 13-16,14 0 15,0 0 1,27-13-1,-1 0-15,1 0 0,-14 0 16,13 0-16,27-13 16,-26 13-16,-14 0 0,13-13 15,14 0 1,-27 13-16,1 0 16,-1 0-1,0 13-15,0 0 0,-13 0 16,0 1-1,0-1 1,14-13-16</inkml:trace>
  <inkml:trace contextRef="#ctx0" brushRef="#br0" timeOffset="35903.64">21061 4154 0</inkml:trace>
  <inkml:trace contextRef="#ctx0" brushRef="#br0" timeOffset="36268.37">21193 4180 0,'-40'0'16,"27"14"-16,0-14 15,0 13-15,0-13 0,-1 13 16,1 0 0,13 1-1,13-14-15,14 0 16,-1 0 0,-13 0-16,1 0 0,-1 0 15,13 13-15,-12-13 16,-1 0-1,0 13-15,0 0 16</inkml:trace>
  <inkml:trace contextRef="#ctx0" brushRef="#br0" timeOffset="36688.26">19354 4511 0,'119'-13'16,"-79"13"-16,13-13 0,13 13 0,-13 0 0,26 0 15,-12 0-15,12 0 0,-13-14 16,13 14-16,1 0 0,-1 0 0,1 0 15,-14-13-15,92 13 16,-118 0-16,0 0 0,-27 0 16,14 0-16,-14 0 0,0 0 0,0 0 15,0 0-15,-13-13 0</inkml:trace>
  <inkml:trace contextRef="#ctx0" brushRef="#br0" timeOffset="36940.54">19513 4591 0,'26'0'0,"80"0"16,-66 0-16,79-14 0,-66 14 15,26 0-15,-13-13 0,159 13 16,-158-13-16,-1 13 16,79-13-16,-118 13 15,-1 0-15,27-14 16,-40 1 0,-13 0-16</inkml:trace>
  <inkml:trace contextRef="#ctx0" brushRef="#br0" timeOffset="37432.71">19275 4075 0,'119'0'0,"13"0"15,-79 0-15,0-14 0,0 14 0,0 0 16,79-13 0,-92 13-16,-14 0 0,1 0 0,-1 0 15,-13-13-15,14 13 16,-14 0-16</inkml:trace>
  <inkml:trace contextRef="#ctx0" brushRef="#br0" timeOffset="37633.6">19553 4048 0,'-14'13'0,"28"1"32,-1-14-32,13 0 0,41 13 15,-41-13-15,0 13 0,1-13 16,13 0-16,-14 13 0,1-13 15,12 0-15,54 14 16,-27-14-16</inkml:trace>
  <inkml:trace contextRef="#ctx0" brushRef="#br0" timeOffset="38321.67">21947 3770 0,'0'-26'16,"40"13"-1,-27-1-15,14 1 16,-1 0-16,0-14 0,14 14 0,-13 0 15,52-27 1,-66 27-16,14 13 0,-14-13 0,13 0 16,-12 13-16,-1-14 0,13 1 15,1 0 1,-27 0-16</inkml:trace>
  <inkml:trace contextRef="#ctx0" brushRef="#br0" timeOffset="38562.56">22238 3440 0,'13'-14'0,"14"14"15,13 14 1,-27-1-16,40 13 15,-53-13 1,13 1-16,0-1 0,-13 0 0,13-13 16,-13 13-16,0 1 0,-13-1 0,13 0 15,-13 0-15,0 14 16,0-14-16,-1-13 0,1 26 16</inkml:trace>
  <inkml:trace contextRef="#ctx0" brushRef="#br0" timeOffset="39207.67">22860 3268 0,'0'-14'0,"0"41"32,0-14-17,-13 0-15,13 1 0,0-1 16,-13 0-16,13 0 0,0 0 0,-14 14 16,14-14-1</inkml:trace>
  <inkml:trace contextRef="#ctx0" brushRef="#br0" timeOffset="39423.58">22886 3096 0</inkml:trace>
  <inkml:trace contextRef="#ctx0" brushRef="#br0" timeOffset="39785.26">22926 3307 0,'0'0'16,"0"14"-16,0-1 0,-13 0 15,13 0 1,13-13 15,0 0-15,1-13-16,-1 13 16,13 0-1,1 0 1,-14 0-16,0 13 15,0-13-15,1 13 16,-14 1-16,13-14 0,-13 13 0,13-13 16,-13 13-16,13 0 15</inkml:trace>
  <inkml:trace contextRef="#ctx0" brushRef="#br0" timeOffset="40301.47">23482 3056 0,'0'26'15,"-13"14"1,13-27-16,-14 1 0,14-1 15,-13 26 1,13-25-16,-13-1 0,13 0 0,0 0 0,0 1 16,-13-1-1,13 0-15,-14 0 32,1-13-32,0 0 15,0 0 1,-1 0-16,-25 14 15,39-1-15,-13-13 0,-1 13 16,1-13-16,13 13 16,0 0-1,13 1 1,1-14-16,-1 0 0,13 0 16,-13 0-16,1-14 15,-1 14-15,13-13 16,-12 13-16,-1 0 0,0 0 15,0 0-15,1 13 16,-1 1 0,-13-1-1,0 0 1</inkml:trace>
  <inkml:trace contextRef="#ctx0" brushRef="#br0" timeOffset="40456.62">23680 3241 0,'0'-13'0</inkml:trace>
  <inkml:trace contextRef="#ctx0" brushRef="#br0" timeOffset="41030.55">23680 3294 0,'-26'13'0,"13"1"15,13-1 1,0 0-1,13-13 1,13-13 0,-13 13-1,1 0-15,12-13 16,-13 13 0,1 0-1,-1 0 1,0 13-16,0-13 15,0 0-15,1 13 16,-1-13 0,0 0-1</inkml:trace>
  <inkml:trace contextRef="#ctx0" brushRef="#br0" timeOffset="41621.3">23032 3664 0,'0'27'31,"-13"-1"-15,13-12-16,0-1 15,0 13 1,-13-26-16,13 14 0,0-1 15,0 0 1</inkml:trace>
  <inkml:trace contextRef="#ctx0" brushRef="#br0" timeOffset="42818.27">22913 2831 0,'-13'27'16,"-1"-1"0,14-13-16,-13 0 15,13 1 1,0-1-16,13-40 47,1 14-32,-14 0-15,13 0 16,13 26 15,-12 0-15,-14 0 0,13 1-1,0-14-15,0 13 16,1-13-16,-1-13 31,0-1-15,0 14-16,-13-13 15,13 0 1,-13 0 0,14 0-16</inkml:trace>
  <inkml:trace contextRef="#ctx0" brushRef="#br0" timeOffset="43091.54">23178 2818 0,'0'13'15,"-14"0"1,14 1-16,14-1 16,-14 0-16,0 0 15,13-13-15,-13 13 16,13 1-1,0-14-15,0 0 32,-13-14-17,-13 1 1,0 0 0,0 13-1,0 0-15</inkml:trace>
  <inkml:trace contextRef="#ctx0" brushRef="#br0" timeOffset="43375.36">23257 2858 0,'13'0'15,"-13"13"-15,0 0 16,13-13-16,-13 13 15,0 0-15,0 1 32,27-28 30,-14 1-31</inkml:trace>
  <inkml:trace contextRef="#ctx0" brushRef="#br0" timeOffset="43621.71">23521 2752 0,'0'-27'0,"-13"54"31,13-1-15,0-13-16,-13 1 0,13-1 16,0 0-16,0 0 0,-13 14 15,13-14 1,0 0-16,0 0 0,0 1 15,13-1 1</inkml:trace>
  <inkml:trace contextRef="#ctx0" brushRef="#br0" timeOffset="43985.5">23773 2712 0,'0'-13'16,"-13"39"30,-1 1-30,14-14 0,0 0-16,0 0 0,0 1 15,0-1-15,14 0 16,-1 0-16,0-13 16,0 14-1,0-14-15,1 0 16,-1 0-1</inkml:trace>
  <inkml:trace contextRef="#ctx0" brushRef="#br0" timeOffset="44161.91">23561 2765 0,'27'0'16,"-14"0"-1,0 0-15,0 0 0,53 0 16,-52 0 0,39 0-1,-27 0-15,-13 0 0</inkml:trace>
  <inkml:trace contextRef="#ctx0" brushRef="#br0" timeOffset="47376.56">1111 1098 0,'53'-13'16,"-40"13"0,40 0-16,-26-13 0,12 13 15,14-14-15,-13 14 0,0 0 0,-1-13 16,54 13-16,-66 0 16,-1 0-16,0-13 0,1 13 15,26 0 1,-40 0-16,13 0 15,-12 0-15,-1 0 16</inkml:trace>
  <inkml:trace contextRef="#ctx0" brushRef="#br0" timeOffset="47592.63">1574 1124 0,'27'0'0,"26"0"16,-40 0-16,0 0 15,0-13-15,1 13 0,12 0 16,0 0 0,-12 0-1,-1 0 1</inkml:trace>
  <inkml:trace contextRef="#ctx0" brushRef="#br0" timeOffset="49551.65">1667 3506 0,'53'0'0,"-40"0"0,13 0 0,1 0 15,39 0-15,-26 0 16,13 0-16,0 0 0,0 0 0,13 0 16,-13 0-16,13 0 0,145 0 15,-131 0 1,-1 0-16,67 13 0,-67-13 15,-26 0-15,13 0 0,146 0 16,-159 0-16,53 13 16,-54-13-16,1 0 0,-13 0 15,0 0-15,52 13 16,-65-13-16,-1 0 0,-13 0 16,1 0-16,-1 0 0,0 0 15,0 0-15,1 0 0,-1 0 0,0 0 16,0 0 15</inkml:trace>
  <inkml:trace contextRef="#ctx0" brushRef="#br0" timeOffset="60975.82">10398 2990 0,'-26'0'16,"12"0"-16,1 13 31,40-13 0,-14 0-31,0 0 16,14 0-16,39 0 15,-40 0-15,1 0 0,-1 0 16,40 0 0,-39-13-16,-1 13 0,1 0 0,-14 0 0,0 0 15,0 0-15,1 0 16,-1 0-16,0-13 0,0 13 0</inkml:trace>
  <inkml:trace contextRef="#ctx0" brushRef="#br0" timeOffset="61328.28">10729 2818 0,'-13'0'0,"39"0"47,14 26-47,-27-26 15,0 14-15,0-1 0,1-13 0,-1 13 16,13 13-16,-12-12 15,-1-14-15,0 13 0,-13 13 16,13-12-16,-13-1 0,0 0 0,0 0 16,0 0-16,0 1 15,0-1-15,0 0 0,0 0 16,0 1-16,-13-14 16,13 13-16</inkml:trace>
  <inkml:trace contextRef="#ctx0" brushRef="#br0" timeOffset="61596.35">11298 2831 0,'0'-13'15,"-14"53"17,14-27-32,0 0 0,0 0 0,0 14 15,-13-1-15,13-13 0,0 1 16,0-1-16,0 13 16,0-13-16,0 1 0,0-1 15,0 0 1</inkml:trace>
  <inkml:trace contextRef="#ctx0" brushRef="#br0" timeOffset="62148.53">11245 2778 0,'13'-13'16,"0"0"-16,-39 39 0,65-52 0,-25 26 0,-1-14 16,13 14-16,-12 0 15,25 14 1,-25-14-16,-1 13 0,-13 0 0,0 14 16,0-14-1,-13 13-15,13-12 16,-14-14-16,14 13 0,0 0 15,0 0 1,14-13-16,-1 13 16,0-13-1,0 14-15,0-1 16,1-13-16,-1 13 16,-13 0-16,0 1 15,0-1-15,-13 0 0,-1 0 16,-12 14-1,13-27-15,0 13 0,-1-13 16,1 13-16,-13 0 16,12-13-16</inkml:trace>
  <inkml:trace contextRef="#ctx0" brushRef="#br0" timeOffset="62332.73">11602 2884 0,'0'-13'16,"26"39"15,-26-13-31,0 1 0,0-1 0,0 0 16,0 27 0,0-27-16,0 0 0,0 0 15</inkml:trace>
  <inkml:trace contextRef="#ctx0" brushRef="#br0" timeOffset="62496.61">11642 2765 0</inkml:trace>
  <inkml:trace contextRef="#ctx0" brushRef="#br0" timeOffset="62917.77">11880 2831 0,'-13'0'16,"-14"13"-1,14-13-15,0 14 0,-14 12 16,27-13-1,-13 0 1,26 1 0,0-14-1,27-14 1,-40 1-16,27 13 16,-27-13-16,13 13 0,0-13 15,0 13 1,0 13-1,1 0 1,-14 0 0,13 1-1,0-14 1</inkml:trace>
  <inkml:trace contextRef="#ctx0" brushRef="#br0" timeOffset="63201.57">12144 2778 0,'-39'0'0,"25"0"16,-12 13 0,13 1-16,26-1 15,0 0 1,-13 0-16,40 14 15,-40-14-15,13-13 0,-13 13 16,13 0-16,1 1 16,-14-1-16,-14 0 15,1-13-15,0 13 16,-53 14 0,39-14-16,1 0 0,-14 0 0,14 1 15</inkml:trace>
  <inkml:trace contextRef="#ctx0" brushRef="#br0" timeOffset="66520.48">1164 5331 0,'27'0'16,"-14"-13"-16,27 13 16,-27 0-16,13 0 0,-13 0 15,14 0-15,13 0 0,79 0 16,-66 0-16,-14 0 15,67 0-15,-53 0 16,0 0-16,13 0 0,-13 0 0,132 0 16,-119 0-16,14 0 15,105 0-15,-119 0 16,0 0-16,106 0 16,-119 0-16,40 0 15,-40 0-15,-27 0 0,14 0 16,-14 0-16,27 0 15,-26 13-15,-1-13 0,-13 0 0,14 0 16,-14 0-16,13 0 16,-12 0-16,-1 0 15,0 0-15,0 0 16,1 0 0,-41 0 46,14 14-46</inkml:trace>
  <inkml:trace contextRef="#ctx0" brushRef="#br0" timeOffset="67783.61">5913 5331 0,'40'0'31,"-27"0"-15,106 0-1,-26 0-15,-40 0 0,185 0 31,-13 0-15,-146 0-16,93 0 16,-92 0-16,-1 14 0,0-14 0,1 0 15,-14 0-15,13 13 0,93-13 16,-106 13-16,-13-13 16,0 0-16,0 0 0,80 13 15,-94-13-15,41 0 16,-67 0-16,13 0 15,-13 0-15,1 0 0,12 0 16,-13 0-16</inkml:trace>
  <inkml:trace contextRef="#ctx0" brushRef="#br0" timeOffset="71336.92">17806 5292 0,'14'13'0,"-14"0"0,0 0 16,0 1-16,0-1 0,0 0 0,-14 14 16,14-14-16,0 0 15,0 0-15,-13 0 0,0 14 16,13-14-16,0 0 16,0 1-1,-13-14-15</inkml:trace>
  <inkml:trace contextRef="#ctx0" brushRef="#br0" timeOffset="71749.36">17992 5318 0,'-14'27'15,"1"12"1,13-25-16,0 12 16,0-13-16,0 0 0,0 1 0,13-1 15,14 0 1,-14 0-16,0-13 0,1 0 15,25 0-15,-25-13 16,-1 13-16,0-13 16,13 0-1,-26-1-15,14-25 16,-14 26-16,0-14 16,-14 14-16,1-14 15,0 27 1,0 0-16,0 0 0,-1 0 31</inkml:trace>
  <inkml:trace contextRef="#ctx0" brushRef="#br0" timeOffset="72089.37">18587 5411 0,'-13'0'0,"39"-13"16,1 13 0,-1 0-1,-13 0-15,1 0 0,-1 0 16,0 0-16,0 0 0,0 0 16,1 0-16,-1-14 0,0 14 0,0 0 15,1 0-15</inkml:trace>
  <inkml:trace contextRef="#ctx0" brushRef="#br0" timeOffset="72381.34">18746 5265 0,'0'-13'0,"13"13"16,0 0 15,14 13-15,-14-13-16,-13 13 0,26 1 15,-26-1-15,14 0 0,-1 0 16,-13 1-16,13-1 0,-13 0 16,13 14-1,-26-1 1,0-13-16,13 0 15,-13-13-15,13 14 0,-14-1 16,1 0-16</inkml:trace>
  <inkml:trace contextRef="#ctx0" brushRef="#br0" timeOffset="73904.46">19566 5239 0,'13'0'0,"14"-13"16,-1 13-1,14 0 1,-27 13-16,0 0 15,0 13-15,-26-12 16,13-1-16,0 0 16,-13-13-16,0 13 0,0 14 15,-1-14-15,1 0 16,13 1 0,-13-14-16,26 13 15,0-13 1,1 0-16,-1 0 15,40 0 1,-40 0-16,0-13 0,0 13 0,1 0 16,12 0-1,-13 0-15</inkml:trace>
  <inkml:trace contextRef="#ctx0" brushRef="#br0" timeOffset="74560.67">19685 5001 0,'-40'0'16,"27"0"-16,0 0 16,0 13-16,-14-13 0,14 13 0,0-13 15,-1 13-15,-12 1 0,-14 38 16,14-38-16,13 25 0,-27 14 16,14-13-16,-1 53 15,14-67-15,13 27 16,0-27-16,0-12 0,0 12 15,13 1-15,0-14 0,40 53 16,-26-40-16,-1-12 16,14-1-16,-14 0 0,1-13 0,-1 13 15,1-13-15,-1 0 0,27 0 16,-27 0-16,41-13 16,-41 13-16,-13-13 15,14 0-15,-14 13 0,13-14 0,-12 1 16,12 0-16,-13 0 0,1-1 0,-1-12 15,26-27 1,-25 40-16,-14-14 0,13 14 0,-13 0 16,13-27-16,-13 14 15,0 13-15,0-1 0,0 1 0,-13-40 16,13 27-16,-13 13 16,-14-40-1,14 39-15,0 1 0,0 0 16,-14 0-16,14-1 0,-14 1 0,14 0 15,-40-13 1,14 12-16,12 1 0,14 13 0,-14 0 16,14 0-16,-26 0 15,25 13-15,1-13 0,-13 27 16,26-14 0</inkml:trace>
  <inkml:trace contextRef="#ctx0" brushRef="#br0" timeOffset="74952.42">20082 5424 0,'26'-13'0,"1"13"16,-14 0-16,0 0 15,0 0-15,1 0 0,-1 0 0,0 0 16,27-13 0,-27 13-16,0 0 0,1 0 15</inkml:trace>
  <inkml:trace contextRef="#ctx0" brushRef="#br0" timeOffset="75204.62">20227 5265 0,'0'0'0,"14"0"16,12 13-1,1 1 1,-14-14-16,0 13 0,0 0 0,-13 0 0,13 1 16,1 12-1,-14-13-15,13 1 0,-13-1 0,-13 0 0,13 0 16,-27 27-16,14-27 16,-13 27-1,26-27-15</inkml:trace>
  <inkml:trace contextRef="#ctx0" brushRef="#br0" timeOffset="79391.56">19711 5781 0,'14'-13'0,"-28"26"31,1-13-31,-13 40 16,13-27-16,-1 0 16,-12 1-16,13-1 0,-1 0 0,-52 27 15,53-27-15,-27 0 0,14 0 16,-27 14-1,27-27-15,-1 0 0,-13 13 0,14-13 16,-80 0-16,66 0 16,-52-13-16,12 0 15,41-1-15,12 1 0,-12 0 16,12 13-16,-39-40 16,53 40-16,-40-26 15,40 13-15,-1 13 16,1-14-16,0 14 0,0-13 0,-1 13 15,1 0 1,0-13-16,0 13 16</inkml:trace>
  <inkml:trace contextRef="#ctx0" brushRef="#br0" timeOffset="79727.46">18455 6019 0,'-27'-26'0,"27"-1"0,0 14 0,0-13 15,0 12-15,13 1 0,-13 0 16,0-13-16,14-1 16,-1 14-16,-13 0 0,13 13 15,-13-14-15,13 14 0,1-13 0,12 13 16,-13 0 0,14 0-16,-14 0 0,0 0 15,14 13-15,26-13 16,-40 14-16</inkml:trace>
  <inkml:trace contextRef="#ctx0" brushRef="#br0" timeOffset="84051.28">5384 4736 0,'-13'0'0,"40"0"78,12 0-62,-26 0-16,1 0 0,-1 13 0,27-13 16,-14 0-16,14 0 0,-14 0 15,120 0 1,-93 0-16,0 0 0,-1 0 0,1 0 0,13 0 16,54 0-1,-68 0-15,1 13 0,119-13 16,-132 0-16,13 0 0,0 0 15,-13 0-15,-1 0 0,27 14 16,-26-14-16,66 0 16,-66 0-16,-14 0 0,27 0 15,-27 0-15,41 0 16,-54 0-16,0 0 16,0 0-16,1 0 0,-1 0 0,0 0 15,13 0 1,-12 0-16,-1 0 15,0 0 1</inkml:trace>
  <inkml:trace contextRef="#ctx0" brushRef="#br0" timeOffset="86206.81">13824 5331 0,'-13'0'0,"40"0"62,12 0-46,-12 0-16,-14 0 15,14 0-15,-1 0 0,0 0 16,14 0-16,0 14 0,0-14 0,118 0 16,-105 13-16,0-13 15,13 0-15,-13 0 16,13 13-16,0-13 0,1 0 0,-1 13 0,0-13 15,132 0 1,-145 14-16,80-14 16,-81 0-16,120 0 15,-105 0-15,-14 0 0,13 0 0,-13 0 16,92 0 0,-105 0-16,-1 13 0,-12-13 0,13 0 15,-14 0-15,1 0 0,-1 0 0,0 0 16,41 0-1,-41 0-15,-13 0 0,14 0 0,-14 0 16,0 0-16,14 0 16,-14 0-16,0 0 0,0 0 15,-26-13 32</inkml:trace>
  <inkml:trace contextRef="#ctx0" brushRef="#br0" timeOffset="91037.44">2884 6284 0,'53'0'0,"-40"0"0,53 0 15,0 0-15,-13 0 16,-13 0-16,26 0 0,106 13 16,-93-13-16,1 0 15,171 0 1,-171 0-16,12 13 0,-12-13 0,184 0 15,-171 0 1,-14 0-16,1 0 0,-1 0 0,-13 0 16,53 14-16,-66-14 15,66 0-15,-66 0 16,-27 0-16,1 0 0,-14 0 16,14 0-1,-14 0-15,0 0 0,0 0 0,1 0 16,-1 0-1,0 0 1</inkml:trace>
  <inkml:trace contextRef="#ctx0" brushRef="#br0" timeOffset="92142.37">6615 5980 0,'0'-14'0,"13"14"15,0 0 1,14 0-16,-14 0 16,13 0-16,-13 0 0,1 0 0,39 0 15,-40 0 1,13 0-16,1 0 0,-1 0 0,-13 0 0,14 14 15,26-14-15,-40 0 16,13 0-16,-12 0 16</inkml:trace>
  <inkml:trace contextRef="#ctx0" brushRef="#br0" timeOffset="92464.71">6932 5834 0,'27'0'31,"-14"0"-31,0 13 0,0-13 0,14 14 16,12-1-1,-25 0-15,12 0 0,14 0 16,-27 1-16,0-1 0,0 0 0,1 27 16,-14-27-1,0 0-15,-14 0 0,14 1 16,-26 12 0,26-13-16,-13 1 0,0-1 15,-1 0-15</inkml:trace>
  <inkml:trace contextRef="#ctx0" brushRef="#br0" timeOffset="93050.45">7766 5768 0,'-27'-13'16,"54"26"-16,-67-26 16,27 13-16,-1 13 15,1-13 1,0 0-16,13 13 0,-13 0 15,13 1 1,0 12 0,13-26-16,-13 13 0,0 1 0,13-14 15,0 13-15,-13 0 0,14-13 0,-14 13 16,13-13-16,-13 13 0,13 1 16,-13-1-16,-13 0 15,-14 14 1,1-14-1,-14 0 1,27-13-16,-13 0 16,26 13-1</inkml:trace>
  <inkml:trace contextRef="#ctx0" brushRef="#br0" timeOffset="93401.67">7898 5913 0,'13'-13'15,"0"0"1,-13 0-16,-13 0 31,0 26 1,0 0-17,13 0-15,0 0 16,0 1-16,13-1 15,0-13-15,0 13 16,1-13 0,-1 0-16,13 0 15</inkml:trace>
  <inkml:trace contextRef="#ctx0" brushRef="#br0" timeOffset="93851.37">8123 5900 0,'-14'13'16,"14"1"0,-13-1-16,13 0 31,27-13 0,-14 0-15,0 0-1,0 0 1,1 0-16,-1 0 16,0 0-16,0 13 15,1-13 1</inkml:trace>
  <inkml:trace contextRef="#ctx0" brushRef="#br0" timeOffset="94272.48">8599 5675 0,'0'-13'16,"-13"40"0,-1-1-1,14 0-15,-13-12 0,13-1 16,-13 0-16,13 0 0,0 1 0,-13-1 16,13 0-16,0 0 0,0 1 0,0-1 15,0 0 1,-13 0-1,-1-13 1,1 0 0,0 0-16,0 0 0,-1 0 15,1 0-15,0 13 0,-13 1 16,12-14 0,1 0-16,13 13 0,-13-13 15,13 13-15,0 0 16,13-13-1,0 14-15,14-14 16,-14 0-16,13 0 16,-12 0-16</inkml:trace>
  <inkml:trace contextRef="#ctx0" brushRef="#br0" timeOffset="94585.3">8771 5847 0,'-13'14'32,"-1"-1"-32,14 0 0,-13-13 15,13 13-15,0 0 0,-13-13 0,0 27 16,13-14 0,-13 0-16,13 1 15</inkml:trace>
  <inkml:trace contextRef="#ctx0" brushRef="#br0" timeOffset="94733.45">8784 5741 0,'0'-13'0,"0"26"0</inkml:trace>
  <inkml:trace contextRef="#ctx0" brushRef="#br0" timeOffset="95041.39">8864 5834 0,'0'13'16,"0"1"0,0-1-1,-14 0 1,28-13 0,-1 0-1,0 0 1,0 0-16,14 0 15,-27 13 1,13-13-16,0 0 16,0 0-16,1 0 15,-1 0-15</inkml:trace>
  <inkml:trace contextRef="#ctx0" brushRef="#br0" timeOffset="95326.76">9128 5794 0,'-26'14'31,"26"12"-15,-14-13-16,14 1 0,0-1 16,0 0-16,-13 0 0,0 14 15,0-1-15,-14 1 16,14-14-1,0 0-15,0 0 0,39-39 47,1 13-31,-14 13-16,0 0 16,0-14-16,0 14 0,1 0 0</inkml:trace>
  <inkml:trace contextRef="#ctx0" brushRef="#br0" timeOffset="95756.85">9988 5583 0,'0'26'16,"0"1"0,-13-1-1,13-13-15,0 1 0,-13 12 16,13-13-16,-14 0 15,14 1-15,0-1 0,0 0 16</inkml:trace>
  <inkml:trace contextRef="#ctx0" brushRef="#br0" timeOffset="96105.86">10200 5609 0,'-14'-13'15,"1"26"17,13 0-32,-13-13 0,13 14 0,-13-1 15,13 0-15,0 0 0,-13 1 16,13-1-16,0 0 0,0 0 16,0 0-16,13 1 15,0-14-15,0 0 16,0 0-16,1 0 0,-1 0 15,0-14-15,0 1 16,-13 0-16,14 0 16,-14 0-16,0-1 15,0 1-15,0 0 0,-14-14 32,1 27-32,0 0 31</inkml:trace>
  <inkml:trace contextRef="#ctx0" brushRef="#br0" timeOffset="96378.44">10279 5622 0,'13'27'16,"-13"-14"-1,14 0-15,-14 1 16,13-14-16,-13 13 0,13-13 15,0 13-15,0-13 16,1 0-16,-1 0 0,0 0 16,-13-13-16,13 13 0,1 0 15,-14-13-15,13 13 16,-13-14-16,0 1 0,0 0 16,0 0-16,-13-1 15,-1 1 1,-12 13 15</inkml:trace>
  <inkml:trace contextRef="#ctx0" brushRef="#br0" timeOffset="96607.55">10821 5755 0,'53'0'0,"-39"0"0,-1 0 15,0 0-15,0 0 16,1 0-16,-1 0 0</inkml:trace>
  <inkml:trace contextRef="#ctx0" brushRef="#br0" timeOffset="96867.64">11033 5596 0,'13'0'15,"-26"0"-15,53 13 16,-27-13-16,27 27 16,-1 12-16,-25-25 15,-1 12-15,-13 0 16,0-12-16,-13-1 0,-1 0 16,-12 14-16,13-14 0,-27 13 15,-26 14 1,66-27-16,-13-13 15,-1 13-15</inkml:trace>
  <inkml:trace contextRef="#ctx0" brushRef="#br0" timeOffset="97754.66">11589 5781 0,'26'-13'15,"1"13"-15,-14 0 16,0 13-16,0-13 16,1 13-16,-14 1 15,0-1-15,-14 0 16,14 0-16,-13 1 15,0-14-15,0 13 0,-1 0 0,1-13 16,13 13-16,-13-13 16,0 13-16,0 1 15,26-14 32,0 0-47,0 0 0,0 0 0,1 0 16,-1 0-16,13 0 15,14-14-15,-13 14 16,-14 0-16,13-13 0</inkml:trace>
  <inkml:trace contextRef="#ctx0" brushRef="#br0" timeOffset="98056.7">11972 5808 0,'0'-14'15,"0"28"-15,-13-28 0,0 14 16,0 14-1,-14-1 1,27 0-16,-13 0 0,13 1 16,0-1-16,0 0 15,13 0-15,0-13 16,1 13-16,-1-13 0,0 0 16,0 0-16,1 0 15,-1 0-15,0 0 16,0-13-16,-13 0 0,14 13 15,-14-13-15,0 0 16,0-1-16,0 1 16,-14 0-1,1 13-15</inkml:trace>
  <inkml:trace contextRef="#ctx0" brushRef="#br0" timeOffset="98434.61">12369 5940 0,'40'-13'0,"-27"13"16,0 0-16,1 0 0,-14-14 0,26 14 16,1 0-16,-1 0 15,-13 0-15,0 0 16,1-13-16</inkml:trace>
  <inkml:trace contextRef="#ctx0" brushRef="#br0" timeOffset="98657">12594 5808 0,'13'0'16,"1"0"-16,12 13 0,-13 0 15,1 0-15,-14 1 16,0-1-16,0 0 15,0 0-15,0 0 0,-14 1 16,1-14-16,13 13 0,-13 0 0,0 0 16,-1-13-16,1 14 0,0-1 15</inkml:trace>
  <inkml:trace contextRef="#ctx0" brushRef="#br0" timeOffset="99209.39">13295 5808 0,'40'-14'15,"-80"28"-15,93-28 16,-40 14-16,1 0 0,-14 14 16,13-1-1,-26 0-15,13 0 16,-14-13-16,14 14 0,-26 12 16,13-13-16,0-13 0,-14 27 15,14-27-15,13 13 0,-13-13 16,-1 13-16,1-13 15,13 13-15,0 1 32,13-14-32,1 13 15,-1-13-15,0 0 0,0 0 16,1 0-16,-1 0 0,0 0 0,13 0 16,1 0-16,13-13 15,-14 13-15</inkml:trace>
  <inkml:trace contextRef="#ctx0" brushRef="#br0" timeOffset="99557.25">13692 5861 0,'0'-14'15,"-13"1"1,-14 26 15,14 1-31,13-1 16,0 0-16,0 13 15,0-12 1,13-14-16,-13 13 0,14 0 0,-1-13 16,0 13-16,0-13 15,1 0-15,-1 0 16,0-13-16,0 13 16,-13-13-16,14 13 0,-14-13 0,13 13 15,-13-14-15,0 1 0,0-13 31,0 13-31,0-1 16,-13 14-16,-1 0 0,14-13 16,-39 13-1,25 13-15,1-13 0,0 0 16</inkml:trace>
  <inkml:trace contextRef="#ctx0" brushRef="#br0" timeOffset="99793.62">14089 5794 0,'27'14'0,"-41"-1"15,14 0 1,-13 0-16,13 1 0,-13-1 0,0 0 15,-1 0-15,1 14 0,0-14 16,0 0-16,-1 0 0,14 1 16,-13-14-16,0 13 0,13 0 0,-13 0 0,13 0 15</inkml:trace>
  <inkml:trace contextRef="#ctx0" brushRef="#br0" timeOffset="99993.32">13957 5821 0,'0'-13'0,"13"13"16</inkml:trace>
  <inkml:trace contextRef="#ctx0" brushRef="#br0" timeOffset="100146.31">14129 6019 0,'13'0'16,"-13"-13"-16</inkml:trace>
  <inkml:trace contextRef="#ctx0" brushRef="#br0" timeOffset="100801.1">14420 5755 0,'26'-14'15,"-13"28"-15,1-14 16,-14 13-16,13-13 0,-13 13 15,0 0-15,13 1 16,-13-1-16,0 0 0,0 0 0,0 1 16,0 12-16,0-13 0,0 0 15,0 1 1,-13-1-16,13-40 47,13 14-47,-13 0 15,27-27-15,-14 27 16,0 0-16,14 0 0,-27-1 16,13 14-16,0-13 0,0 13 15,0 0-15</inkml:trace>
  <inkml:trace contextRef="#ctx0" brushRef="#br0" timeOffset="101082.26">14777 5887 0,'13'0'16,"0"-26"-1,-13 12-15,0 1 16,-13 13 15,-13 27-15,26-14-1,-13-13-15,13 13 0,13 13 16,0-12 0,0-14-1,0 0-15</inkml:trace>
  <inkml:trace contextRef="#ctx0" brushRef="#br0" timeOffset="101338.32">15028 5821 0,'0'-13'0,"0"-1"0,-13 41 47,13-14-47,0 27 31,0-27-31,-13 0 0,13 0 16,0 1-16,0 12 15,-13-26-15,13 13 0,-14-13 0,14 14 16,-13-14-16,13 13 0,-13-13 16,0 13-16,-1-13 15,1 0-15</inkml:trace>
  <inkml:trace contextRef="#ctx0" brushRef="#br0" timeOffset="101770.53">15108 5728 0,'13'0'15,"-13"13"1,0 1-16,0-1 0,0 0 15,0 14-15,-13-14 0,13 13 16,-14 40-16,1-39 16,0 13-16,0-1 0,13-12 0,-13-14 15,13 13-15,-14 1 16,1-14-16,13 0 0,0 1 16,0-41 15,13 14-31,-13 0 0,14-1 15,25-39-15,27-26 16,-39 66 0,-1-14-16,-12 27 0,-1-13 15,13 13-15,-13 0 16,-13 13 0,-13 1-16,0-1 15,0 0-15,0-13 16,-1 13-16,1-13 0,0 14 0,0-1 15,-1-13-15,14 13 0,-13-13 16</inkml:trace>
  <inkml:trace contextRef="#ctx0" brushRef="#br0" timeOffset="102101.38">15425 5861 0,'-26'13'16,"-1"13"-1,14 1 1,13-14 0,0 13-1,13-12-15,1-1 16,-1-13-1,0-13 1,0-1-16,-13 1 16,13 0-16,-13 0 31,0-1-31,0 1 0,-13 13 16,13-13-16,-13 13 15</inkml:trace>
  <inkml:trace contextRef="#ctx0" brushRef="#br0" timeOffset="102388.58">15491 5887 0,'14'13'0,"-14"0"16,0 1-1,0-1 1,0 0-16,0 0 31,0 1-15,13-14 15,13-14-15,-12 14-16,-1-13 15,0 13 1,0 0-16,0 0 15,14 0 1,-14 0-16,0 0 0,1 0 0</inkml:trace>
  <inkml:trace contextRef="#ctx0" brushRef="#br0" timeOffset="102719.5">15835 5887 0,'0'-13'16,"-13"26"0,13 0-16,-13 0 15,13 1-15,-13-1 16,-1 0 0,1 0-1,0-13 1,13 14-16,13-14 78,14-14-62,-14 14-1</inkml:trace>
  <inkml:trace contextRef="#ctx0" brushRef="#br0" timeOffset="103079.85">16007 5953 0,'0'0'16,"0"-13"-16,14 13 16,-41-13 15,14 26-16,0 0 1,-1 0 0,28 1-1,-1-14 1,0 0 0,14 13-16,-14-13 0</inkml:trace>
  <inkml:trace contextRef="#ctx0" brushRef="#br0" timeOffset="103540.55">16245 5821 0,'0'-13'15,"14"39"1,-14-13-1,0 1-15,0-1 0,0 0 16,-14 0-16,14 0 0,0 1 0,0-1 16,0 0-16,0 0 15,0 1 1,14-41 15,-1 14-15,0 13-16,-13-13 0,13-1 15,1 1-15,-1 13 0,-13-13 0,13 13 0,0-13 16,0 13-16,1 0 16,-1-13-1</inkml:trace>
  <inkml:trace contextRef="#ctx0" brushRef="#br0" timeOffset="104093.48">16563 5874 0,'-27'0'15,"14"0"1,0 13-16,0-13 16,0 13-16,-1-13 0,1 13 15,0-13-15,13 14 0,-13-1 16,13 0-1,13-13 1,0 13 0,0-13-16,1 0 15,-1 14 1,0-14 0,0 0-1,-13 13-15,13-13 16,1 0-16,12-13 15,-13 13 1,1 0-16,39-40 16,-40 40-16,26-53 15,-25 40-15,-1 0 16,0-14-16,0 14 0,1 0 0,-1-1 16,0 1-16,-13 0 0,13 13 15,1-13-15,-14-1 16,-14 41-1,1-27 1,13 13-16,-13 14 0,13-1 16,0-13-16,0 1 0,-13-1 15,13 0-15,13 0 16,-13 0-16,0 1 16,13-1-16,0 0 0,1-13 15,-14 13-15,13-13 0</inkml:trace>
  <inkml:trace contextRef="#ctx0" brushRef="#br0" timeOffset="104246.35">16761 5861 0,'-13'0'0,"26"-14"0,1 14 15,-14-13-15,13 13 16,0 0-16,0 0 15,1 0-15,-1 0 0</inkml:trace>
  <inkml:trace contextRef="#ctx0" brushRef="#br0" timeOffset="104481.26">17013 5913 0,'26'-13'0,"-26"0"0,13 13 16,-52 13 15,12 14-15,27-14-16,0 0 15,27 14 1,-14-27-1</inkml:trace>
  <inkml:trace contextRef="#ctx0" brushRef="#br0" timeOffset="105986.59">529 1191 0,'40'-14'0,"-14"14"0,14 0 16,0 0-16,13-13 0,0 13 15,66-13-15,-40 13 16,53-13-16,-52-1 0,-14 14 0,-13 0 16,0-13-16,0 13 0,-1 0 15,-12-13-15,0 13 0,-14 0 16,1 0-16,-14 0 0,13 0 0,-12 0 15</inkml:trace>
  <inkml:trace contextRef="#ctx0" brushRef="#br0" timeOffset="106192.94">966 1191 0,'-14'0'16,"28"0"-1,-1 0-15,13 0 16,1 0-16,26 0 0,0 0 0,79-14 16,27 14-16,-93-13 15,13 13-15,-26 0 0,79-13 16,-65 13-16,-14 0 0,-1 0 16</inkml:trace>
  <inkml:trace contextRef="#ctx0" brushRef="#br0" timeOffset="108358.5">1296 7302 0,'146'0'16,"-106"0"-16,52 0 15,-26 0-15,67 0 0,-41 0 16,67 14-16,13-14 16,-79 13-16,92 0 15,-13 0-15,-80-13 16,67 14-16,-79-14 0,-14 13 15,106-13-15,-66 13 16,-80-13 0,40 0-1,-53 0-15,1 0 16,-1 0-16,13 0 16,-13 0-1,-13 13 1,14-13-16</inkml:trace>
  <inkml:trace contextRef="#ctx0" brushRef="#br0" timeOffset="109926.41">6972 7276 0,'291'0'0,"-225"0"15,0 0-15,13 13 0,1-13 16,92 0-16,-93 13 16,93-13-16,-92 0 0,-1 0 15,0 0-15,1 0 0,52-13 16,-79 13-16,0 0 0,0 0 15,-14 0-15,-12 0 0,26 0 16,-40 0-16,0 0 0,0 0 16,1 0-16,-1-13 0,0 13 15</inkml:trace>
  <inkml:trace contextRef="#ctx0" brushRef="#br0" timeOffset="111062.96">7752 7911 0,'53'0'0,"-26"0"0,-1 0 0,1 0 15,-1 0-15,-13 0 0,53 0 16,-39 0-16,-1 0 0,-12 0 16</inkml:trace>
  <inkml:trace contextRef="#ctx0" brushRef="#br0" timeOffset="111336.94">8123 7713 0,'26'13'0,"27"0"31,-26 0-31,-14 1 0,0-1 16,0-13-16,0 13 0,27 27 16,-40-27-1,0 0-15,0 0 0,0 14 16,0-14-16,-13 0 0,13 1 0,-13-1 16,-1 13-16,14-13 15,-13 1-15</inkml:trace>
  <inkml:trace contextRef="#ctx0" brushRef="#br0" timeOffset="111913.77">9075 7752 0,'106'27'16,"-106"-14"-16,13 0 0,-26 27 15,13-27 1,-26 14-16,12-14 0,-12 0 16,13 0-16,-1 1 0,1-1 15,0 0-15,0-13 0,13 13 16,-13-13-16,-1 13 0,14 1 31,14-1-31,-1-13 16,0 0-16,0 0 0,27 0 15,39 0 1,-52 0-16,-1 0 0,1 0 0,-1 0 16,-13 0-16,14 0 0,-1 0 0,-13-13 15,1 13-15</inkml:trace>
  <inkml:trace contextRef="#ctx0" brushRef="#br0" timeOffset="112687.83">9512 7818 0,'-13'-13'15,"13"40"1,0-1-1,13-13 1,0 1-16,0-14 16,0 0-16,-13 13 15,14-13-15,-1 0 0,0-13 0,0 13 0,1 0 16,-1 0-16,0-14 0,0 14 16,1 0-16,-1 0 0,0 0 15,0 0-15,14 0 16,-14 14-16,0-14 0,-13 13 15,13 0-15,-13 0 0,0 1 16,14-1-16,-14 0 0,-14 0 0,14 14 16,-13 12-16,0-25 15,0-1-15,-1 0 16,1 0-16,0-13 16,13 13-16,-13-13 15,26-26 1,0 13-1,0 0-15,40-27 16,-39 27 0,12-1-16,0 1 0,1-13 0,-14 13 15,0-1-15,1 1 0,-1 13 0,0-13 16,-13 0-16,13 13 16,-13-14-16,0 1 0,-26 26 46,26 1-30,0-1-16,0 13 16,13-26-1,-13 14-15,27-14 16,-1 0-16,-13 0 16</inkml:trace>
  <inkml:trace contextRef="#ctx0" brushRef="#br0" timeOffset="113110.69">10200 7858 0,'0'-13'0,"-14"0"0,1 13 15,-13 26 1,13-26-16,-1 13 16,14 1-1,-13-1-15,26-13 47,14 0-31,-14 0-1,13 0 1,-12 13 0,-1 0-1,-13 1 1,13-14-1,-13 13-15,13-13 16,1-13 0,-1-1-1,0 1 1,0 13 0,1-13-1,-1 13-15,-13-13 0,13 13 16,0 0-16,0 0 0</inkml:trace>
  <inkml:trace contextRef="#ctx0" brushRef="#br0" timeOffset="113324.8">10478 7832 0,'0'-14'15,"-14"41"16,14-14-31,0 14 16,0-14 0,-13 0-1,13 0-15,-13-13 0,13 14 16,-13-1-16,-1-13 0,1 13 16,-13 0-16,12-13 0,1 13 0</inkml:trace>
  <inkml:trace contextRef="#ctx0" brushRef="#br0" timeOffset="113566.22">9393 8215 0,'132'-13'15,"-106"13"-15,1 0 16,26-13-16,-13 13 0,12 0 0,94-13 16,-93 13-16,-13-14 15,-1 14-15,1 0 0,-14 0 16,14-13-16,0 13 16</inkml:trace>
  <inkml:trace contextRef="#ctx0" brushRef="#br0" timeOffset="116172.2">9287 7594 0,'172'-14'0,"-146"14"15,14 0-15,-14 0 0,14 0 0,26 0 16,-26 0-16,13-13 0,-13 13 16,-14 0-16,14 0 0,-14 0 15,1 0-15,-1 0 0,-13 0 0,27 0 16</inkml:trace>
  <inkml:trace contextRef="#ctx0" brushRef="#br0" timeOffset="116430.98">9551 7646 0,'53'14'0,"-39"-14"16,-1 0-16,13 0 0,40 0 16,-52 0-16,12 13 0,1-13 15,-1 0-15,-13 0 0,67 0 32</inkml:trace>
  <inkml:trace contextRef="#ctx0" brushRef="#br0" timeOffset="116983.47">11060 7898 0,'26'0'0,"-13"13"16,14-13-16,-14 0 0,27 0 15,-14 0-15,1 0 0,12 13 16,27-13-16,-26 0 0,0 0 0,-14 0 16,1 14-16,12-14 15,-12 0-15,-1 0 0,-12 0 0,-1-14 16,0 14-16,0 0 0,0 0 0,-13-13 15</inkml:trace>
  <inkml:trace contextRef="#ctx0" brushRef="#br0" timeOffset="117231.43">11562 7713 0,'40'13'0,"-27"0"15,-66-39-15,159 79 0,-79-40 16,-14 0-16,13 0 0,-12 0 16,-1 1-16,13 25 15,-13-25-15,1 12 0,-14-13 16,-14 1-16,14-1 0,-13 0 16,-13 27-16,13-27 0,-14 13 15,1 1-15,12-1 16</inkml:trace>
  <inkml:trace contextRef="#ctx0" brushRef="#br0" timeOffset="124360.35">1389 7078 0,'-13'-14'0,"39"28"15,107-1 1,-94 0-16,14-13 16,-13 0-16,13 13 0,13-13 15,0 0-15,13 14 0,-26-14 0,14 0 16,-15 0-16,1 0 0,13 0 0,-13 13 16,0-13-16,0 0 0,-13 0 15,13 0-15,-13 13 0,-14-13 16,14 0-16,-14 0 0,1 0 0,-1 0 15,-13 0-15</inkml:trace>
  <inkml:trace contextRef="#ctx0" brushRef="#br0" timeOffset="135150.44">13031 7633 0,'-13'66'0,"13"-52"0,-14-1 0,14 0 16,0 14-16,-13-14 0,13 13 15,-13-13-15,13 1 0,0-1 0,-13 0 16,13 0-16,0 1 0,-14-1 0,14 0 15,0 0 1,0 1-16,14-1 16,-1-13-16</inkml:trace>
  <inkml:trace contextRef="#ctx0" brushRef="#br0" timeOffset="136096.4">13322 7726 0,'0'-13'0,"-13"-1"16,-14 28 15,14-14-31,0 13 0,13 0 0,-14-13 16,1 13-16,-13 14 15,12-14-15,14 0 0,-13 0 0,13 1 16,-13-1-16,13 0 16,0 0-1,13-13-15,0 0 16,1 0-16,-1-13 0,0 13 0,0 0 0,1-13 15,12 0 1,-13 13-16,1-14 0,-1 14 16,0 14-1,-13-1 1,0 0-16,0 0 16,0 1-1,0-1-15,13-13 0,-13 13 16,13-13-16</inkml:trace>
  <inkml:trace contextRef="#ctx0" brushRef="#br0" timeOffset="136370.68">13719 7501 0,'0'-13'15,"-14"39"1,14-13-16,-13 1 0,13 12 0,-13-13 16,13 14-16,-13-1 0,-1-13 15,1 14-15,0-1 0,13 1 0,-13-14 16,0 27-16,13-27 0,-14 0 16,14 0-16,-13 1 15,13-1-15,0 13 16</inkml:trace>
  <inkml:trace contextRef="#ctx0" brushRef="#br0" timeOffset="136553.35">13441 7766 0,'26'-14'15,"-12"1"-15,-1 13 0,13 0 16,-13-13-16,14 13 0,-14 0 16,0 0-16,1 0 0,12 0 0,-13-13 15,0 13-15,1 0 0,-1 0 0,0 0 16,0 13-16</inkml:trace>
  <inkml:trace contextRef="#ctx0" brushRef="#br0" timeOffset="136828.82">13811 7766 0,'0'-27'0,"0"54"16,13-67-16,-26 40 15,13-13 1,-26 26-1,-1 13 1,14-26-16,13 14 16,0-1-16,-13-13 0,13 13 0,0 13 15,13-26 1,-13 14-16,13-14 0,1 13 0,-1-13 16,0 0-16,0 0 15</inkml:trace>
  <inkml:trace contextRef="#ctx0" brushRef="#br0" timeOffset="137061">14049 7699 0,'14'0'16,"-14"14"-1,13-1-15,-13 27 31,-13-27-31,-1 13 16,14-13-16,-13-13 0,0 27 16,0-27-16,13 13 0,-14-13 15,1 13-15,0-13 16</inkml:trace>
  <inkml:trace contextRef="#ctx0" brushRef="#br0" timeOffset="137242.66">14248 7580 0,'13'-13'16,"0"0"-1,-39 39-15,66-39 16,-40 26-16,0 1 16,0-1-16,0 0 0,-14 13 0,1 41 15,0-1 1,-14-27-1,14-12-15</inkml:trace>
  <inkml:trace contextRef="#ctx0" brushRef="#br0" timeOffset="137404.41">14168 7845 0,'27'-27'0,"-14"14"15,0 13-15,27-13 16,-27 13-16,14 0 16,-14 0-16,13 0 0,-12 0 0,-1 0 15</inkml:trace>
  <inkml:trace contextRef="#ctx0" brushRef="#br0" timeOffset="137827.24">14512 7792 0,'0'-13'0,"0"26"0,0-39 15,-13 26-15,-13 13 32,12 0-17,14 0-15,0 0 16,14 1-1,25-14 1,-25-14-16,-1 14 16,0-13-16,0 13 15,1-13-15,-1 0 0,13 0 16,-13 13 0,-13 13-1,0 0 1,0 0-1,14 0-15,12 1 16,-13-14 0,1 0-16,-1 0 0,13 0 15,1 0 1,-14 0 0,0 0-16</inkml:trace>
  <inkml:trace contextRef="#ctx0" brushRef="#br0" timeOffset="138730.32">15518 7752 0,'13'-13'0,"0"13"0,1-13 16,-1 13-16,0 0 0,13 0 0,-12 0 16,12 0-16,1 0 0,-1 0 15,0 0-15,27-13 0,-26 13 16,-1 0-16,1 0 0</inkml:trace>
  <inkml:trace contextRef="#ctx0" brushRef="#br0" timeOffset="138966.54">15849 7567 0,'52'-13'0,"-38"26"0,-1-13 16,0 13-16,14 1 0,-14-14 16,0 13-16,14 0 0,-1 27 15,-13-27-15,0 0 0,-13 0 0,0 1 16,0-1-16,-13 0 16,0 0-16,0 1 0,-14 25 15,-12-26-15,25 1 0</inkml:trace>
  <inkml:trace contextRef="#ctx0" brushRef="#br0" timeOffset="139998.64">16986 7501 0,'80'-13'16,"-54"-1"-16,-13 14 0,27 0 16,-14 0-16,-12-13 0,-1 13 15,0 0-15,0 0 16,1-13-16,-1 26 16,-13 0-1,0 1-15,0-1 16,0 0-16,0 14 0,0-14 15,0 0-15,-13 14 0,13-14 0,0 0 16,0 13-16,0-12 0,-14-1 16,14 0-16,0 0 0,-13 1 15,0-1-15,13 0 0,-27 0 16,14 1-16,0-14 16,0 0-16,0 0 15,-1 0-15,1 0 0,0-14 16,13 1-1</inkml:trace>
  <inkml:trace contextRef="#ctx0" brushRef="#br0" timeOffset="140280.21">17357 7607 0,'0'0'0,"0"13"16,0 0-16,0 14 15,0-14-15,13 0 16,0 0 0,0-13-16,1 14 15,-1-14 1,13-14 0,-13 1-16,-13 0 15,0 0 1,0-1-16,-13 1 15,0 0-15,0 0 16,0 13-16,-1 0 31</inkml:trace>
  <inkml:trace contextRef="#ctx0" brushRef="#br0" timeOffset="140655.45">17634 7408 0,'14'27'15,"-14"-1"1,-14-13-16,-12 67 16,26-67-16,-26 27 15,26-27-15,-14 13 16,1-12-16,13-1 15,13-13 1,14-13 0,-14 13-16,0-14 0,0 14 15,14 0-15,-14-13 0,0 13 16,1 0-16,12 0 16,-13 13-16,1-13 0,-14 14 15,13-1-15,-26 13 16,-1-26-1,14 14-15,-13-14 0,0 13 0,0-13 16,-1 13-16,1 0 0,-27-13 16,27 14-16,0-14 0</inkml:trace>
  <inkml:trace contextRef="#ctx0" brushRef="#br0" timeOffset="141093.21">17238 7938 0,'66'0'16,"0"0"0,-13 0-16,39-14 0,-39 1 0,13 0 15,1 0-15,-14-1 16,13 1-16,-13 0 0,-14 0 0,14-1 15,-13-12-15,0 13 0,-1-14 0,-12 14 16,12-13-16,-12 12 0,26-39 16,-27 27-16,-13 0 0,1-14 15,12-13-15,-26 26 16,0 1-16,0-14 0,-13 1 0,0-1 16,-14 13-16,1-12 0,-54-41 15,28 54-15,-15 0 16,1-1-16,-13 14 0,13 0 0,-14 13 15,-65 0-15,79 13 0,-80 13 16,67 1-16,13-1 16,13 1-16,-13 12 0,-14 41 15,40-41-15,14 1 0,0 26 16,12-26-16,28-14 0,-14 1 16,13 13-16,0-14 0,0 0 0,14 1 15,-1-1-15,1-12 0,-1-1 16,-13 0-16</inkml:trace>
  <inkml:trace contextRef="#ctx0" brushRef="#br0" timeOffset="143624.34">17476 7990 0,'-93'0'16,"80"14"-16,-14-14 0,-12 13 16,-1 0-16,0 0 0,1 1 0,-1-1 15,-13 0-15,13 0 0,-13 0 16,-13 14-16,0-14 0,13 0 0,-79 27 15,53-27-15,12 14 0,1-14 16,-13 0-16,13 0 0,-14 1 16,-12-1-16,12 0 0,-12 0 15,12-13-15,-105 14 0,106-1 16,-14-13-16,-13 0 0,14 13 0,-1-13 16,1 0-16,-14 0 0,13 0 15,-13 0-15,14 0 0,-107 0 16,107 0-16,-14-13 0,13 13 0,-13 0 15,14 0-15,-1-13 0,1 13 16,-1-14-16,-13 14 0,14 0 16,-1 0-16,0-13 0,14 13 0,-14-13 15,14 13-15,-14-13 0,14 13 0,-14-14 16,14 14-16,0-13 0,-67 0 16,80 0-16,0 13 0,0-13 15,0-1-15,-1 14 0,1-13 16,13 13-16,14-13 0,-14 0 0,0 13 15,0-14-15,0 1 0,0 13 0,13-13 16,1 0-16,-14-1 0,-27 1 16,41 0-16,-1 0 0,14 13 15,-14-13-15,-13-1 0,13 14 16,14-13-16,-1 13 0,1 0 16,-1-13-16,-12 13 0,12 0 0,1-13 15,-14 13-15,-13 0 16,27-14-16,-1 14 0,1 0 0,13 0 15,-14 0-15,14 0 0,-13 0 16,12 0-16,1 0 0,0 0 0,-27 0 16,27 14-16,0-14 15,-1 0-15,1 0 0,0 0 16,0 0-16,0 0 0,-1 13 0,1-13 16,0 0-16,0 0 15,-1 0 1,1 13-16</inkml:trace>
  <inkml:trace contextRef="#ctx0" brushRef="#br0" timeOffset="144067.99">10808 7845 0,'-53'26'0,"40"-12"16,0-14-16,0 13 0,-1 0 0,1 0 0,0 1 16,0-1-16,-1 0 15,1-13-15,-13 26 0,-1 1 16,27-1-16,-13-12 0,13-1 15,13 0 1,-13 0-16,14-13 0,-1 27 16,0-14-16,13 0 0,-12-13 0,-1 13 15,0-13-15,14 14 0,-14-1 16,0-13-16,14 0 0,-14 13 0,0-13 16,13 13-16</inkml:trace>
  <inkml:trace contextRef="#ctx0" brushRef="#br0" timeOffset="155740.42">1072 2818 0,'0'-13'15,"0"-1"1,-14 14-16,1 0 16,0 0-16,0 0 15,-14 0 1,1 0-16,-1 14 0,1-14 0,13 0 16,-14 13-16,14-13 0,0 0 0,-1 0 15,1 13-15,0-13 0,0 0 16,0 13-16,-1-13 0,1 0 0,13 14 15,-13-14-15,0 0 0,13 13 16,-14-13-16,1 13 0,13 0 16,-13-13-16,13 13 0,-13 27 15,-1-27-15,1 1 16,13-1-16,-13 0 0,13 13 0,-13-12 16,13-1-16,-13 0 0,13 0 0,-14 1 15,14 12-15,0-13 0,-13 1 16,13-1-16,-13 0 0,13 0 0,0 0 15,0 1-15,-13 12 0,13-13 0,0 1 16,-14-1-16,14 13 0,0-12 16,0-1-16,-13 0 0,13 13 0,0-12 15,0-1-15,0 0 0,0 0 16,0 1-16,-13-1 0,13 0 0,0 0 16,0 0-16,0 1 0,0-1 0,0 0 15,-13 0-15,13 1 16,0-1-1,0 0-15,0 0 0,0 1 16,0 12 0,-14-13-16,14 0 15,0 1-15,0-1 32,0 0-17,0 0-15,0 1 16,0-1 15,0 0-15,0 0-16,0 1 31,0-1-15,0 0 15,0 0-16,0 0-15,0 1 32,0-1-17,0 0 17,0 0-17,0 1 16,0-1-15,0 0 0,0 0-1,0 1 1,0-1 15,0 0-31,0 0 16,0 0-16,0 1 0,0-1 15,14 13 1,-14 1 0,0-14-16,0 0 15,0 1-15,0-1 16,0 0-16,0 0 0,0 0 0,0 14 16,0-14-16,0 0 0,0 1 15,0-1-15,0 0 0,0 0 16,0 14-16,0-14 0,0 0 0,13 0 15,-13 1-15,0-1 16,0 0-16,0 0 0,0 1 0,0-1 16,0 0-16,0 27 0,13-27 15,-13 0-15,0 0 0,0 1 16,0-1-16,0 0 0,0 0 16,0 1-16,0-1 0,0 0 15,0 0 1,0 0-16,-13-13 0,13 14 15,0-1-15,0 0 0,0 0 16,0 1-16,0-1 16,0 0-16,-13-13 0,13 13 15,0 0-15,0 1 0,0-1 16,0 0-16,0 0 16,-14 1-16,14-1 0,0 0 15,0 0-15,0 1 0,0-1 16,0 0-16,0 0 0,-13 0 15,13 1-15,0-1 0,0 0 0,0 14 16,0-14-16,0 0 16,-13-13-16,13 13 0,0 1 15,0-1-15,0 0 0,0 0 0,-13 0 16,13 1-16,0-1 0,0 0 16,0 0-16,0 1 0,-13-1 0,13 0 15,0 0-15,-14 1 0,14-1 0,0 0 16,0 0-16,0 0 0,-13 1 15,13-1-15,0 13 0,-13-26 0,13 27 16,0-14-16,-13 14 0,13-14 16,0 0-16,-14 0 0,14 0 15,0 1-15,0-1 0,-13 13 16,13-12-16,-13-1 0,13 0 16,0 0-16,-13 0 0,13 14 15,-13-1-15,13-12 0,0 12 16,-14-13-16,14 1 15,0-1-15,-13 0 0,13 0 0,0 0 16,0 1-16,-13-1 0,13 0 0,0 14 16,-13-14-16,13 13 15,-14-12-15,14-1 0,0 13 16,-13-13-16,13 1 0,0-1 0,-13 0 16,13 0-16,0 14 15,0-14-15,-13 13 0,13-12 16,0-1-16,-14 0 0,14 0 0,0 1 15,0-1-15,0 0 0,-13 14 16,13-14-16,0 13 0,-13-13 16,13 14-16,0-14 0,0 0 15,0 1-15,0-1 0,-13 0 16,13 0-16,0 14 16,0-14-16,0 0 0,0 0 15,0 1-15,0-1 0,0 0 16,0 14-16,0-14 15,0 0-15,0 0 16,0 1-16,0-1 0,0 0 16,0 13-16,0 1 15,0-14-15,0 0 0,0 14 16,0-14-16,0 0 16,0 14-16,0-14 0,0 0 0,0 0 15,0 1-15,0-1 16,0 0-16,13 0 0,-13 14 0,0-14 15,0 0-15,0 14 0,0-14 16,0 0-16,0 0 16,0 1-16,13-1 0,-13 0 0,0 0 15,13 1-15,-13-1 16,0 0-16,14-13 0,-14 13 16,13 0-16,0 1 0,0-1 31,1 0-31,-1-13 15,0 0-15,-13 13 16,13-13-16,1 0 16,-1 14-16,0-14 15,13 13 1,1-13 0,-14 13-16,0 0 0,14 1 15,-1-14-15,1 13 16,-14 0-16,13-13 0,-12 13 15,12-13-15,1 13 0,65 14 16,-65-27-16,-1 13 16,27-13-1,-27 0-15,1 13 0,-1-13 0,14 0 16,0 14-16,-27-14 16,13 0-16,1 13 15,-14-13-15,0 0 16,-13 13-1</inkml:trace>
  <inkml:trace contextRef="#ctx0" brushRef="#br0" timeOffset="165116.49">198 8083 0</inkml:trace>
  <inkml:trace contextRef="#ctx0" brushRef="#br0" timeOffset="166207.26">331 7845 0,'-13'13'47,"13"0"-31,0 1 15,-14-14 47,14 13-78,-13-13 16,13 26-1,0-12 17,27-28 14,-14 1 48,-13 0-63,0 0-15,-13 13 0,13-14-1,-14 28 48,1-14-1,13 13-46,0 0-16,-13-13 156</inkml:trace>
  <inkml:trace contextRef="#ctx0" brushRef="#br0" timeOffset="185934.32">966 7832 0,'13'-14'0,"0"14"16,0-13 30,-13 26-30,0 1 0,0-1-1,0 0-15,-13 0 0,13 1 0,0 12 16,-13-13-16,13 1 16,0-1-16,-13 13 15,13-13-15,-14 1 16,14-1-16,0 0 0,0 0 15,-13 1 1,13-1 0,0 0 15,0 0-15,0 0 93,13-13-78,1 0-15,-1 0-1,0 0-15,-13 14 0,27-14 16,-1 0 0,-13 0-16,1 0 0,-1 0 15,0 0 1</inkml:trace>
  <inkml:trace contextRef="#ctx0" brushRef="#br0" timeOffset="186142">1045 8057 0,'-13'0'16,"39"-14"15,-12 14-16,-1 0-15,0-13 0,0 13 0,0 0 16,1 0-16,-1-13 0</inkml:trace>
  <inkml:trace contextRef="#ctx0" brushRef="#br0" timeOffset="186352.49">1045 7845 0,'13'-13'16,"1"-1"-1,25 14 1,-26 0-16,1 0 0,-1 0 0</inkml:trace>
  <inkml:trace contextRef="#ctx0" brushRef="#br0" timeOffset="187705.2">1019 7832 0,'0'26'31,"-14"27"-15,1-40-16,13 14 0,-13-1 15,0 1-15,13 12 0,-14-12 16,1-14-16,13 13 0,-13-12 0,13 12 15,-13 1-15,0-14 16,13 0-16,0 0 0,0 1 0,-14-14 16,14 13-16,0 0 15,14-39 17,-1-14-17,-13 27-15,13-14 16,0-13-16,0 14 0,1 0 0,-1-14 15,0 13-15,0 1 0,1 0 0,-1 12 16,0-12-16,-13 13 0,27-27 16,-14 40-16,-13-13 15,13 13-15,0 0 16,0 13 0,1 0-16,-14 0 0,0 1 15,0-1-15,13 0 0,-13 0 0,0 1 16,0-1-16,0 0 0,13-13 0,-13 13 15,0 0-15,0 1 0,13-14 16,1 0 0,12-14-1,-13 1-15,1 13 0,12-39 16,0 25-16,-12 1 0,-1 0 16,0 0-16,14-1 0,-27 1 0,13 13 15,0 0-15,14 0 16,-27 13-16,13 1 0,-13-1 15,0 0-15,0 0 0,0 14 0,0-14 16,0 13-16,0-12 0,0 12 16,0-13-16,-13 14 0,13-14 0,0 0 15,0 0-15,0 1 0,0-1 16,0 0-16,-14 0 0,28-13 16,-14 14-16</inkml:trace>
  <inkml:trace contextRef="#ctx0" brushRef="#br0" timeOffset="187941.17">1640 7858 0,'0'-13'0,"0"39"31,-13 14-16,13-13-15,0-14 0,-13 0 16,13 13-16,0-12 0,-13 12 16,13-13-16,0 14 0,-13-14 0,13 0 0,0 0 15,0 1-15,0-1 16,-14 0-16</inkml:trace>
  <inkml:trace contextRef="#ctx0" brushRef="#br0" timeOffset="188416.19">1614 7885 0,'0'0'0,"13"-14"0,0 14 0,-13-13 15,14 13-15,-1 0 16,0 0-16,0 13 16,1-13-16,-14 14 15,13-1-15,-13 0 0,-13 0 16,13 1-16,0-1 15,-14-13-15,14 13 0,0 0 16,0 0 0,14-13-1,-14 14-15,13-14 16,0 13-16,0 0 16,-13 0-1,0 1-15,13-14 0,-26 13 16,13 0-16,-13 0 0,0 0 15,13 1-15,-27-1 16,14 0-16,0 0 0,0 1 0,-1-14 16,1 13-16</inkml:trace>
  <inkml:trace contextRef="#ctx0" brushRef="#br0" timeOffset="188828.71">1812 7911 0,'27'-13'0,"-27"39"15,13-26 1,-13 14-16,0-1 0,0 0 0,0 0 16,-13 0-16,13 14 0,0-14 0,0 0 15,0 14-15,-13-14 0,13 13 16,0 1-16,-14-27 15,14 13-15,0 0 0,0-39 47,0 13-47,0-1 16,0 1-16,14-13 0,-14-1 16,0 14-16,13-13 0,-13-1 0,13 14 15,-13 0-15,13 0 0,-13-1 16,14 1-16,-1 13 15,0 0-15,0 0 0,0 13 16,-13 1-16,14-1 16,-1 0-16,-13 0 0,0 0 15,13 1-15,-13 12 16,0-13-16,0 1 0,13-1 16,-13 0-16,0 0 0,-13 0 15</inkml:trace>
  <inkml:trace contextRef="#ctx0" brushRef="#br0" timeOffset="189043.43">1812 8123 0,'14'-14'15,"-1"14"1,0-13-16,0 13 0,1 0 15,52-26 1,-40 26-16,-13-13 0,14 13 16,-1 0-16,1-14 0,-1 14 0,1 0 15,-14-13-15,0 13 0,14 0 16</inkml:trace>
  <inkml:trace contextRef="#ctx0" brushRef="#br0" timeOffset="189689.13">2368 7779 0,'-13'26'0,"13"-13"16,-13 14-16,-1-14 15,14 0-15,0 14 0,-13-14 16,13 14-16,-13-14 0,13 0 0,0 0 16,0 14-16,-13-14 0,13 0 15,0 0-15,13-13 16,0 0 0,14-13-1,-27 0-15,13 13 16,0 0-16,0 0 0,0 0 15,1 13 1,-1 0-16,-13 1 0,0-1 16,13-13-16,-13 13 0,0 0 0,0 0 15,13 1-15,-13-1 0,0 0 16,0 0-16,0 1 16</inkml:trace>
  <inkml:trace contextRef="#ctx0" brushRef="#br0" timeOffset="190026.47">2487 8017 0,'13'13'16,"-13"0"-16,14-13 0,-14 14 15,0-1-15,0 0 0,0 0 16,0 0-16,0 1 0,13-14 16,-13 13-16,0 0 0,13-26 47,0 0-32,0-27 1,1 27-16,-14 0 0,13-1 15,0 1 1,0 13-16,1-13 0,-1 13 16,0 0-16,0 0 0</inkml:trace>
  <inkml:trace contextRef="#ctx0" brushRef="#br0" timeOffset="190427.15">2818 8004 0,'0'-14'0,"-13"28"16,-1-14-1,14 13-15,-13 0 0,0-13 16,0 13-16,13 1 0,-14-14 0,14 13 16,-13 0-1,13 0-15,0 0 16,27-26 0,-14 13-1,0-13 1,0 0-1,1 26 1,-14 13 0,0-12-1,0-1 1</inkml:trace>
  <inkml:trace contextRef="#ctx0" brushRef="#br0" timeOffset="190962.26">3082 7818 0,'-26'40'15,"26"-13"-15,-13-14 0,13 0 0,0 0 16,-14 1-16,14-1 0,0 0 0,0 0 16,0 0-16,0 1 0,0-1 15,0 0-15,0 0 16,0 1-16,0-1 16,0 0-1,-13-13 16,0 0-15,0 0 0,0-13 15,-1 13-15,14 13-1,-13 0 16,0-13-31,0 13 16,13 1 0,-14 12-1,28-26-15,-14 13 16,13-13 0,0 0-16,0 0 15,1-13-15</inkml:trace>
  <inkml:trace contextRef="#ctx0" brushRef="#br0" timeOffset="191468.15">3215 8017 0,'0'-13'0,"13"-1"0,-13 1 32,0 0-1,-13 39 63,13-12-79,0-1 1,0 0-16,0 0 15,0 1-15,0-1 16,-14 0 0,14 0-1,-13-13 1,0 0-16,13 13 16,-13-13-16,0 0 0,-1 14 15,1-14-15</inkml:trace>
  <inkml:trace contextRef="#ctx0" brushRef="#br0" timeOffset="193121.24">1773 8520 0,'106'26'0,"-14"-13"15,1 0-15,52 1 16,-92-1 0,0-13-16,0 0 0,13 0 0,-13 0 15,0 0-15,26-13 0,93-1 16,-119 14-16,0-13 15,-13 13-15,13-13 0,0 0 0,-14 0 16,1 13-16,0-14 0,-1 1 16,1 0-16,-13 0 0,12-1 0,-12 1 15,26-13-15,-40 13 16,27-1-16,-14 1 0,14-27 16,-27 27-16,0 0 0,14 0 0,-14-14 15,0 14-15,0 0 16,1 0-16,-14-1 0,0 1 15,13-13-15,-13 12 0,0 1 16,0 0-16,-13 0 0,13-1 16,0 1-16,-14 0 0,14 0 15,-13 0-15,-13-14 0,12 14 16,1 0-16,0-1 0,0 1 16,-14-13-16,14 26 0,-13-13 15,-14-27-15,13 27 0,1-1 16,-14-12-16,14 13 0,-1-1 15,-39-12-15,27 13 0,12 0 16,-13-1-16,-26-12 0,27-1 16,12 14-16,-52-13 15,52 12-15,-12 1 0,12 13 0,-13-13 16,14 0-16,-14 0 0,14-1 0,-14 1 16,27 13-16,-40-26 15,27 26-15,-1-14 0,1 14 0,-1-13 16,1 13-16,-1-13 0,1 13 0,-1 0 15,-12 0-15,12-13 16,1 13-16,-1 0 0,14 0 16,-40 0-16,27 13 0,12-13 15,-12 0-15,13 0 0,-14 0 0,14 13 16,0-13-16,-14 0 0,14 0 16,0 13-16,0-13 0,-1 0 0,1 0 15,-13 14-15,13-14 16,-14 13-16,14-13 0,-14 0 15,1 13-15,13-13 16,-14 13-16,1-13 0,13 0 16,-1 0-16,1 14 0,-27-14 15,27 0-15,0 0 0,0 13 16,0-13-16,-14 0 0,1 0 16,12 0-16,-12 13 0,13-13 15,-14 0-15,14 0 0,-13 13 16,12-13-16,-12 0 0,13 13 0,-14-13 0,14 14 15,-14-14-15,14 13 0,-13-13 16,13 0-16,-1 13 0,-12-13 16,-1 13-16,14 1 0,0-14 15,-14 13-15,14 0 0,0-13 16,0 13-16,0-13 0,-1 14 16,1-1-16,0-13 0,0 13 15,-1-13-15,14 13 0,-13-13 16,-13 13-16,26 1 0,-14-14 15,1 13-15,0 0 0,0 0 16,0 1-16,-1-14 16,14 13-16,-13-13 0,13 13 0,-13-13 15,0 13-15,13 1 0,-14-14 16,1 13-16,0 0 0,13 0 16,-13 0-16,0 1 0,13-1 15,-14 0-15,1 14 0,13-14 16,0 0-16,-13 0 0,13 0 0,0 1 15,-13 12-15,13-13 16,0 1-16,0-1 0,0 0 0,0 0 0,0 14 16,0-14-16,13 13 0,-13 1 15,13 13-15,0-27 16,1 27-16,-1-27 0,0 0 16,0 13-16,0-12 0,1-1 15,-1 0-15,13 14 16,1-14-16,-14 0 0,13-13 0,-12 13 0,12 0 15,1-13-15,-1 14 0,1-1 16,-1-13-16,0 13 0,1-13 16,13 13-16,-1-13 0,1 14 0,0-14 15,-1 0-15,1 0 0,-13 13 16,12-13-16,-12 0 0,-1 0 0,1 0 16,-1 0-16,1 0 0,-14 0 0,13 0 15,1 0-15,-14 0 0,0 0 16,14 0-16,-14 0 0,0 0 0,0 0 15,0 0-15,1 0 0,-1 0 16,0 0-16,0 0 16,1 0-16,-1 13 15,0-13 1,0 0 15</inkml:trace>
  <inkml:trace contextRef="#ctx0" brushRef="#br0" timeOffset="194365.22">3664 8136 0,'27'-13'62,"-14"-1"-62,0 14 16,14 0-16,-14-13 0,14 13 0,-1 0 16,0 0-16,1-13 0,39 13 15,-39 0-15,-1-13 0,0 13 16,-12 0-16,12 0 0,-13 0 16,14 0-16,-14 0 0,0 0 0,1-13 15,-1 13-15,0 0 0,0 0 16,0-14-1,1 14-15</inkml:trace>
  <inkml:trace contextRef="#ctx0" brushRef="#br0" timeOffset="194682.2">4114 7898 0,'106'26'16,"-79"-12"0,-14-1-16,13 0 0,-13-13 15,27 26-15,-27 1 16,1-1-16,-1-12 0,-26 12 31,-1 0-31,14-12 0,-13-1 0,0 0 16,0 0-16,-1 1 0,14-1 15,-13-13-15,0 13 0,0 0 16,0 1-16</inkml:trace>
  <inkml:trace contextRef="#ctx0" brushRef="#br0" timeOffset="197127.82">4643 8440 0,'-52'0'15,"38"0"-15,1 13 0,0-13 0,0 0 16,-1 0-16,1 0 16,-13 0-16,-1 0 0,14 0 0,-40-13 15,27 13-15,-1 0 0,-13 0 16,14 0-16,0 0 0,-1 0 16,1 0-16,-1 0 0,1 0 0,-1 0 15,1 0-15,13 13 0,-14-13 16,14 0-16,0 0 15,-1 0-15,1 0 0</inkml:trace>
  <inkml:trace contextRef="#ctx0" brushRef="#br0" timeOffset="197745.24">4088 8295 0,'-53'26'16,"53"-13"-16,-13-13 0,-1 14 0,1-1 15,0 0-15,0-13 16,13 13-16,-13 1 0,-1-14 0,14 13 16,-13 0-16,0 0 0,13 0 15,-13 1 1,13-1-16,0 0 0,13 0 15,-13 1-15,13-14 16,0 26-16,1-26 16,12 26-16,-13-26 0,14 14 15,-14-1-15,0-13 0,14 13 16,-14 0-16,0-13 0,0 14 0,1-14 16,-14 13-16,26-13 0,-13 13 15,-13 0-15,13-13 16,1 14-16,-14-1 15</inkml:trace>
  <inkml:trace contextRef="#ctx0" brushRef="#br0" timeOffset="200633.09">4696 7779 0,'0'-13'15,"14"39"17,-1-26-17,-13 13-15,0 0 0,13 1 0,-13-1 16,0 0-16,0 0 16,0 1-16,13-1 0,-13 0 0,0 0 0,0 14 15,0-14-15,0 0 16,13 0-16,-13 1 0,0-1 15,0 0 1</inkml:trace>
  <inkml:trace contextRef="#ctx0" brushRef="#br0" timeOffset="201581.49">4683 7805 0,'-13'0'16,"26"-13"31,14 0-32,-14 0-15,13 13 16,-13 0-16,1 0 16,-1 0-16,0 0 15,0 26 1,-13-13-1,-13 14 1,13-14-16,0 0 16,-13 0-1,26 1 1,0-14 0,1 13-1,-1-13-15,0 0 0,0 13 16,1-13-16,-14 13 15,13-13-15,-13 14 16,13-1-16,-26 0 16,13 0-1,-27 14 1,14-27-16,0 13 0,0-13 16,-1 13-1</inkml:trace>
  <inkml:trace contextRef="#ctx0" brushRef="#br0" timeOffset="202086.53">4934 7766 0,'14'-14'16,"-1"14"-16,0 0 0,-13-13 15,13 13-15,14-13 16,-14 0-16,0 13 16,-13-14-16,14 14 15,-1 0 1,0 14-1,-13-1-15,0 0 16,0 0-16,13 1 16,-13-1-16,0 0 0,0 13 15,0-12-15,0-1 16,0 0-16,0 0 0,13 1 16,-13-1-16,14-13 15,-14 13-15</inkml:trace>
  <inkml:trace contextRef="#ctx0" brushRef="#br0" timeOffset="202437.45">5265 7858 0,'13'-13'16,"-13"-14"0,14 14-1,-14 0 1,-27 39 31,27-12-32,0-1-15,0 0 16,0 0-16,13 1 16,1-14-1,-1 0-15,0 0 16,0 0-16,1 0 0,-1-14 16</inkml:trace>
  <inkml:trace contextRef="#ctx0" brushRef="#br0" timeOffset="202970.46">5490 7620 0,'-13'26'31,"13"-12"-31,0-1 0,0 0 15,-13 0-15,13 1 0,0-1 16,0 0-16,0 0 0,-14 1 0,14 12 16,0-13-16,0 0 15,14-13-15,-14 14 16,0-1-16,0 0 16,13-13-1,0-13 1,0 13-1,1-13 1,-1 13 15,-13 13-15,13-13 0,-13 13-16,13-13 15</inkml:trace>
  <inkml:trace contextRef="#ctx0" brushRef="#br0" timeOffset="203654.23">5199 8043 0,'27'-13'15,"-14"13"1,40-13-1,-27 0-15,-13-1 0,14 14 0,-1-13 16,1 13-16,-14 0 0,13-13 0,-12 13 16,-1 0-16,0-13 15</inkml:trace>
  <inkml:trace contextRef="#ctx0" brushRef="#br0" timeOffset="203850.59">5292 8096 0,'0'0'0,"39"13"32,-39-26-32,27 13 0,-14 0 15,14 0-15,12-13 16,-12 13-16</inkml:trace>
  <inkml:trace contextRef="#ctx0" brushRef="#br0" timeOffset="205509.52">5212 8321 0,'-39'0'15,"25"13"-15,14 1 16,-13 12-16,13 1 16,0-14-16,-13 0 0,13 0 15,13 0-15,-13 1 16,0-1-16,13 0 0,1 0 16,-1-13-16,0 0 15,0 0-15,1 0 16,-1 0-16,0 0 0,0-13 15,0 13-15,1-13 0,-1 13 0,-13-13 0,13 13 16,0-14-16,1 1 16,-1 0-16,0 0 15,0 26 17,-13 0-17,14 0-15,-14 1 16,13-14-16,0 13 15,0-13-15,0 0 16,1 0-16,-1-13 0,0 13 0,0-14 16,1 1-1,-14 0-15,0 0 0,13 13 16,-26-27-16,13 14 16,-14 0-1,1 0-15,-13 26 16,12-13-1</inkml:trace>
  <inkml:trace contextRef="#ctx0" brushRef="#br0" timeOffset="205956.56">5556 8321 0,'13'13'0,"1"-13"0,-14 14 16,13-1-16,0-13 31,-13 13-15,13-13-16,1-13 15,12 0 1,-13-1-1,1 14 1,12 0 0,-13 0-1,0 0 1,1 14-16,-1-14 31,0-14 0,0 14-31,1 0 16,-1 0 0,0 0-1,0 14 1,1-14-16,-1 0 16,0 0-1</inkml:trace>
  <inkml:trace contextRef="#ctx0" brushRef="#br0" timeOffset="206510.44">5953 8268 0,'-13'27'16,"13"-14"-1,0 13 1,0-12 15,13-14-15,0-14-1,1 14 1,-1 0-16,0-13 16,0 13-16,14 13 15,-14-13 1,0 0 0,0 0-1,14 0 16,-14 0-31,0 0 16,1 0-16</inkml:trace>
  <inkml:trace contextRef="#ctx0" brushRef="#br0" timeOffset="206729.91">6257 8295 0,'0'13'15,"0"0"17,0 0-32,14-13 15,-1 0-15,0 0 0,0 0 16,1 0-16,-14-13 0</inkml:trace>
  <inkml:trace contextRef="#ctx0" brushRef="#br0" timeOffset="207798.24">5318 7316 0,'93'-14'0,"-67"14"16,14 0-16,-14 0 0,1 0 15,12 0-15,1 0 0,0 0 0,13 0 16,0 0-16,26 0 0,-39 0 16,-14 14-16,14-14 0,-14 0 15,1 13-15,-1-13 0,27 26 16,-26 1-16,-1-14 16,-26 0-16,13 14 0,1-1 15,-1 1-15,0 12 0,13 67 16,1-13-16,-14-40 15,0 0-15,14-14 16,-1 14-16,1-13 0,-1 13 0,-13-13 16,14-1-16,-1 14 0,1-26 0,-1 12 15,-12-12-15,12 12 0,14 14 16,-27-26-16,0-1 0,-13-12 16,13-1-16,-13 0 0,0 13 0,0-12 15,0-1-15,-13 0 0,13 0 16,-13 1-16,-14-1 0,14 0 0,-13 0 15,-1 0-15,1 1 0,-14-1 0,14 0 16,-1-13-16,1 13 16,-40-13-16,39 14 0,1-14 15,-14 13-15,14-13 0,-1 0 0,1 0 16</inkml:trace>
  <inkml:trace contextRef="#ctx0" brushRef="#br0" timeOffset="208569.26">6747 8467 0,'0'-14'16,"0"28"-16,13-14 31,-13 13-16,13 0-15,-13 27 16,14-1-16,-14-25 16,0 12-16,0 1 0,0-14 15,0 0-15,0 0 0,0 1 16,0-1-16,0 0 16,0 0-16,0 0 15,0-39 32,0-14-31,13 27-16,-13 0 15,13-40-15,-13 26 16,13 14-16,0-13 0,-13 13 0,14-14 16,-14 14-16,13 0 0,0 13 0,-13-14 15,13 14-15,-13-13 0,14 13 16,-1 13-16,0-13 0,-13 14 15,13-14-15,1 13 0,-14 0 16,13 0-16,0 14 16,-13-14-16,13 0 0,-13 0 0,13 1 15,-13-1-15,0 0 0,14 0 0,-14 1 16,0-1-16,13 0 16</inkml:trace>
  <inkml:trace contextRef="#ctx0" brushRef="#br0" timeOffset="208753.29">6892 8678 0,'27'-13'0,"-14"0"16,0 13-16,1 0 0,-1 0 0,0-13 15,0 13-15,14 0 0,-14-14 16,0 14-16</inkml:trace>
  <inkml:trace contextRef="#ctx0" brushRef="#br0" timeOffset="209038.33">7210 8506 0,'13'14'16,"0"-14"-16,-13 13 15,0 0-15,0 0 0,14-13 16,-14 13-16,0 1 16,0-1-16,0 0 0,0 0 15,-14 1 1,28-41 31,-1 1-32,0 12 1,0 1-16,0 0 16,1 0-1,-1 0-15,-13-1 0</inkml:trace>
  <inkml:trace contextRef="#ctx0" brushRef="#br0" timeOffset="209208.84">7435 8401 0,'13'-27'15,"-26"54"1,39-41-1,-26 28 1,0 12 0,0 27-1,0-27-15,13-12 0,-13-1 0,0 0 16,0 13-16,0-12 0,0-1 0,0 0 16,0 0-16,0 1 0,0-1 15,0 0-15</inkml:trace>
  <inkml:trace contextRef="#ctx0" brushRef="#br0" timeOffset="209619.66">7382 8639 0,'13'-14'0,"0"14"15,1 0-15,12-13 16,-13 13-16,0 0 0,1-13 16,-1 13-16,0-13 0,14-1 15,-14 14 1,-13-13-16,13 13 0,-13-13 16,13 13-1,1 0 1,-1 13-1,0 0-15,-13 1 16,13-14-16,-13 13 16,0 0-16,13 0 0,-13 1 15,0-1-15,14 0 0,-14 0 16,-14 1 0,14-1-16,-13 0 15,0-13 1,0 0-1</inkml:trace>
  <inkml:trace contextRef="#ctx0" brushRef="#br0" timeOffset="210297.1">7527 8083 0,'80'0'16,"-67"13"-16,0-13 0,0 13 15,14 1-15,-14-1 0,14 13 0,-1 1 16,1-1-16,-1 1 0,-13-1 0,14 1 16,-14 12-16,13 1 0,-12-13 15,-1 12-15,0-12 0,0 12 0,1 1 16,-1-14-16,-13 1 0,13-1 0,-13 1 15,13 13 1,-13-14-16,0 0 0,0-12 0,-13 12 16,13-13-16,-26 27 0,12-13 15,1-14-15,0 13 0,0-13 16,-27 14-16,27-14 0,-14 0 16,14 1-16,-13-14 0,-1 13 15,-13-13-15,1 13 0,-67-13 16,53 0-16,-13-13 0,0 13 0,-14-13 15,14-1-15,0 14 0,0-13 16,0 0-16,0-14 0,-1 14 16,14-13-16,1 13 0,12-14 0,-13-13 0,27 27 15,-1-13-15,-13-14 16,14 14-16,13-14 0,-14 13 0,1-26 16,13 14-16,13-1 15,0 27-15,0-14 16,13 1-16,0 0 0,0 12 15,14 1-15,-1-13 0,14 12 16,26-12-16,-13 13 0,-13-1 16,12 1-16,54-13 0,-53 26 15,0-13-15,0 13 0,-13 0 0,-1 0 16</inkml:trace>
  <inkml:trace contextRef="#ctx0" brushRef="#br0" timeOffset="-195148.4">4974 1283 0,'-13'0'16,"66"0"-16,-27 0 0,1 0 15,12 0-15,133-13 16,-105 0-16,-1 13 0,0-13 16,13-1-16,-13 14 0,14-13 0,-1 13 15,-13-13-15,133 0 16,-146-1-16,0 14 16,-14 0-16,1 0 0,-14-13 0,1 13 0,-14 0 15,14 0 1</inkml:trace>
  <inkml:trace contextRef="#ctx0" brushRef="#br0" timeOffset="-194792.6">5543 1376 0,'185'-27'0,"-132"14"0,0 13 0,0-13 0,13 13 0,0-13 16,0 13-16,1-14 16,-1 14-16,-13 0 0,-14-13 0,14 13 15,13 0-15,-39-13 0,-1 13 16,1 0-16,-14 0 15,0 0-15,0 0 0,1 0 0,-1 0 0,13 0 16,-12 0 0,-14-13-1,13 13-15</inkml:trace>
  <inkml:trace contextRef="#ctx0" brushRef="#br0" timeOffset="-181996.36">1707 10438 0,'436'-13'16,"-357"13"-16,146 0 15,-145-14-15,-27 14 0,13 0 16,-13 0-16,106 0 16,-40-13-1,-93 13-15,-13 0 0,0 0 0,1 0 16,-1 0-16,0 0 0,14 0 15</inkml:trace>
  <inkml:trace contextRef="#ctx0" brushRef="#br0" timeOffset="-181140.51">1336 11245 0,'27'-13'16,"12"13"0,-12 0-1,-1-14-15,14 14 0,-14 0 0,54 0 16,-27 0-16,92 0 15,-79 0-15,-13 0 16,0 0-16,0 14 0,0-14 0,40 0 16,-41 0-16,-12 0 15,-13 0-15,12 0 0,-12 0 0,-1 0 16,1 0-16,-1 13 0,-13-13 16,14 0-1,-14-13-15,0 13 0,1 0 16</inkml:trace>
  <inkml:trace contextRef="#ctx0" brushRef="#br0" timeOffset="-179244.42">9208 10544 0,'105'-14'15,"-52"1"-15,-13 13 0,13 0 0,0 0 0,0-13 16,26 13-16,146-13 16,-172 13-16,0 0 15,0 0-15,0 0 0,79 0 16,-106 0-16,41 13 15,-41-13-15,-13 13 16</inkml:trace>
  <inkml:trace contextRef="#ctx0" brushRef="#br0" timeOffset="-178952.19">9353 11073 0,'106'0'16,"-53"0"-16,0 0 0,26-13 0,0 13 16,1 13-16,-1-13 0,199 0 15,-185 0-15,171 13 16,-171-13-16,-14 13 15,1-13-15,-14 0 0,66 13 16,-79 1-16,-13-14 0,12 13 0,-12-13 16,26 13-1,-39-13-15,-14 13 0,0-13 0,0 0 0</inkml:trace>
  <inkml:trace contextRef="#ctx0" brushRef="#br0" timeOffset="-175907.2">1998 9300 0,'568'-13'0,"-488"13"0,-1-13 0,93-1 16,-79 14-16,-14 0 16,1-13-16,-1 13 0,0-13 15,40 13-15</inkml:trace>
  <inkml:trace contextRef="#ctx0" brushRef="#br0" timeOffset="-175662.65">2315 9538 0,'79'-13'0,"-26"13"0,14-13 0,171-27 16,-159 27-16,106 0 15,-92-1-15,-1 1 16,1 13-16,0-13 0,-14 13 0,172-27 16,-171 27-1,-1 0-15</inkml:trace>
  <inkml:trace contextRef="#ctx0" brushRef="#br0" timeOffset="-172656.86">22291 9499 0,'265'-14'16,"-212"14"-16,0 0 0,13 0 0,0 0 15,13 0-15,-13 0 0,146 27 16,-146-27-16,-13 13 0,0 0 15,79 14 1,-92-14-16,79 27 16,-92-14-16,-1-13 0,0 1 15,1 12-15,-1 53 16,-12-39-16,-14 0 0,0 13 16,-27 105-16,14-105 15,0 13-15,-14 106 16,14-105-16,13-1 0,0-13 15,0 119-15,13-119 16,-13 13-16,40 92 16,-27-118-16,0 13 0,1-13 15,-1-1-15,13 80 16,-13-79-16,14 40 16,-27-54-16,0 14 15,0-27-15,0 0 0,0 14 16,-13-14-16,13 0 0,-14 0 15,1 1-15,0-1 0,-53 26 16,26-39-16,-13 14 0,0-14 16,0 0-16,-39 0 0,-1-14 15,-449-65 1,198 39-16,172 14 0,-27 13 16,14-14-16,-13 14 0,-384-13 15,397 12-15</inkml:trace>
  <inkml:trace contextRef="#ctx0" brushRef="#br0" timeOffset="-171256.33">20069 10570 0,'-27'-13'0,"14"13"0,26-13 31,80-14-15,-27 14-1,0-13-15,13 12 0,1-12 0,-1 13 16,1-14-16,92-13 15,-93 14-15,0 13 0</inkml:trace>
  <inkml:trace contextRef="#ctx0" brushRef="#br0" timeOffset="-171022.72">19407 11443 0,'238'-79'0,"-13"-14"15,66 1 1</inkml:trace>
</inkml:ink>
</file>

<file path=ppt/ink/ink15.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35:30.151"/>
    </inkml:context>
    <inkml:brush xml:id="br0">
      <inkml:brushProperty name="width" value="0.05292" units="cm"/>
      <inkml:brushProperty name="height" value="0.05292" units="cm"/>
      <inkml:brushProperty name="color" value="#0070C0"/>
    </inkml:brush>
  </inkml:definitions>
  <inkml:trace contextRef="#ctx0" brushRef="#br0">14261 3664 0,'40'14'0,"-27"-14"0,27 13 0,-1-13 0,14 0 16,13 13-16,14-13 0,79 13 15,-67 1-15,146-1 0,-105-13 16,-1 13-16,278 0 15,-278 1-15,-13-1 0,14-13 16,158 26-16,-199-26 16,1 13-16,132 1 15,-172-14-15,0 13 0,-1-13 16,28 13 0,-67-13-16,27 0 15,-67 13 16,1-13-15</inkml:trace>
  <inkml:trace contextRef="#ctx0" brushRef="#br0" timeOffset="1046.08">1310 5702 0,'92'0'0,"-52"0"0,145 0 16,-92-13 0,-1 13-16,1 0 0,13 0 0,26 0 15,0-14-15,1 14 0,-27 0 0,-1 0 16,200 0 0,-200 0-16,-12 0 0,0 0 0,-14 0 15,0 0-15,107 14 16,-147-14-16,1 0 0,13 0 15,-40 0-15,14 0 0,-14 0 16,0 0 0,0 0-16</inkml:trace>
  <inkml:trace contextRef="#ctx0" brushRef="#br0" timeOffset="1989.97">5146 1019 0,'27'26'16,"-14"-13"-16,0 1 0,14 12 0,-14 0 15,40 41-15,-40-41 0,13 14 16,-12-14-16,12 1 0,-13-1 0,14 1 16,-14-1-16,0-13 0,0 14 15,-13-14-15,14 0 0,-1-13 0,-13 13 16,13-13-16,-13 14 0,13-14 0,1-14 31,-1-38-31,0 25 16,-13-26-16,13 13 0,-13-12 15,13-15-15,1-78 16,-14 92-16,13-26 16,-13 52-16,0 14 0,0 0 15,13-1-15,-13 1 16</inkml:trace>
  <inkml:trace contextRef="#ctx0" brushRef="#br0" timeOffset="2599.69">5887 992 0,'-53'27'0,"53"-14"15,0 0-15,-13 27 0,0-27 16,13 0-16,0 0 15,0 1-15,0-1 0,0 0 0,13 14 16,0-27 0,0 0-1,1-14-15,-1 14 16,-13-13-16,13 0 0,-13 0 0,13-1 16,-13 1-16,13 0 0,-13 0 15,14 0-15,-1-14 16,-13 14-16,0 0 15,26 13 1,-12 0-16,12 26 16,-26-13-16,13-13 15,0 53 1,1-53-16,-14 13 0,0 1 16,13-14-16,-13 13 0,0 0 31,0 0-31,13 1 15,-13-41 17,13 1-32,-13 12 15,14-12 1,-1 13-16,-13 0 16,13-1-16,-13 1 0,27 0 15,-27 0-15</inkml:trace>
  <inkml:trace contextRef="#ctx0" brushRef="#br0" timeOffset="2754.72">6257 926 0,'0'0'0,"14"13"31,-14 0-15,0 1-16,13 12 15,-13-13-15,0 1 0,0 12 16,0-13-16,-13 1 15,26-1-15,-13 0 0,0 0 16,0 0-16</inkml:trace>
  <inkml:trace contextRef="#ctx0" brushRef="#br0" timeOffset="3403.84">6641 886 0,'-26'14'0,"12"-1"0,1 13 15,0-13 16,13 1-31,0-1 16,13 0 0,14-39-1,-14 12 1,0 14 0,0 0-1,1 0-15,-1 14 31,-13-1-15,13 0-16,-13 0 16</inkml:trace>
  <inkml:trace contextRef="#ctx0" brushRef="#br0" timeOffset="3824.74">6839 582 0,'0'27'16,"-13"-27"0,13 26-16,0-13 0,0 0 0,0 14 15,0-14-15,0 14 0,0-14 16,0 13-16,0 1 0,0-14 0,0 13 15,0-12-15,0 25 0,0-25 16,0-1 0,0 0-16,0 0 15,27-26 1,-14 13 0,0 0-16,0 0 0,1 0 0,-1 0 15,0 0-15,14 13 16,-14 0-16,0-13 15,0 14-15,-13-1 16,-13 0-16,13 0 16,-26 27-1,12-40-15,14 13 0,-13-13 0,0 0 16,13 14-16,-13-14 16,-1-14-16</inkml:trace>
  <inkml:trace contextRef="#ctx0" brushRef="#br0" timeOffset="4060.96">7091 489 0,'13'27'31,"-26"13"-31,13-27 16,0 0-16,0 14 0,0-1 0,0-13 15,0 14-15,0-14 0,0 13 16,0-12-16,0 12 0,0-13 0,0 1 16,0-1-16,0 0 0,0 0 15,13 14-15,-13-14 0,13 13 32</inkml:trace>
  <inkml:trace contextRef="#ctx0" brushRef="#br0" timeOffset="4397.14">7369 952 0,'26'-39'0,"14"-1"15,-27 0 1,0 27-16,-13 0 0,0 0 16,13-14-1,-26 27 1,-13 14-16,-1 12 16,14-13-16,0-13 15,13 13-15,0 1 0,-13-1 16,39 13-1,-13-12-15,27-14 16,-27 0 0,0 0-16</inkml:trace>
  <inkml:trace contextRef="#ctx0" brushRef="#br0" timeOffset="5552.87">3254 516 0,'-26'0'0,"-1"0"15,14 0-15,0 0 0,0 13 0,-40 0 16,40 1-16,-1-14 16,1 13-16,13 0 0,-13 0 15,0 1-15,13 12 16,13-13-16,-13 0 0,13-13 15,27 27 1,-14-14-16,-12-13 0,12 13 16,-13-13-16,14 14 0,-1-14 0,1 13 15,-14-13-15,13 0 0,-12 13 16,25 14-16,-26-27 16,-13 13-16,14 0 0,-14 0 15,-14 0-15,14 1 0,-13-1 16,-13 27-16,13-27 15,-1 0-15,1 0 0,-13 0 16,12-13-16,1 0 0,0 0 16,0 0-16,-14 0 15,27-13 1</inkml:trace>
  <inkml:trace contextRef="#ctx0" brushRef="#br0" timeOffset="5782.09">3440 437 0,'13'0'15,"0"0"1,0 52 0,0-38-16,-13 12 0,14 1 0,-1-1 15,0 1-15,-13-1 16,13 27-16,1-27 0,-14-12 0,13 12 15,-13-13-15,13 1 0,0 25 16,-13-26-16,14 1 16,-14-1-16</inkml:trace>
  <inkml:trace contextRef="#ctx0" brushRef="#br0" timeOffset="5986.94">3479 754 0,'-13'0'0,"26"-26"16,0 12-1,1 14-15,-1-13 16,0 13-16,14-13 0,-14 13 16,53-27-1,-40 14-15,-12 13 0,12 0 0,27-13 16,-26 0-1</inkml:trace>
  <inkml:trace contextRef="#ctx0" brushRef="#br0" timeOffset="6695.03">3916 542 0,'-27'0'16,"54"0"-16,-67 0 0,27 14 0,0-1 16,-1 0-16,1 0 15,0 40 1,0-40-16,0 14 0,13-14 16,0 0-1,0 1-15,13-1 0,0-13 16,0-13-1,0 13-15,1-14 16,-1 1-16,0 13 16,0-13-16,1 13 15,-14-13 1,13 26 0,0-13-16,0 13 15,1-13 1,12 0-1,-13 0-15,0-13 0,1 0 16,12-27 0,-13 27-16,1 0 0,-14-1 15,26-52 1,-26 40-16,0 12 0,0-12 0,13 0 16,-13 12-16,0 1 0,0 0 15,0-27-15,0 27 16,0 39 15,0 14-15,0-27-16,0 1 15,14 12-15,-14 0 16,13-12-16,-13-1 16,13 0-16,0-13 0,0 0 15,14 0 1,-1-13-1,-12 13-15,-1 0 16,0 0-16,0 0 16,0 0-16,-13 13 15,14-13-15,-14 13 16,13-13 0,-13 14-16</inkml:trace>
  <inkml:trace contextRef="#ctx0" brushRef="#br0" timeOffset="7007.6">4061 437 0,'-13'0'0,"40"-14"16,-1 14-1,-13 0-15,1 0 0,-1 0 16,0 0-16</inkml:trace>
  <inkml:trace contextRef="#ctx0" brushRef="#br0" timeOffset="7287.18">4471 384 0,'-26'13'16,"39"0"-1,0 0 1,1 1-16,-1-14 0,-13 13 0,40 13 16,-40-13-16,13-13 15,0 27-15,0-27 16,-13 13-16,0 0 0,0 1 15,-13-1-15,0 0 16,0 0 0,-1-13-1,1 0-15</inkml:trace>
  <inkml:trace contextRef="#ctx0" brushRef="#br0" timeOffset="7520.04">4657 251 0,'13'-13'0,"0"26"16,-13 1-16,13-1 15,1 27-15,-14-14 16,13-13-16,-13 0 0,26 27 15,-26-13-15,0-14 16,13 13-16,-13-13 16</inkml:trace>
  <inkml:trace contextRef="#ctx0" brushRef="#br0" timeOffset="7860.69">4710 423 0,'13'-13'16,"13"0"-16,1 0 16,-14 13-1,13-14 1,-12 1-16,-1 13 0,0-13 15,0 0-15,1 13 16,-1 0 0,0 0-1,-13 13-15,13 0 16,-13 0 0,13 14-1,-13-1 1,0-12-1</inkml:trace>
  <inkml:trace contextRef="#ctx0" brushRef="#br0" timeOffset="8021.24">4974 304 0,'0'0'0,"-13"-13"0</inkml:trace>
  <inkml:trace contextRef="#ctx0" brushRef="#br0" timeOffset="8418.71">5106 251 0,'-26'27'15,"26"-14"-15,-13-13 0,13 13 16,0 1-16,0-1 0,0 0 15,13 0 1,0-13-16,0 0 16,14 0-16,-14 0 15,14-13 1,-14 13-16,0 0 0,14-13 16,-14 13-16,0 0 0,0 0 15,14 0 1,-14 13-16,0 0 15,0-13-15,-13 13 0,0 1 16,0-1 0,-13-13-16,13 13 0,-13 0 0,0 1 15,-1-1-15,1-13 0</inkml:trace>
  <inkml:trace contextRef="#ctx0" brushRef="#br0" timeOffset="8710.78">4008 952 0,'0'0'0,"80"-26"0,-40 13 16,12-14-16,1-12 0,13 12 0,1 1 15,-1-14-15,13 0 0,133-65 16,-146 78-16,0 14 16,0-14-16,-13 1 0,53-1 15,-66 27-15,-14-13 0,40 13 16,-66-13 0,14 13-16,-14 13 15</inkml:trace>
  <inkml:trace contextRef="#ctx0" brushRef="#br0" timeOffset="8955.82">4286 979 0,'119'-27'0,"-66"14"0,-225 53 16,450-119-16,-212 52 0,-13 14 0,119-53 16,-79 26-1,-54 27-15,1 0 0,0-1 16,-14 14-16,-13-13 0,1 13 0,25-13 16,-39 0-1</inkml:trace>
  <inkml:trace contextRef="#ctx0" brushRef="#br0" timeOffset="11643.48">5861 1574 0,'13'-13'16,"0"0"-16,13 13 0,1-13 0,132-27 16,-27 13-1,-66 14-15,0 0 0,0 0 16,1 0-16,-1-1 0,119-25 15,-145 25-15,12 1 16,-12 0-16,0 13 0,0-13 0,-27 13 16</inkml:trace>
  <inkml:trace contextRef="#ctx0" brushRef="#br0" timeOffset="11857.92">6191 1640 0,'40'0'15,"53"-26"1,-54 26-16,14-13 16,-13 0-16,26-1 0,-13 1 15,-13 0-15,26 0 0,66-27 16,-92 27-16</inkml:trace>
  <inkml:trace contextRef="#ctx0" brushRef="#br0" timeOffset="22983.18">12091 11311 0,'-39'0'0,"12"0"15,14 0-15,-40 13 16,40-13-16,-14 0 15,14 13-15,0-13 0,0 14 16,13-1-16,0 0 16,39 14-1,-25-27-15,-1 13 0,13 0 16,-12 0-16,12 0 0,27 14 16,-13-1-16,-14-12 0,1 12 15,-14-13-15,13 14 0,1 26 16,-14-27-16,-13 14 15,0-27-15,0 14 0,-13-14 16,0 13-16,-1 1 0,-12-1 0,-1-13 16,-26 27-1,27-27-15,13 0 0,-40 1 16,40-14-16,-14 13 0,14-13 0,0 0 16,-1 0-16,-12 0 15,13 0-15,0-13 16,26-1-16</inkml:trace>
  <inkml:trace contextRef="#ctx0" brushRef="#br0" timeOffset="23234.84">12554 11298 0,'14'13'15,"-1"13"1,-26 1-16,13-1 16,0 1-16,0 12 0,-14 1 0,1 66 15,13-66-15,0-14 16,-13 27-16,13-26 16,-13-1-16,13 0 0,0-12 0,-13 39 15,13-40-15,0 0 16</inkml:trace>
  <inkml:trace contextRef="#ctx0" brushRef="#br0" timeOffset="23482.13">12382 11681 0,'67'-26'0,"-54"26"0,13 0 15,54-13 1,-54 13-16,14 0 0,0-14 0,-14 14 16,40 0-16,-39-13 15,12 13-15,-12 0 0,52 0 16,-52 0-16,-14 0 0</inkml:trace>
  <inkml:trace contextRef="#ctx0" brushRef="#br0" timeOffset="24000.84">13044 11655 0,'0'0'0,"-26"13"31,-1 0-16,14 1 1,0-14-16,13 13 0,-14 0 0,1 0 0,0 1 16,13-1-16,-13 0 15,13 0-15,0 0 16,13-13-16,0 0 16,0 0-16,1-13 0,12 0 15,1 0-15,-14 13 16,26-40-16,-25 27 15,-1 0-15,0 13 16,-13-14-16,13 14 0,1 0 16,-1 14-1,-13-1 1,0 0-16,0 14 16,0-14-16,13 0 15,-13 0-15,0 0 16,0 1-1,13-14-15</inkml:trace>
  <inkml:trace contextRef="#ctx0" brushRef="#br0" timeOffset="24431.24">13520 11311 0,'13'-13'0,"-26"26"0,26-40 16,-26 54 15,0-1-31,-13 41 16,12-28 0,1-12-16,0 12 0,0-12 0,-1 13 15,-12 39 1,26-53-16,-13-12 0,13 12 15,0-13-15,0 1 0,13-1 0,-13 0 16,13-13 0,14 0-16,12-13 15,-25 0-15,12-1 0,-13 1 16,14 0-16,-14 0 0,0-1 0,0 1 16,1 13-16,-1-13 0,0 13 15,0 0 1,0 13-1,-13 0-15,-13 14 16,13-14-16,0 0 16,-13 1-1,13-1-15</inkml:trace>
  <inkml:trace contextRef="#ctx0" brushRef="#br0" timeOffset="24584.79">13824 11404 0,'0'-14'16</inkml:trace>
  <inkml:trace contextRef="#ctx0" brushRef="#br0" timeOffset="24805.76">13441 11456 0,'-13'0'0,"52"0"31,-39-13-15,40 13-1,-27 0-15,0 0 0,1 0 0,-1 0 16,0 0-16,0 13 0</inkml:trace>
  <inkml:trace contextRef="#ctx0" brushRef="#br0" timeOffset="25847.8">14023 11589 0,'-93'0'0,"80"0"0,13 13 16,-13-13-16,13 13 15,13 0-15,0 1 16,1 12 0,-1-26-16,0 13 0,-13 1 15,13-1 1,0 0-16,-13 0 0,-13 14 15,-13-14 1,13 0-16,-14-13 0,14 13 16,-53 14-16,52-27 15,1 13-15,0-13 0,-27 0 16,27 0-16,13-26 31,13 26-31</inkml:trace>
  <inkml:trace contextRef="#ctx0" brushRef="#br0" timeOffset="26151.76">14327 11245 0,'13'-13'0,"-26"26"16,26-40-16,-13 54 31,-13 26-16,0-27-15,0 1 0,-14 39 16,14-27-16,0 1 0,0-13 16,13 12-16,-40 54 15,40-80-15,-13 14 0,13-14 16,0 13-16,0-12 0,-14 25 16,28-26-16,-14 1 0,0-1 15,0 0-15,13-13 0,-13 13 16,26-13-1,-12 14-15,-1-14 16,13-14 0,-12 14-16</inkml:trace>
  <inkml:trace contextRef="#ctx0" brushRef="#br0" timeOffset="26506.76">14089 11628 0,'40'0'31,"13"0"-15,-40 0 0,13-13-16,-12 13 0,12 0 15,-13 0-15,14-13 0,39 0 16,-53 13-16,0 0 0,14-13 15,-14 13-15,0 0 16,0 0 0,1 0-16,-14 13 15,13-13-15,-13 26 16,0-13-16,-13 1 16,13-1-16,-14 13 15,14-12-15,0-1 0,-13 13 16,0-12-16,13-1 15,0 0 1</inkml:trace>
  <inkml:trace contextRef="#ctx0" brushRef="#br0" timeOffset="26632.24">14552 11483 0,'-13'-13'16</inkml:trace>
  <inkml:trace contextRef="#ctx0" brushRef="#br0" timeOffset="27238.76">14843 11483 0,'-66'13'15,"53"-13"-15,0 13 0,-27 14 16,27-27-16,-1 13 15,14 0-15,-13 1 0,0-1 16,13 0 0,0 0-16,0 0 0,0 1 15,13-14 1,0 0-16,-13 13 0,14-13 16,25-13-1,-25 13-15,-1 0 0,0-14 0,0 14 16,0 0-16,1-13 0,-1 0 15,0 13-15,0 0 0,1-13 16,-1 13-16,0-13 16,0 13-1,0 0 1,1 0 0,-1 0-1,-13 13 1,13-13-16,0 13 15,-13 0 1,0 0-16,14 1 16,-28 12-16,14-13 15,0 1 1,-13-1-16,13 0 0,-13-13 0,0 13 0,-1 1 16,1-14-16,-13 26 15,13-26-15,-1 13 0,-12-13 16,13 0-1</inkml:trace>
  <inkml:trace contextRef="#ctx0" brushRef="#br0" timeOffset="28227.86">14235 10848 0,'13'-27'31,"27"-25"-15,-27 25-16,0-13 0,53-39 15,-39 26-15,-1 13 0,53-65 16,-39 52 0,0 0-16,-1-13 0,1 13 0,0-27 0,13 14 15,-14 0-15,14-13 0,-13 12 0,13-12 16,0 0-16,92-146 15,-92 159-15,-13-14 0,0 27 16,-1-13-16,1 13 0,13-26 0,-13 26 16,79-106-1,-66 106-15,-14 0 0,1 1 16,0-1-16,-1 13 0,1-13 0,-13 0 0,12 13 16,80-92-1,-92 92-15,12 1 16,-12-1-16,-1 14 0,1-1 0,-14 1 0,13-1 15,-12 1-15,-1-1 0,0 14 16,0-27 0,1 27-16,-14 0 0,13 0 0,-13 0 15,13-1-15,-13 1 16,13 0 0,-13 0-16,14-1 15,-14 1 16,0 0 1,13 13-1,-40 0 16</inkml:trace>
  <inkml:trace contextRef="#ctx0" brushRef="#br0" timeOffset="29001.84">16338 7792 0,'-40'26'0,"14"1"16,-1-1-1,14-12-15,0-1 0,0 0 0,-14 0 16,14 1-16,-27 25 16,27-26-16,-13 14 15,12-27-15,1 13 16,0 0-16,0 1 16,0-14-1,13 13-15,-14-13 16,41-13 46,-14 13-46,0-14 0,0 1-1,1 13-15,12-26 16,-13 12-1,1 1-15,-1 0 0,0 0 16,-13 0-16,13-1 0,27-12 16,-27 13-1,0-1-15,1 14 0,-14-13 0,13 13 16,0-13-16,0 13 16,1 0-1,-1 0-15,0 0 0,0 13 16,0 0-16,27 14 15,-40-14-15,27 14 16,-14-14-16,0-13 16,0 13-16,1 0 0,25 27 15,-26-27-15,14 0 16,-14 1 15,0-14-31,-13 13 16,14-13-1,-14 13-15</inkml:trace>
  <inkml:trace contextRef="#ctx0" brushRef="#br0" timeOffset="30488.17">10967 11443 0,'0'-13'16,"0"0"-1,0 0-15,-13 13 0,13-14 16,-13 1-16,-1 13 16,1-13-16,0 0 0,0-1 0,-14 1 0,1 0 15,-1-14-15,1 14 16,-14-13-16,14 13 0,-14-14 0,0 1 16,1-1-16,-14 1 0,13-1 0,-13 1 15,13-1-15,-13 1 0,1-1 16,-1 1-16,0 0 0,0-1 0,0 1 15,-13-14-15,13 13 0,0 1 0,0-14 16,0 14-16,-66-40 16,53 26-16,13 0 0,-13 1 0,-14-1 15,14 0-15,0 14 0,0-14 16,13 0-16,-13 1 0,-13-14 0,12 13 16,-12-13-16,13 14 0,-14-1 15,1-13-15,26 13 0,-13 1 0,13-1 16,-13 0-16,13-13 0,-26 14 15,13-14-15,-1 0 0,-12 0 0,26 13 16,0 0-16,0 1 0,0-14 0,0 13 16,1 0-16,-1 1 0,0-1 15,0 0-15,-53-52 16,53 52-16,0 0 0,0 1 0,13-1 0,-12 14 16,-1-14-16,13 0 0,-13 1 15,13 12-15,-79-66 16,93 80-16,-1-13 0,1-1 15,-14 14-15,14-13 0,-1 12 0,14-12 16,0 13-16,-14-1 0,14 14 16,0-13-16,13 0 0,-13 13 0,0-13 15,-1 13-15,14-13 16,-13 13-16,13 13 78,13 0-62,1 0 46</inkml:trace>
  <inkml:trace contextRef="#ctx0" brushRef="#br0" timeOffset="31075.64">6734 8811 0,'0'-14'16,"-14"1"0,-12-13-1,13-14 1,13 27-16,-13 0 15,13-40 1,-14 39-16,14 1 0,0 0 16,0 0-16,0-1 0,0 1 15,0 0-15,0 0 0,0 0 32,14-1-17,-1 28 1,0-14-16,0 0 0,0 0 15,1 13-15,-1-13 0,0 0 0,14 0 16,-14 13-16,13-13 0,1 0 0,-1 0 16,-13 0-16,27 0 15,-13 0-15,-1 0 0,14 13 0,-14-13 0,1 0 16,-1 0-16,1 0 0,-14 13 16,0-13-16</inkml:trace>
</inkml:ink>
</file>

<file path=ppt/ink/ink16.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41:52.026"/>
    </inkml:context>
    <inkml:brush xml:id="br0">
      <inkml:brushProperty name="width" value="0.05292" units="cm"/>
      <inkml:brushProperty name="height" value="0.05292" units="cm"/>
      <inkml:brushProperty name="color" value="#0070C0"/>
    </inkml:brush>
  </inkml:definitions>
  <inkml:trace contextRef="#ctx0" brushRef="#br0">3241 10610 0,'-13'159'0,"0"-146"0,13 0 15,0 27 1,-14-40-16,14 13 15,0 0-15,0 0 0</inkml:trace>
  <inkml:trace contextRef="#ctx0" brushRef="#br0" timeOffset="428.52">3201 10504 0,'40'-13'16,"-13"13"-16,-14 13 16,27 13-1,-27-12-15,-13 12 16,0-13-16,-13 27 15,-1-27 1,1 14 0,0-14-16,0-13 0,13 13 15,-14-13 1</inkml:trace>
  <inkml:trace contextRef="#ctx0" brushRef="#br0" timeOffset="1068.65">3506 10610 0,'-27'-13'16,"1"26"-1,13 0-15,-1 27 16,14-27-1,0 0-15,0 0 0,0 27 16,27 0 0,-14-14-1,27-13 1,-27-13 0,13-13-16,-12 0 15,-14 0-15,0 0 0,0-14 16,0 14-16,0-27 15,-14 40-15,14-13 16,-13 0-16,13-1 0,-13 1 16,0 0-1,-1 13 1,1 0-16</inkml:trace>
  <inkml:trace contextRef="#ctx0" brushRef="#br0" timeOffset="1549.66">3598 10517 0,'0'-13'0,"0"39"32,14 27-17,-14-39-15,0 38 0,13-25 16,-13-1-16,0 1 0,0-1 0,0 27 15,0-26 1,0-14-16,0 13 0,0 1 0,0-14 0,0 0 16,0 14-1,0-14-15,0 0 16,0 0-16,0-39 31,0-14-15,0 14-16,13-1 15,-13 1-15,0-1 0,13-12 16,-13 26-16,13-1 0,-13 1 16,0 0-16,14 0 0,-14-1 0,13 1 15,0 0-15,0 13 16,14 0 0,-14 0-16,0 13 15,-13 0 1,-26 27-1,13-27-15,-1 1 16,-12-1 0,13 0-16</inkml:trace>
  <inkml:trace contextRef="#ctx0" brushRef="#br0" timeOffset="2115.69">3929 10597 0,'-13'-14'0,"0"28"16,13-1-16,-14 0 15,14 0-15,0 14 16,0-14 0,14 13-1,-14-12-15,13-14 0,0 0 16,0 0-16,14-27 16,-14 14-1,0-14 1,0 14-16,1 13 15,-14-13-15,13 0 16,-13 39 0,13-26-1,-13 13-15,0 1 0,0-1 16,0 0-16,0 0 0,0 1 16,0 12-1,0-13-15,0 1 16,13-14-16,-13 13 15</inkml:trace>
  <inkml:trace contextRef="#ctx0" brushRef="#br0" timeOffset="2552.07">4260 10372 0,'-13'26'15,"26"-13"-15,-13 14 0,0-1 16,0-12-16,0 12 0,0-13 0,0 53 15,0-52 1,0 12-16,0-13 0,0 0 0,-13 27 16,13-27-16,0 1 15,13-1-15</inkml:trace>
  <inkml:trace contextRef="#ctx0" brushRef="#br0" timeOffset="2933.65">4445 10610 0,'0'-27'16,"-13"27"-16,0 0 16,-1 0-1,-12 14 1,26-1-16,-27 13 15,27 1 1,0-14-16,0 0 16,0 0-16,14-13 15,-1 0 1,0-13-16,0 13 0,1 0 16,-1-13-1,0 13-15,-13-13 16,13 26-1,-13 0 1,0 0-16,0 1 16,0-1-1,13 0-15,1-13 16</inkml:trace>
  <inkml:trace contextRef="#ctx0" brushRef="#br0" timeOffset="3148.52">4710 10411 0,'13'-39'0,"-26"78"0,39-92 0,-26 40 16,0 0-1,0 53 1,0 13 0,0-40-1,0 13-15,-13 1 0,13-1 16,0 1-16,0-1 0,-13-13 0,13 14 0,0-14 15,0 0-15,0 27 16,0-27-16,0 0 16</inkml:trace>
  <inkml:trace contextRef="#ctx0" brushRef="#br0" timeOffset="3480.33">4630 10610 0,'0'-13'16,"13"13"15,14-14-31,-14 14 16,0 0-16,1-13 0,-1 13 15,0 0-15,0-13 0,0 13 0,1 0 16,-14-13-16,13 13 0,0-14 15,0 14-15,1 0 16,-1 0-16,-13 27 31,0-14-31,0 14 16,0-14-16,0 0 0,0 0 16,0 0-16,0 1 15,0-1-15,0 0 16,0 0-16</inkml:trace>
  <inkml:trace contextRef="#ctx0" brushRef="#br0" timeOffset="3643.65">4921 10385 0,'-13'0'16,"0"13"0</inkml:trace>
  <inkml:trace contextRef="#ctx0" brushRef="#br0" timeOffset="4172.38">5054 10517 0,'0'0'0,"-14"0"0,1 13 15,0-13-15,13 14 16,-13-1-16,-1 13 16,1 1-1,13-14 1,13 0 0,40-52 30,-53 25-46,0 1 0,14-13 16,-1 12-16,-13 1 31,13 26-15,0 1 0,0-1-1,-13 0 1,27-13-16,-14 13 15,0-13 1,1 0-16,-1 0 16,0 0-16,0 0 0</inkml:trace>
  <inkml:trace contextRef="#ctx0" brushRef="#br0" timeOffset="4469.58">3638 11033 0,'-13'0'0,"52"-13"0,-25 0 16,12 13-16,67-14 15,-40 14-15,-14-13 0,14 13 0,0 0 16,13-13-16,93 0 16,-106 0-16,0 13 0,0-14 15,0 14-15,-14-13 0,1 13 16,0-13-16,-14 13 0,1 0 0,-14 0 16,0-13-16,14 13 15,-14 0-15</inkml:trace>
  <inkml:trace contextRef="#ctx0" brushRef="#br0" timeOffset="4724.37">4167 11086 0,'40'0'31,"-27"0"-31,0 0 0,1 0 0,12-13 16,0 13-16,-12 0 0,12 0 16,67-13-16,-40-1 15,-27 1-15,1 13 0,-1 0 16,1-13-16,-1 13 0,14-13 16,-27 13-16,40 0 15,-40-14-15,0 14 0,0 0 16</inkml:trace>
  <inkml:trace contextRef="#ctx0" brushRef="#br0" timeOffset="6132.38">9591 8493 0,'-13'27'15,"0"25"-15,-14-12 16,14 13-16,-40 53 0,13-40 16,14 0-16,-27 14 0,0-1 0,-39 80 15,52-93-15,0 0 16,-66 106 0,80-119-16,13-13 0,-14-1 0,14 1 15,0-14-15,-14 14 16,27-27-16,0 1 0</inkml:trace>
  <inkml:trace contextRef="#ctx0" brushRef="#br0" timeOffset="6707.79">9710 8427 0,'53'53'15,"0"26"1,-13-26-16,-1 0 0,14 26 0,0 1 0,106 158 31,-106-145-31,13-14 0,-13 14 0,66 65 16,-66-78-16,0-1 0,0-13 15,-14 0-15,81 93 16,-94-106-16,14 0 0,26 66 16,-53-79-16,0-14 15</inkml:trace>
  <inkml:trace contextRef="#ctx0" brushRef="#br0" timeOffset="11007.53">9565 8533 0,'13'-13'62,"-13"-1"-30,13 1-17,-13 0-15,13 0 16,-13-1 0,14 14-16,-14-13 15,13 0-15,0 0 16,-13 0-1,13 13 1,-13-14-16,14 28 31,-1-14-15,0 13-16,0-13 16,0 13-1,14 0 1,-14 0-16,0-13 15,1 14-15,-1-14 0,0 13 0,0 0 16</inkml:trace>
  <inkml:trace contextRef="#ctx0" brushRef="#br0" timeOffset="12892.86">7964 10610 0,'13'-13'0,"-26"52"46,13-12-30,0-14-16,0 0 16,0 14-1,-13-1-15,13-13 16,13-13 0,0-13-1,0 0 1,1 0-16,-1 13 15,13-27-15,-26 14 16,14 13-16,-1-13 0,0 13 16,0 0-1,0 0-15,1 0 0,-1 13 16,-13 0-16,0 0 16,13 1-16,-13-1 15,0 0 1,27-26 31,-14 0-32,0-1-15,14 1 16,-14 13-16,0 0 16,0 0-1,0 0-15,1 13 16,-14 1-16,13-14 15,-13 13-15,0 0 0,13-13 16,0 13 0</inkml:trace>
  <inkml:trace contextRef="#ctx0" brushRef="#br0" timeOffset="13352.9">8493 10636 0,'-26'0'32,"26"13"-32,-14-13 0,1 14 15,13-1 1,-13 0-16,13 0 16,13-13 15,0 0-16,1-13-15,-1 13 16,0-13 0,0 26-1,-13 0 1,0 1 0,0 12-1,0-13 1</inkml:trace>
  <inkml:trace contextRef="#ctx0" brushRef="#br0" timeOffset="13656.56">8718 10464 0,'-13'27'31,"0"12"-15,13-12-16,-14-14 0,1 40 16,0-40-1,13 14-15,-13-1 0,-1-13 16,14 1-16,0-1 0,0 0 0,-13 0 15,13 1-15,0-1 16,-13 0-16,26-13 16</inkml:trace>
  <inkml:trace contextRef="#ctx0" brushRef="#br0" timeOffset="14283.65">8850 10517 0,'14'-13'0,"-28"39"31,1 1-15,13-14-16,-13 0 0,13 1 0,-13-1 15,13 13-15,-14-13 16,14 1-16,-13-1 16,13 0-16,0 0 31,13-13-15,-13 14-16,14-14 15,-1 0 1,0 0-16,0 13 15,1-13-15,-1 0 16,0 0 0</inkml:trace>
  <inkml:trace contextRef="#ctx0" brushRef="#br0" timeOffset="14476.3">8665 10597 0,'40'-14'0,"-27"14"0,27 0 15,-27 0-15,13 0 16</inkml:trace>
  <inkml:trace contextRef="#ctx0" brushRef="#br0" timeOffset="14745.26">9141 10504 0,'-13'-26'15,"0"26"16,0 13-31,13 0 16,-14 0-16,14 0 16,0 14-16,0-14 15,0 0-15,0 1 0,14-1 0,-14 0 16,0 0-16,-14 14 16,14-14-16,-13 13 15,0-12 1,0-1-1</inkml:trace>
  <inkml:trace contextRef="#ctx0" brushRef="#br0" timeOffset="16721.29">8374 10120 0,'0'-13'16,"0"40"15,-13-1-15,13-13-16,0 0 15,0 1 1,-13-1 0,26-40 15,0 27-31,-13-13 16,13 0-16,-13 0 15,14 0-15,-1-1 16,0 14-1,0 14 1,-13-1 0,13 0-16,-13 0 15,14-13 1,-14 13 0,13-26-1,0 13 1,0-13-16,-13 0 15,27 13 1,-27-13-16,13 13 0,0 0 16,0 13-1,1-13-15,-14 13 16,13-13-16,-13 13 16,13 0-16,0-13 15,1 14 1</inkml:trace>
  <inkml:trace contextRef="#ctx0" brushRef="#br0" timeOffset="17324.65">8797 10107 0,'-13'13'15,"0"-13"1,13 14-16,-13-1 0,-1 13 15,14-13 1,-13-13-16,13 14 16,0-1-16,13-13 15,14-13 17,-14 13-17,-13-14-15,13 1 0,1 0 31,-14 39 1,0-12-17,0-1 1,0 0 0</inkml:trace>
  <inkml:trace contextRef="#ctx0" brushRef="#br0" timeOffset="17660.46">8983 9962 0,'-14'39'32,"14"-26"-32,0 1 0,-13-1 15,13 0-15,0 0 0,0 14 16,-13-14-16,13 0 0,0 1 15,0-1-15,0 0 0,-13-13 0,13 26 16,0-12 0,0-1-1</inkml:trace>
  <inkml:trace contextRef="#ctx0" brushRef="#br0" timeOffset="17964.09">9128 10134 0,'0'-14'16,"0"28"-16,-13-41 15,0 40 1,-1 14-1,1-14-15,13 0 16,0 0 0,0 1-16,13-14 15,27 0 1,-27 0-16,27 0 16,-27 0-16,1 0 15,-1 0-15</inkml:trace>
  <inkml:trace contextRef="#ctx0" brushRef="#br0" timeOffset="19093.5">10755 10398 0,'0'-13'0,"-13"-14"15,0 14 1,0 0-1,-1 26 1,14 0-16,-13 14 16,13-14-16,0 0 0,0 1 15,0-1-15,-13 13 0,13 27 16,0-26-16,0-1 16,0 1-16,0-14 0,0 0 15,0 13-15,0-12 0,0-1 0,-13 13 16,13-12-16,0-1 15,0 0-15,-14-13 0,14 13 0,0 1 16,-13-14-16,13 13 0,-13-13 16,0 0-1,0 0 1,13-13 0,-14-1-16,14 1 15,14-13 1,-1 12-1,0 1-15,0 0 16,0 13 0,1-13-16,-1 13 0,0-14 0,0 14 15,1 0-15,-1-13 0,0 13 0,0-13 16,1 13-16,12-13 0,14 0 16,-27 13-16,0 0 15,14-14-15</inkml:trace>
  <inkml:trace contextRef="#ctx0" brushRef="#br0" timeOffset="19412.83">11007 10570 0,'13'-26'15,"-26"52"-15,39-66 0,-26 27 16,13 0 0,-39 39 31,26-12-47,0-1 15,0 0 1,0 14-1,13-27-15,-13 13 0,13-13 16,1 0 0,-1 0-1</inkml:trace>
  <inkml:trace contextRef="#ctx0" brushRef="#br0" timeOffset="19771.54">11192 10544 0,'0'26'31,"-13"-13"-15,13 1-1,26-28 32,-26 1-31,13 13-16,1 0 16,-1 0-1,0 0 1,0 0-1,0 13 1,14-13 0</inkml:trace>
  <inkml:trace contextRef="#ctx0" brushRef="#br0" timeOffset="20284.28">11404 10557 0,'13'-13'16,"-13"-1"-1,13 14 1,-13-13-16,13 13 16,0 0-16,1 13 15,-14 1 1,13-1-1,-13 0 1,13 0 0</inkml:trace>
  <inkml:trace contextRef="#ctx0" brushRef="#br0" timeOffset="20892.91">11628 10504 0,'-13'-13'16,"26"26"-16,-39-26 0,13 13 15,-14 13 1,27 0-16,-13-13 0,13 13 15,-13-13 1,26 14 0,0-14-1,1 0 1,-1 0-16,-13-14 16,13 28-1,0-14 1,-13 13 15,13-13-15,14-13-16,-14 13 15,14-27 1,-14 14-16,0 0 0,-13 0 0,13-1 16,1 1-16,-14 0 0,13-14 15,0 1-15,0 13 0,0-14 0,-13 14 16,14 0-16,-1 0 0,-13-1 0,0 1 15,13 0-15,-13 0 16,13 13-16,-26 26 31,13-13-15,0 1-16,-13-1 0,13 13 0,-13-13 16,13 14-16,-14-14 0,14 0 0,-13 14 15,13-14-15,-13 0 0,13 1 16,0 12-1,0-13-15,13-13 16,0 0-16</inkml:trace>
  <inkml:trace contextRef="#ctx0" brushRef="#br0" timeOffset="21165.23">12012 10478 0,'27'-27'16,"-54"54"-16,67-67 0,-27 27 15,-13-1 1,-26 28 0,-1-1-1,27 0-15,-13-13 0,0 13 0,-1 1 16,14-1-16,0 0 15,0 0-15,14 0 16,12-13 0,-13-13-1</inkml:trace>
  <inkml:trace contextRef="#ctx0" brushRef="#br0" timeOffset="22447.75">8215 10134 0,'-158'-14'0,"105"14"0,13 14 0,-66-1 16,66 0-1,-26 0-15,13 0 0,-13 1 0,0 12 0,0 1 16,0-1-16,0 1 0,-1-1 16,1 14-16,13-1 0,-79 54 15,66-27-15,13-13 0,-92 132 16,105-119-16,0-13 16,14 13-16,-1 1 0,-26 65 15,40-79-15,0 13 0,13-26 16,-13 13-16,13-14 0,13 14 0,-13-13 15,13 0-15,0-14 0,54 53 16,-41-65 0,-13-1-16,14-13 0,-1 13 0,1-13 15,12 0-15,-12 0 0,92-13 16,-80 13-16,1 0 16,-13-13-16,-1 13 0</inkml:trace>
  <inkml:trace contextRef="#ctx0" brushRef="#br0" timeOffset="23175.31">7223 11443 0,'13'13'31,"1"27"-31,-1-40 16,-13 13-16,13 1 0,-13-1 0,13 13 15,-13-12-15,13-1 16,1 0-16,-14 13 0,0 14 16,0-27-1,-14 27 1,1-27-16,13 1 0,-13-1 0,0 0 15,0 0-15,13 0 0,-14 1 0,1-14 16,13 13-16,-13-13 16,0 13-16</inkml:trace>
  <inkml:trace contextRef="#ctx0" brushRef="#br0" timeOffset="23420.08">7541 11496 0,'13'-13'0,"-13"39"32,0-12-32,-13-14 15,-1 53 1,14-40-16,0 0 0,-13 13 15,13-12-15,-13-1 0,13 0 0,0 0 0,0 1 16,0-1-16,0 0 0,0 0 16</inkml:trace>
  <inkml:trace contextRef="#ctx0" brushRef="#br0" timeOffset="23773.68">7686 11536 0,'0'-13'16,"0"39"15,-13 14-15,13-27-16,0 0 0,0 0 0,-13 1 15,13-1-15,0 0 0,13 14 16,-13-14-1,13-13 1,0-13 0,14-1-1,-27 1-15,13 13 16,-13-13-16,0 0 0,0-1 0,0-12 16,0 13-1,-13-14 1,13 14-16,-13 13 0,13-13 15,-14 13-15,1 0 16</inkml:trace>
  <inkml:trace contextRef="#ctx0" brushRef="#br0" timeOffset="24133.97">7832 11483 0,'0'40'15,"0"-1"1,0-25-16,0-1 0,13 0 16,-13 0-16,0 0 0,13-13 0,-13 14 15,13-1-15,1-13 0,-1 13 0,0 0 16,0-13-16,1 0 15,12 0-15,-13 0 16,0 0-16,1 0 0,-14-13 16,13 13-16,-13-13 0,13 13 15,-13-13-15,13-1 0,-13 1 16,0-13-16,-13 13 16,13-1-16,0 1 15,-13 13-15,13-13 0,-13 0 0,-1 13 0,1 0 16,0-14-1,0 14-15,0 14 16</inkml:trace>
  <inkml:trace contextRef="#ctx0" brushRef="#br0" timeOffset="24560.49">8229 11443 0,'-14'27'0,"14"-14"16,0 0-16,-13 0 15,13 1-15,0-1 16,0 0-16,0 0 0,0 1 15,0-1-15,0 0 16,13-13-16,1 13 16,-1-13-1,0 0-15,0 0 16,0 0-16,14-13 16,-27 0-16,13 13 0,-13-13 15,13-1-15,-13 1 0,14 0 16,-14 0-16,0-1 0,-14 1 15,1-27 1,-13 27 0,-1 13-1,-12 13 1,25-13-16</inkml:trace>
  <inkml:trace contextRef="#ctx0" brushRef="#br0" timeOffset="25262.13">11152 11324 0,'0'27'31,"0"12"-15,0-25-16,0-1 0,0 0 0,0 0 15,-13 27-15,13-27 0,0 0 16,0 1-16,0-1 0,0 0 15,0 0-15,0 1 16,0-1-16</inkml:trace>
  <inkml:trace contextRef="#ctx0" brushRef="#br0" timeOffset="25639">11364 11337 0,'-13'27'15,"-1"-14"1,14 0-16,14 1 0,-14 12 16,13-13-1,0 0-15,-13 1 0,13-14 16,1 13-16,-1-13 15,0 0-15,13-13 16,-12 13-16,-14-14 16,13-12-16,0 13 15,-13-14 1,0 14-16,-13 0 16,0-14-1,-1 14-15,1 13 16,0 0-1,0 0-15,0 0 16</inkml:trace>
  <inkml:trace contextRef="#ctx0" brushRef="#br0" timeOffset="25980.2">11576 11298 0,'13'0'32,"-13"13"-32,0 0 15,0 0-15,0 1 0,0-1 0,13 0 16,-13 0-16,13-13 0,-13 14 16,13-1-16,14 0 15,-14 0-15,0-13 0,27 0 16,-27 0-16,1 0 15,25-13 1,-39 0-16,13 0 16,-13-1-16,0-12 15,-13 13 1,13-1-16,-13 14 0,13-13 16,-13 13-16,0-13 0,-1 13 15,-12 0 1</inkml:trace>
  <inkml:trace contextRef="#ctx0" brushRef="#br0" timeOffset="26353.68">11919 11232 0,'-13'26'32,"13"0"-17,0-12-15,0-1 0,0 0 0,0 0 16,13 14-16,-13-14 16,14 0-16,-1 1 15,0-14-15,0 13 0,1-13 16,-1 0-16,0 0 0,0 0 0,27-13 31,0-14-31,-27 1 16,0 12-1,-13 1-15,0 0 0,-13-27 16,13 27-16,-13 0 0,13 0 16,-14 13-16,1-14 0,0 14 15,0 0-15,-14 0 16</inkml:trace>
  <inkml:trace contextRef="#ctx0" brushRef="#br0" timeOffset="29256.54">10623 12184 0,'-13'13'16,"0"14"-1,13-14-15,0 13 0,-14-12 16,14 12-16,-13-13 0,0 53 16,0-39-16,-1 26 15,1-40-15,13 0 16,0 1-16,0-1 0,-13 0 15,13 0 1,13-52 15,0-14-15,1 26-16,-1 1 0,0-14 16,0 14-16,-13-1 15,27-13-15,-14 14 0,0 0 0,0 12 0,1 1 16,-14 0-16,13 0 0,0-1 15,0 1-15,1 13 16,-1 0-16,0 0 0,0 13 16,1 1-16,-14-1 0,26 40 31,-26-14-31,13 28 16,-13-54-16,0 0 0,0 0 15,0 14-15,0-14 0,0 13 16,0-12-16,-13-1 0,13 0 15,0 0 1</inkml:trace>
  <inkml:trace contextRef="#ctx0" brushRef="#br0" timeOffset="29453.42">10623 12409 0,'13'-13'16,"0"13"-16,1 0 16,12 0-16,-13 0 15,14 0-15,-14 0 16,0 0-16,27 0 16,-27 0-16</inkml:trace>
  <inkml:trace contextRef="#ctx0" brushRef="#br0" timeOffset="29712.7">10993 12290 0,'0'26'32,"0"1"-17,14-27-15,-14 13 16,0 0-16,13 0 15,0 1-15,-13-1 16,13-13 0,1-13-1,-1-1 1,0 14 15</inkml:trace>
  <inkml:trace contextRef="#ctx0" brushRef="#br0" timeOffset="30141.65">11192 12290 0,'-13'0'15,"-1"13"1,14 0-1,0 1 1,0-1 0,0 0-1,0 0-15,0 0 16,14 1-16,-14 25 16,0-25-16,0-1 15,0 13-15,0-12 0,0-1 16,-14 0-16,14 0 0,-13 0 15,0 14-15,0-14 16,13 0-16,-14-13 0,1 0 16,26-26 15,1 13-15,-14-1-16,13 14 0,0-13 0,-13 0 15,13 0-15,14 0 16,-14-1-16,0 1 0,1 0 15,12 13-15,-13-13 0,0-1 0,1 14 16,12-13-16,-13 0 0,1 0 16</inkml:trace>
  <inkml:trace contextRef="#ctx0" brushRef="#br0" timeOffset="31831.69">12065 11999 0,'-13'-13'0,"0"13"0,-1 0 0,-12 13 16,26 0-1,-13-13-15,-1 13 0,1 1 0,0 12 16,0-26-1,13 13-15,-14 0 0,14 1 16,0-1-16,14 0 16,12-13-1,1-13 1,-14 0-16,0 13 16,0 0-16,-13-14 0,27 1 15,-14 13-15,0 13 16,-13 1 15,0-1-31,0 0 0,0 14 16,-13-14-16,13 0 0,0 0 15,0 1-15,-13-1 16,13 0-16,0 0 16,0 0-16</inkml:trace>
  <inkml:trace contextRef="#ctx0" brushRef="#br0" timeOffset="32164.81">12263 12039 0,'-13'-14'15,"0"41"1,13-14-16,0 13 15,0-12-15,0-1 16,13 0-16,-13 0 0,13-13 16,-13 14-16,14-14 15,12 0 1,-13-14-16,1-12 16,-14 13-1,0-1 1,0-12-16,0 13 15,-14 0-15,-12 13 32,13 0-17,-1 13-15,1-13 0</inkml:trace>
  <inkml:trace contextRef="#ctx0" brushRef="#br0" timeOffset="32460.58">12594 12078 0,'-13'27'15,"0"-14"1,13 0-16,-14 0 0,1-13 0,0 27 0,-13-14 16,12 0-16,1 1 0,0-1 15,0 13-15,-1-26 0,1 27 16,0-14-16,0 0 16</inkml:trace>
  <inkml:trace contextRef="#ctx0" brushRef="#br0" timeOffset="32629.54">12740 12091 0,'0'14'16,"-14"12"0,1-13-1,0 1-15,0 12 0,-14 1 16,1-1-16,-1 0 0,14 1 0,-13-1 15,-1 1-15,1-14 0,-1 13 0</inkml:trace>
  <inkml:trace contextRef="#ctx0" brushRef="#br0" timeOffset="34353.26">6826 12382 0,'0'-13'16,"0"40"-1,0-14-15,0 0 0,0 40 16,-13-40 0,13 14-16,0-14 0,0 13 15,0-12-15,0 25 0,0-25 16,-13-1-16,13 0 0,0 0 0,0 1 15,0-1 1,13-40 15,0-26-15,-13 27-16,13-1 0,-13 1 0,14-14 0,-1 14 16,0-1-16,0 1 0,-13 13 15,14-14-15,-1 14 0,0 0 16,0 13-16,-13-13 0,14 13 15,-1 13 1,0-13-16,0 13 0,0 0 0,-13 0 0,14 14 16,-1-1-16,-13-12 0,0-1 15,0 13-15,13-12 0,-13 38 16,0-38-16,-13-1 16,13 0-16,0 0 0,0 1 15,0 12-15,-13 1 16,13-14-16</inkml:trace>
  <inkml:trace contextRef="#ctx0" brushRef="#br0" timeOffset="34565.35">6879 12607 0,'0'-13'0,"13"0"15,1 0 1,-1 13-16,27-14 16,-27 14-1,13 0 1,-13 0-16,1 0 0,-1 0 16</inkml:trace>
  <inkml:trace contextRef="#ctx0" brushRef="#br0" timeOffset="34853.56">7131 12528 0,'13'13'15,"0"-13"-15,-13 13 0,13 1 16,-13-1-16,13 0 16,1-13 15,-1 0-31,13-13 15,-26 0 1,27-1 0,-27 1-16,0 0 15,13 13-15,-13-13 16,13 13-16,0-13 16,1 13-1,-1 13 1</inkml:trace>
  <inkml:trace contextRef="#ctx0" brushRef="#br0" timeOffset="35250.49">7474 12488 0,'0'-13'16,"-26"26"-1,13-13 1,0 14 0,13-1-1,0 0 1,13 0-16,0 14 31,0-1-31,-13-13 16,0 14-1,0-14-15,0 0 0,0 1 32,0-1-32,13-40 47,1 14-32,-14 0-15,13 0 0,0-1 0,0 14 16,-13-13-16,14 13 0,-1 0 15,13-13-15,-12 13 0</inkml:trace>
  <inkml:trace contextRef="#ctx0" brushRef="#br0" timeOffset="35924.5">8043 12290 0,'-13'-13'16,"26"39"15,1 14-16,-14-27-15,13 0 0,-13 0 16,0 1-16,13 12 0,-13-13 0,0 1 16,0-1-16,0 0 0,0 0 15,0 1-15,-13-14 0,13 13 0,-13 0 16,-1 0-16,1 0 16,-13-13-1,26 14-15,-14-14 0,1 0 16,13-14-1,13 1 1,-13 0-16,14 13 0,-14-13 16,13 0-16,0-1 0,0 1 15,1-13-15,-1 12 0,-13-12 16,26-14 0,-26 27-16,0 0 0,13 0 0,-13-1 15,0 1-15,0 0 16,-13 0-16,0-1 15,0 14 1,0 0-16,-1 0 16,1 14-16,0-14 15,13 13-15</inkml:trace>
  <inkml:trace contextRef="#ctx0" brushRef="#br0" timeOffset="36355.85">8255 12263 0,'-13'14'31,"0"12"-15,13-13 15,13-13-15,0 0-1,0 0 1,-13 14-1,13-1 1,-13 13 0,0-13-16,0 1 0,0-1 15,0 13 1,0-12-16,0-1 0,14 0 16,-14 0-1,0 1 1,0-1-16</inkml:trace>
  <inkml:trace contextRef="#ctx0" brushRef="#br0" timeOffset="36625">8546 12449 0,'-26'26'16,"-1"1"-16,14-14 16,0 13-16,-1-13 0,1 1 15,0-1-15,0 13 0,-14-12 0,27-1 16,-13 0-16,0 0 0,0 1 15</inkml:trace>
  <inkml:trace contextRef="#ctx0" brushRef="#br0" timeOffset="36810.43">8625 12435 0,'0'0'16,"-26"27"-1,26-14 1,-13 0-16,-1 1 0,-12 25 16,0-12-16,-1-1 0,14 1 15,-14 12-15,-52 67 16,66-79-16</inkml:trace>
  <inkml:trace contextRef="#ctx0" brushRef="#br0" timeOffset="38334.75">13533 11919 0,'318'-105'0,"-252"78"0,0 1 16,80-14-1,-67 14-15,-13 12 0,14-12 0,-14 13 0,13-1 16,-13 1-16,93-26 16,-106 25-16,-27 1 15,1 13-15,-14-13 0,14 13 0,12-27 16,-26 27 0,-13-13-1</inkml:trace>
  <inkml:trace contextRef="#ctx0" brushRef="#br0" timeOffset="38608.96">14645 11337 0,'39'-13'0,"-12"26"0,-14-13 15,0 14-15,1-14 0,12 13 16,-13 0-16,0 0 0,14 1 0,-14-1 16,14 26-1,-27-12-15,13-1 16,-13-12-16,-13-1 0,13 0 0,-14 14 16,14-14-16,-13 0 0,0 0 0,13 0 15,-13 1-15,-1 12 16</inkml:trace>
  <inkml:trace contextRef="#ctx0" brushRef="#br0" timeOffset="38961.74">15809 11099 0,'0'27'0,"0"-1"15,-13-13-15,13 14 16,-14-14-16,14 14 0,-13-1 16,13 0-16,0-12 0,-13 12 0,13-13 0,0 14 15,-13-14-15,13 0 16,0 1-16,0-1 0,0 0 0,0 0 16,0 0-16,-14 1 0</inkml:trace>
  <inkml:trace contextRef="#ctx0" brushRef="#br0" timeOffset="39168.94">15505 11417 0,'26'-13'15,"-13"-1"-15,27 14 16,-27-13-16,14 13 0,-1 0 15,1-13-15,-1 13 0,0 0 16,1-13-16,-14 13 0,14 0 0,-14 0 16,40-14-1,-40 14-15,0 0 0</inkml:trace>
  <inkml:trace contextRef="#ctx0" brushRef="#br0" timeOffset="39479.35">16007 11232 0,'14'-14'16,"-28"28"-16,41-14 15,-14 13-15,-13 0 16,0 0-16,0 0 0,0 1 16,0-1-16,-13 13 15,0-12-15,13-1 0,0 0 16,-14-13-1,14 13 1,14-39 0,12 13-1,-26-1-15,13 14 0,0-13 0,1 0 16,-1 0-16,0-1 16,0 1-16,1 13 15,-1 0-15,-13-13 16</inkml:trace>
  <inkml:trace contextRef="#ctx0" brushRef="#br0" timeOffset="40420.46">16272 11324 0,'66'-40'15,"-53"27"-15,0 0 16,-13 0 0,14 13-1,-14-13-15,0-1 31,-14 28 16,1-1-31,13 0-16,0 0 16,-13 14-1,13-14-15,0 13 16,13-12-1,0 12-15,1-26 16,-1 13-16,0-13 0,0 0 16,14 0-16,-14 0 0,0 0 0,1 0 15,-1 0-15,13-13 0,-13 13 16,1-13-16,-1 13 0,0-13 0,0-1 16,1 1-16,-1 13 0,0-13 15,0 0-15,1-1 0,-1 1 0,0 0 31,-13 39 16,0-12-31,0-1 0,26 0-1,-12-13-15,-1 0 0,0-13 0,0 13 16,27-13-1,-13 13-15,-14-14 0,0 1 16,0 0-16,14-13 16,-27 12-16,0 1 31,-14 13-15,1 13-16,0-13 0,13 14 0,-13-1 15,13 0-15,0 0 16,0 0-1,0 1-15,13-1 0,13 0 16,-12-13-16,12 13 0,1-13 16,12 0-16,1 0 15,-14 0-15,14 0 0,-13 0 0</inkml:trace>
  <inkml:trace contextRef="#ctx0" brushRef="#br0" timeOffset="43304.09">6945 13626 0,'14'-40'0,"-14"27"0,0 40 47,-14 25-32,1-25-15,13-14 0,0 0 16,-13 14-16,13-14 0,0 14 0,0-14 16,-13 0-16,13 0 0,0 0 0,0 1 15,0-1-15,0 0 16,13-39 15,-13 12-31,0-25 16,13-1-16,0 0 0,-13 1 0,14-14 15,-1 13-15,0 0 0,0 1 0,27-27 16,-27 39-16,-13 1 16,13 12-16,1 1 0,-14 0 0,13 13 15,0 0-15,0 0 0,1 0 16,25 40 0,-26-14-16,1 1 0,-1-1 0,0 1 0,0-1 15,-13 0-15,14 1 0,-14-14 16,13 14-16,-13-1 0,0-13 15,0 14-15,13-14 0,-13 0 0,0 0 0,13 14 16,-13-14 0,0 0-16,0 1 0,0-1 15,-13 0 1</inkml:trace>
  <inkml:trace contextRef="#ctx0" brushRef="#br0" timeOffset="43781.77">7078 13719 0,'26'-27'0,"-13"14"16,1 13-16,-1 0 0,0 0 16,13-13-16,-12 13 0,-1 0 15,0 0-15,0 0 0,27-14 16,-27 14-16,0 0 15,1-13-15,25 0 16,-25 0-16,-1 13 16,0-13-16,0 13 0,-13-14 0,14 1 15,-1 13-15,-13-13 16,13 13-16,0-13 16,0 26 15,1 13-16,-14-12 1,0-1-16,0 0 0,13-13 0,-13 13 16,0 0-16,13-13 15,0 0 1,1-13 0,-1 0-16,-13 0 15,13 13-15,-13-13 16,0-1-16,13 1 15,-13 0 1,14 13 0</inkml:trace>
  <inkml:trace contextRef="#ctx0" brushRef="#br0" timeOffset="44141.57">7660 13520 0,'-14'0'16,"1"13"0,0 1-1,13-1-15,0 0 16,13 14 0,-13-14-16,13 13 15,-13-13-15,14 1 16,-14-1-16,0 13 0,0-12 15,0-1-15,0 0 0,-14 27 16,1-27-16,13 0 16,-13 0-16,13 1 15,13-41 17,14-12-17,-1 12 1,1 14-16,-14 0 15,13-1-15,1 1 0,39-13 16,-40 26-16</inkml:trace>
  <inkml:trace contextRef="#ctx0" brushRef="#br0" timeOffset="44770.57">8348 13401 0,'-53'0'0,"39"13"16,1 14-16,0-14 16,13 0-16,-13 1 0,13 12 15,-13-13-15,13 0 16,0 1 0,0-1-16,13 0 15,0-26-15,13 13 16,-12-13-1,-1-1-15,-13 1 0,13 13 16,0-13-16,1 0 0,-1 0 16,0 26 15,0 0-31,-26 13 16,13 14-1,0-27-15,0 1 0,0-1 16,-13 0-16,13 0 0,0 14 15,0-14 1,0 0-16</inkml:trace>
  <inkml:trace contextRef="#ctx0" brushRef="#br0" timeOffset="45139.39">8586 13428 0,'0'-14'15,"-14"28"-15,1-14 16,0 13-16,13 0 0,-13 0 0,13 1 16,-13-1-16,13 0 0,-14 0 15,14 0-15,0 14 0,0-14 16,0 0-16,0 1 0,0-1 15,14-13-15,-1 13 16,0-13-16,0 0 16,0 0-16,-13-13 0,14 13 0,-1-13 15,0-1-15,-13 1 16,13 0-16,-13 0 16,0-1-16,-13 1 0,13 0 15,0 0-15,-13 13 0,13-13 16,-13 13-16,-1-14 15,-12 14-15,0 0 16</inkml:trace>
  <inkml:trace contextRef="#ctx0" brushRef="#br0" timeOffset="45809.42">8877 13481 0,'-40'13'0,"27"13"16,-14-13-16,1 14 15,13-1-15,-14-12 0,1 12 16,-14 0-16,27 1 0,-14-1 0,1-12 16,-27 39-1,40-53-15,13 13 0,-13 0 16</inkml:trace>
  <inkml:trace contextRef="#ctx0" brushRef="#br0" timeOffset="45993.88">8956 13441 0,'0'0'0,"-13"40"16,0-27 0,-67 79-1,54-52-15,-54 26 16,54-26-16,-14 0 0,14-14 15,-14 14-15</inkml:trace>
  <inkml:trace contextRef="#ctx0" brushRef="#br0" timeOffset="47264.29">10954 13229 0,'-13'66'31,"13"-52"-31,0-1 0,0 13 0,-14 1 15,14-14-15,0 13 0,0-12 16,0 12-16,0-13 0,0 1 0,0 12 16,-13-13-16,13 0 15,0 1-15,0-41 47,27-65-31,-27 65-16,13-13 0,0 1 0,0-1 15,0 14-15,1-14 0,-1 13 16,0 14-16,-13 0 0,13 0 0,14-14 16,-14 27-1,0 0 1,0 14-16,14 38 16,-27-25-16,0-14 0,13 14 0,-13-1 15,0 40 1,0-39-16,0-14 0,0 13 0,0-12 0,0-1 15,0 0-15,0 0 0,0 1 16,0-1-16</inkml:trace>
  <inkml:trace contextRef="#ctx0" brushRef="#br0" timeOffset="47713.44">11007 13414 0,'13'-13'15,"0"0"-15,0 13 16,1-13-16,-1 13 0,0 0 16,0-14-16,0 14 0,1-13 15,25 0 1,-25 13-16,-1-13 0,0 13 15,0-13 1,1 13 0,-1 13-1,-13 0-15,13 0 16,-13 0-16,0 1 0,13-14 16,-13 13-16,0 0 15,13-13-15,-13 13 16,14 1-16,-1-28 31,0 14-31,-13-13 0,27 0 16,-27 0-1,13-1 1,0 14 0,0 0-1</inkml:trace>
  <inkml:trace contextRef="#ctx0" brushRef="#br0" timeOffset="48175.68">11496 13322 0,'-13'0'15,"13"13"1,-13-13-1,13 13 1,0 0-16,0 1 0,0-1 0,0 0 16,0 0-16,0 14 0,-14-14 15,14 0-15,-26 53 16,13-52 0,13-1-16,-13 13 0,13-12 0,-14-14 15,14 13-15,-13 0 0,13 0 16,-13-13-16,13 13 15,26-26 1,-26 0-16,14 0 16,-1 0-16,26-40 15,-25 26-15,-1 14 16,0-13-16,0 12 0,1 1 0,-14 0 0,13 0 16,-13-1-16,13 14 15,-13-13-15,-13 40 47,13-1-31,0-13-16,0 1 15,0 12 1,13-26-16</inkml:trace>
  <inkml:trace contextRef="#ctx0" brushRef="#br0" timeOffset="49232.62">12382 13176 0,'-39'0'0,"39"13"16,-13 1-16,13-1 15,0 13 1,0 1 0,0-14-16,13 27 15,-26-27-15,13 0 0,0 0 16,0 1-16,-14-1 15,14 0-15,-26 14 16,13-14 0,26-40 15,0 14-15,-13 0-1,13 13-15,1-13 0,12-14 16,-13 14-16,0 13 0,-13-13 0,14 0 15,-1-1-15,0 1 0,-13 0 16,13 13-16,1-40 16,-14 27-16,0 0 15,0-1 1,-14 1-16,1 13 31,0 0-15,0 13-16</inkml:trace>
  <inkml:trace contextRef="#ctx0" brushRef="#br0" timeOffset="49572.89">12528 13163 0,'-26'26'0,"26"-12"0,0-1 16,-14 0 0,1 0-16,13 1 15,13-14 1,1 0 15,-1-14-15,0 14-1,0 14 1,-13-1 0,-13 0-16,13 0 15,0 1-15,0-1 0,0 0 16,13 0 0</inkml:trace>
  <inkml:trace contextRef="#ctx0" brushRef="#br0" timeOffset="49784.53">12779 13229 0,'14'0'16,"-41"27"0,14-14-16,-27 27 15,27-27 1,0 0-16,0 13 0,-1-12 0,1-1 15,0 13-15,0-12 0,-1-14 16,14 13-16,0 0 0,-13 0 16,13 1-1</inkml:trace>
  <inkml:trace contextRef="#ctx0" brushRef="#br0" timeOffset="49977.5">12898 13229 0,'0'0'16,"-13"27"-1,0-14-15,0 0 0,-14 27 16,1-14-16,-1 1 0,1 12 16,-1-12-16,1-1 0,0 1 15,12-1-15,-12 1 0,13-1 0,-14-13 16,27 1-16</inkml:trace>
  <inkml:trace contextRef="#ctx0" brushRef="#br0" timeOffset="50791.74">13375 13242 0,'79'-26'0,"-52"13"0,-1-1 0,14-12 16,79-14-16,-66 14 16,13-14-16,13 14 0,14-27 0,-1 13 15,1-13-15,13 0 0,0 0 16,13 14-16,-13-14 0,26 13 15,-13-13-15,13 13 0,-13 1 0,14 12 16,-14-12-16,0 12 0,106-26 16,-146 27-16,0 13 0,1-1 15,-14-12-15,-13 13 0,0-1 0,-14 1 16,1 0-16,0 13 0,-27-13 0,13 13 16,-12-13-16,-1 13 0,0-14 15,0 14-15,1-13 0,-1 13 16,0-13-16</inkml:trace>
  <inkml:trace contextRef="#ctx0" brushRef="#br0" timeOffset="51160.83">16087 12105 0,'39'0'16,"-25"0"-16,-1 0 0,0 0 16,0 0-16,0 0 0,1 13 0,-1-13 15,0 0-15,0 13 0,1-13 16,-1 0-16,0 13 0,0-13 0,-13 14 16,14-1-16,-14 0 15,0 0-15,0 1 0,-14-1 0,14 13 16,-13-13-16,0 14 0,-14-14 15,14 14-15,-13-1 0,-14 27 16,14-40-16,-1 14 0,14-14 0,0 0 16,-1 0-16,1 1 0</inkml:trace>
  <inkml:trace contextRef="#ctx0" brushRef="#br0" timeOffset="51941.35">17383 11748 0,'-13'-53'0,"0"39"15,-1 14 1,1 14-16,0-14 16,-27 66-1,40-40-15,-13 14 0,0-14 0,0 14 0,-1 0 16,1 13-16,13-14 0,-13 1 15,0 0-15,-1 13 0,14-14 16,-13 1-16,-13 26 0,13-39 16,-1 12-16,1-12 15,0-14-15,0 0 0,-1-13 0,-12 13 16,13-13-16,-1 0 0,1 0 16,13-13-1,-13 13-15,13-13 0,0 0 16,0-1-16,13 1 0,-13 0 15,13 0-15,1 13 16,-14-13-16,39-14 0,-25 14 16,12 0-16,-13 13 0,27-27 0,-14 14 15,1 13-15,39-40 16,-39 40-16,-1-13 0,0 0 0,-12 13 16</inkml:trace>
  <inkml:trace contextRef="#ctx0" brushRef="#br0" timeOffset="52305.56">17621 11999 0,'-13'-13'0,"26"26"16,-39-26-16,13 13 0,-1 0 15,1 0-15,0 0 16,0 13-16,-1-13 0,1 13 16,0 0-16,-14-13 0,14 14 0,13-1 15,-13 0-15,0 0 0,13 0 16,-13 1-16,13-1 15,0 0-15,13 0 16,0-26 0,13 13-16,-26-13 15,14 13-15,-1-13 0,0 13 0,-13-14 16,13 14-16,-13-13 0,14 13 0,-14 13 47,0 1-32,0-1-15,-27 27 16,27-27-16,0 0 16,-13 0-16,13 1 0,0-1 15</inkml:trace>
  <inkml:trace contextRef="#ctx0" brushRef="#br0" timeOffset="52536.97">17859 11827 0,'-13'26'16,"13"-12"-16,-13-1 0,13 13 15,-13-13-15,-1 14 0,14-14 0,-26 40 16,13-26-16,0-1 15,-1-13-15,1 14 0,0-14 16,0 0-16,13 0 0,0 1 0,0-1 16</inkml:trace>
  <inkml:trace contextRef="#ctx0" brushRef="#br0" timeOffset="52847.59">17992 12065 0,'-14'-13'0,"1"26"32,13 0-17,0 0-15,0 1 0,-13 12 31,13-13-31,0 1 0,-13-1 16,13 0-16,-27 14 16,1-14-1,-1 0 1,14-13-16,0 0 0,13-13 16,-13 13-1</inkml:trace>
  <inkml:trace contextRef="#ctx0" brushRef="#br0" timeOffset="53127.55">18203 12091 0,'14'-13'15,"-28"0"16,-12 26-15,26 0-16,-13-13 0,-1 14 16,1-1-16,0-13 0,13 13 15,-13 0-15,13 1 16,0-1-16,13 0 16,0 0-16,0 1 15,1-14-15,-1 0 0,0 0 16,0 0-16,1 0 15,-1 0-15,0 0 0,0-14 16</inkml:trace>
  <inkml:trace contextRef="#ctx0" brushRef="#br0" timeOffset="53975.34">18666 11986 0,'27'-40'0,"-1"27"0,1-14 15,39-39-15,-26 26 0,-1 1 16,14-1-16,0-13 0,13-13 0,0 13 15,1-13-15,-15 0 0,1 26 16,0-13-16,40-39 0,-53 52 16,-1 13-16,1 1 0,-14-1 15,-12 14-15,-1 0 16,0 0-16,0 13 0,1-13 0,-1 13 16,-13 13-1,-13 0 1</inkml:trace>
  <inkml:trace contextRef="#ctx0" brushRef="#br0" timeOffset="54359.14">19394 11165 0,'26'-26'0,"-52"52"16,66-52-16,-27 13 0,0 13 16,14-14-16,-1 1 0,0 13 15,1-13-15,-1 13 0,1 0 0,-14-13 16,14 13-16,-14 0 0,26 0 15,-25 0-15,-1 13 0,13 0 16,-26 0-16,14-13 0,-14 14 16,0-1-16,0 0 0,0 0 15,0 14-15,0-14 0,-14 0 0,14 1 16,-13 25-16,13-26 16,-13 1-16,13-1 0,-13 0 0,13 0 15,0 1-15,-14-14 0,14 13 16</inkml:trace>
  <inkml:trace contextRef="#ctx0" brushRef="#br0" timeOffset="55737.2">20241 10755 0,'39'-66'0,"-39"53"0,14 0 0,-14-1 15,0 1-15,0 0 16,0 0-16,0 0 0,0-1 16,0 1-16,-14 26 15,1 1 1,13-1-16,-13 26 16,0-25-16,-1 12 0,14 14 0,-13-14 15,0 14-15,0-14 0,13 14 16,-14 0-16,14-14 0,-13 27 15,13-40-15,-13 14 0,13-1 16,0-12-16,0-1 16,-13 0-16,13 0 0,-13 0 15,-1-13-15,1-13 16,0 13-16,-14-26 31,14 13-15,13-1-1,0 1-15,13 0 0,1 0 16,-1-1 0,0 14-16,14-13 0,25-13 15,-25 26-15,-1-13 0,1 13 16,-14-14-16,14 14 0,-1-13 16,0 13-16,-12-13 0,12 13 15,-13 0-15,1-13 0,-1 13 0,0 0 16,0 0-16,1 0 0</inkml:trace>
  <inkml:trace contextRef="#ctx0" brushRef="#br0" timeOffset="56209.04">20638 10782 0,'-14'0'0,"1"0"0,40 0 0,-54 13 0,14-13 16,0 13-16,-14 0 15,14 1-15,0-1 0,-1-13 16,14 13-16,-13 0 0,13 1 16,0-1-1,13-13-15,27-13 16,-27 13 0,1-14-16,-1 14 15,-13-13-15,13 13 0,0-13 0,1 13 16,-1 0 15,-13 26-15,0-12-1,-13-1-15,13 0 0,0 0 0,-14 14 16,14-14 0</inkml:trace>
  <inkml:trace contextRef="#ctx0" brushRef="#br0" timeOffset="56466.08">20915 10583 0,'0'-13'16,"0"26"-16,0 1 15,-13-1-15,13 0 0,0 0 0,-13 14 16,0-14-16,13 13 0,-14-12 16,1 12-16,0-13 0,13 14 0,-13-14 0,-1 0 15,1 0-15,13 1 16,-13-1-16,13 0 0,-13 0 16,13 1-16,0-1 0</inkml:trace>
  <inkml:trace contextRef="#ctx0" brushRef="#br0" timeOffset="56764.14">20968 10782 0,'-13'0'0,"0"0"31,13 13-15,0 0-16,13 0 16,-13 1-16,0-1 15,0 13 1,-13-12 0,13-1-16,-13-13 0,-1 13 15,14 0-15,-13-13 0,0 0 0,0 14 16,-1-14-16,1 0 15</inkml:trace>
  <inkml:trace contextRef="#ctx0" brushRef="#br0" timeOffset="57033.88">21220 10808 0,'26'-13'0,"-26"0"0,-26 39 16,65-52-16,-39 13 0,-26 13 16,13 13-1,-14-13-15,14 13 16,0-13-16,-1 13 0,1 0 0,0-13 16,0 14-16,0-1 15,13 0-15,0 0 16,13 1-16,0-14 0,13 0 15,-12 0-15,12 13 16,1-13-16,-14 0 0,40 0 16,-27 0-16,1 0 0</inkml:trace>
  <inkml:trace contextRef="#ctx0" brushRef="#br0" timeOffset="59186.59">17066 10980 0,'26'-26'47,"-13"26"-47,14-13 0,-1-1 16,1 1-16,-1 0 0,93-40 31,-79 26-31,-27 14 0,14 0 16,-14 13-16,0-13 0,0 0 0,0 13 15,1-14-15,-1 1 16</inkml:trace>
  <inkml:trace contextRef="#ctx0" brushRef="#br0" timeOffset="59469.97">17357 10636 0,'79'0'0,"-66"13"15,14 1-15,-14-14 0,0 13 0,0 0 16,1 0-16,-1 1 0,-13-1 0,13 0 16,0 14-1,-13-14-15,0 0 0,-13 0 0,13 0 16,0 1-16,-13-1 0,13 0 16,-13-13-16,13 13 0,-14 14 15,1-14-15</inkml:trace>
  <inkml:trace contextRef="#ctx0" brushRef="#br0" timeOffset="59962.05">17833 10478 0,'0'-14'0,"-13"41"15,13-14-15,0 0 16,0 0-16,0 1 16,0 12-16,0-13 0,0 14 0,0-1 0,0 14 15,0-27-15,0 27 16,0-14-16,0-12 16,0-1-16,0 0 0,0 0 0,0 0 15</inkml:trace>
  <inkml:trace contextRef="#ctx0" brushRef="#br0" timeOffset="60405.55">17740 10729 0,'14'-13'0,"-28"26"0,41-26 0,-1-1 16,-13 14-16,1-13 0,-1 13 0,0-13 15,0 13-15,14 0 0,-14-13 16,14-1-16,-1 14 0,-13-13 16,0 13-16,1-13 0,-1 13 15,0-13-15,0 13 16,1 0-16,-1 0 16,-13 13-1,13-13-15,-13 13 0,0 0 0,0 1 16,0-1-16,0 0 15,0 0-15,0 1 16,0-1-16,0 0 16,13-26 15,1 0-31,-1-1 16,-13 1-16,13 0 0,0 0 0,0-1 15,1 1-15,12-13 16,-26 13-16,13 13 0,-13-14 15,14 14-15,-1 0 0,0 0 32</inkml:trace>
  <inkml:trace contextRef="#ctx0" brushRef="#br0" timeOffset="60845.62">18336 10557 0,'0'-13'0,"0"39"32,0 1-17,0-14 1,0 0-16,0 0 16,0 0-16,13-13 15,0 0 1,14 0-16,-14 0 0,0-13 15,0 13-15,0-13 0,1 13 16,-14-13-16,13 0 0,0 13 0,0-14 16,1 1-1,-28 40 17,14-14-17,0 0 1,14-13-1,-1 0-15,0 0 0,-13-13 16,13 13-16,1-13 16,-1 13-1,-13-14-15,13 14 16,-26 27 15</inkml:trace>
  <inkml:trace contextRef="#ctx0" brushRef="#br0" timeOffset="61434.66">18785 10544 0,'27'-80'16,"-40"67"0,-1 26-1,1 1-15,0-1 0,0 0 16,-1 13-1,14-12-15,0-1 0,0 0 16,0 0-16,14 1 16,-1-1-16,0-13 0,-13 13 15,13-13-15,1 0 0,12 13 0,-13-13 0,1 0 16</inkml:trace>
  <inkml:trace contextRef="#ctx0" brushRef="#br0" timeOffset="61558.59">19076 10597 0,'0'0'16,"14"0"-16</inkml:trace>
  <inkml:trace contextRef="#ctx0" brushRef="#br0" timeOffset="61831.57">17727 11060 0,'-40'13'15,"80"-26"1,0 13-1,66-14-15,-40 1 16,0-13-16,0 12 0,93-25 16,-80 12-16,1 1 0,12-1 15,-12 14-15,-1-13 0,-13-1 0,66 1 16,-79 13-16,0 13 16,-40 0-16,1 0 15</inkml:trace>
  <inkml:trace contextRef="#ctx0" brushRef="#br0" timeOffset="61999.11">17793 11165 0,'40'-13'15,"-14"13"-15,14-13 0,0 0 0,26-1 16,0-12-16,0 13 0,14-14 15,25 1-15,-12-14 0</inkml:trace>
  <inkml:trace contextRef="#ctx0" brushRef="#br0" timeOffset="62481.67">21815 11218 0,'-212'40'0,"146"-14"0,0-12 0,0-1 15,-67 27-15,54-14 16,13-13-16,0 14 0,13-14 16,-13 13-16,13-12 0,-27 12 15,67-13-15,-13-13 0,13 0 16</inkml:trace>
  <inkml:trace contextRef="#ctx0" brushRef="#br0" timeOffset="62652.09">22225 10967 0,'-79'40'16,"12"-14"-16,-25 14 0,-14-1 0,-13 1 15,0 13-15,-13 0 0,-14 0 16,14-13-16,-14 13 0,-12-1 0,12 1 16,1-13-16</inkml:trace>
  <inkml:trace contextRef="#ctx0" brushRef="#br0" timeOffset="-124950.27">5940 2183 0,'79'-13'0,"-52"13"0,12-14 0,14 14 16,0 0-16,0-13 0,0 13 15,13 0-15,0-13 0,1 13 0,12 0 0,-13 0 16,0-13-16,14 13 15,-14 0-15,13 0 0,40-14 16,-66 14-16,0 0 0,-13 0 0,-1 0 16,-12 0-16,-1 0 0,-13 0 15,14 0-15</inkml:trace>
  <inkml:trace contextRef="#ctx0" brushRef="#br0" timeOffset="-124605.64">6244 2236 0,'66'0'15,"-39"0"-15,26-14 16,0 14-16,132-13 15,-106 13-15,-13-13 0,14 13 0,-1 0 16,-13-13-16,80 13 16,-80 0-16,-13 0 0,0-13 0,66 13 15,-93 0 1,1 0-16,-14 0 0,13 0 16,-12 0-16,-1 0 0,0 0 0,14 0 15,-14 0 1</inkml:trace>
</inkml:ink>
</file>

<file path=ppt/ink/ink17.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43:13.579"/>
    </inkml:context>
    <inkml:brush xml:id="br0">
      <inkml:brushProperty name="width" value="0.05292" units="cm"/>
      <inkml:brushProperty name="height" value="0.05292" units="cm"/>
      <inkml:brushProperty name="color" value="#0070C0"/>
    </inkml:brush>
  </inkml:definitions>
  <inkml:trace contextRef="#ctx0" brushRef="#br0">1310 1601 0,'529'-66'0,"-450"66"0,1-14 0,78 1 16,-78 13-16,-1-13 15,-13 13-15,14-13 0,-14 13 0,-13-14 0,53 1 16,-54 13-16,-12 0 16,40-13-16,-54 13 15,-13 0-15,0 0 0,1 0 0</inkml:trace>
  <inkml:trace contextRef="#ctx0" brushRef="#br0" timeOffset="425.96">1680 1693 0,'79'-13'0,"-158"26"0,211-26 16,-65 0-16,78 0 16,-79 13-16,14-14 0,-1 1 15,0 13-15,1-13 0,-14 13 0,0 0 0,40 0 16,-66-13-16,65 26 16,-78-13-1,-14 0-15,0 0 0,1 0 0,-1 0 16</inkml:trace>
  <inkml:trace contextRef="#ctx0" brushRef="#br0" timeOffset="1304.96">9684 939 0,'26'0'0,"-13"0"16,1-13-16,12 13 0,67 0 15,-67 0-15,14 0 16,-14 0-16,14 0 0,0 0 0,-14 0 16,14 0-16,-14-13 0,1 13 0,26 0 15,-27-13-15,-13 13 16,1 0-16,-1 0 0</inkml:trace>
  <inkml:trace contextRef="#ctx0" brushRef="#br0" timeOffset="1580.09">10041 728 0,'40'0'15,"-27"0"1,0 13-16,14-13 0,-14 13 0,13-13 0,1 13 16,12 1-16,-12-1 0,-1 0 15,14 0-15,-27 14 0,14-14 16,-1 13-16,-13-12 0,1-1 16,-14 0-16,13 0 0,-26 0 15,13 1-15,-14-1 0,1 13 0,-13 1 16,12-1-16,-12 1 0,0-1 0,-1-13 15,1 14-15,12-14 16,1 0-16</inkml:trace>
  <inkml:trace contextRef="#ctx0" brushRef="#br0" timeOffset="2077.94">11615 542 0,'13'53'15,"-13"-39"-15,14-1 0,-14 13 0,0 1 16,0-1-16,0 1 0,0-14 16,0 40-16,0-14 0,0-12 15,13-14-15,-13 0 16,0 27-16,-13-40 0,26 13 15,-13 0-15</inkml:trace>
  <inkml:trace contextRef="#ctx0" brushRef="#br0" timeOffset="2424.85">11509 635 0,'0'-13'0,"14"0"0,12-14 16,-13 27-16,1-13 16,12 13-16,0 0 0,-12 0 0,12 0 15,40 13-15,-39 14 16,12-14-16,-12 13 0,-14 1 15,0-1-15,1-13 0,-1 14 0,-13-14 0,0 14 16,0-14-16,-13 13 16,-1 1-16,1-1 0,0 1 0,-14-1 15,14 0-15,-13-26 0,13 14 0,-1-1 16,1 0-16,0 0 0,0 1 16,-1-14-16,1 13 0,0-13 15,0 0-15,-1 13 0</inkml:trace>
  <inkml:trace contextRef="#ctx0" brushRef="#br0" timeOffset="2882.39">12052 873 0,'39'-13'0,"-78"26"0,92-39 15,-53 12-15,13 1 16,-13 0-16,0 0 0,13 0 16,-13-1-16,0 1 15,-13 26 17,0 1-32,-1-14 0,14 26 15,-13-13-15,13 0 16,-13 27-1,13-27-15,26 14 16,-12-14 0,-1-13-16,0 0 0,0 0 15,27 0-15,-27 0 0,1 0 16,12-13-16</inkml:trace>
  <inkml:trace contextRef="#ctx0" brushRef="#br0" timeOffset="3185.43">12356 648 0,'-40'13'15,"40"14"-15,14-14 16,-14 0-16,0 1 0,13-1 0,-13 0 15,13 27-15,0-27 16,0 13-16,-13-12 0,14-1 16,-14 0-16,0 0 0,0 1 15,0-1 1,0 0-16,-14-13 0,1 13 0,0 0 16,0-13-16,0 0 15,-1 0-15,1 0 16</inkml:trace>
  <inkml:trace contextRef="#ctx0" brushRef="#br0" timeOffset="3528.73">12647 622 0,'0'-13'0,"-13"39"31,13-13-31,0 0 15,0 14-15,0-14 0,0 14 16,0-14-16,0 0 16,13 0-16,0 14 15,1-14-15,-1 0 16,0-13-16,0 0 16,14 0-16,-14 0 0,0 0 15</inkml:trace>
  <inkml:trace contextRef="#ctx0" brushRef="#br0" timeOffset="3981.07">12951 595 0,'0'-13'16,"27"26"-16,-27 1 0,13-1 15,-13 0-15,0 0 16,0 14-16,0-14 0,0 13 16,0-12-16,0-1 15,0 0-15,0 0 16,27-26 31,-27 0-47,13-14 15,13 14-15,-26 0 0,13 13 16,1-13-16,-1-1 16,0 1-16,0 0 0</inkml:trace>
  <inkml:trace contextRef="#ctx0" brushRef="#br0" timeOffset="4167.2">13322 542 0,'13'0'0,"-13"27"31,0-14-31,0 0 16,0 1-16,0 12 0,0-13 15,0 27-15,-13-14 16,13-12-16,0 12 0,0-13 16,-13 1-16,13-1 15</inkml:trace>
  <inkml:trace contextRef="#ctx0" brushRef="#br0" timeOffset="4320.89">13388 463 0,'-13'-13'16</inkml:trace>
  <inkml:trace contextRef="#ctx0" brushRef="#br0" timeOffset="4812.91">13613 304 0,'-13'146'15,"-1"-1"1,14-118-16,-13 52 16,0-52-1,0 12 1,13-25-16,0-1 0,0 0 15,0 0 1,13-52 0,-13 25-1,13-12-15,0-1 0,14 1 16,-27 13-16,13-1 16,13-12-16,1 26 0,-14-13 15,0 13-15,1 0 16,-1 13-16,0 0 15,-13 0-15,-13 1 16,0 25-16,-1-25 16,1 12-16,0 1 15,0-14 1,13 0 0,13 0-1,13-13 1</inkml:trace>
  <inkml:trace contextRef="#ctx0" brushRef="#br0" timeOffset="5137.06">13917 781 0,'93'-80'16,"-80"67"-16,0 0 15,0-14-15,-13 14 16,0 0-16,-13 13 16,0 13-1,0-13-15,-14 13 0,14-13 16,0 13-16,0 1 0,-1-1 15,14 0 1,0 0-16,27 1 16,-14-14-16,0 13 15,0-13-15,14 0 16</inkml:trace>
  <inkml:trace contextRef="#ctx0" brushRef="#br0" timeOffset="5476.91">12144 1177 0,'27'-13'16,"79"-27"0,-53 27-16,13 0 0,13-13 15,80-1-15,119-39 16,-93 39 0,66 1-16,-92 13 15,-106 13-15,53 0 16,-40 0-1,-53 0-15,14 0 0,-41 13 32</inkml:trace>
  <inkml:trace contextRef="#ctx0" brushRef="#br0" timeOffset="5742.83">12303 1217 0,'53'0'0,"119"-26"15,-26 12-15,26-12 16,92-1 0,-171 14-16,132-13 15,-106-1 1,-80 27-16,67-13 15,-66 0-15,0 13 16,-27 0-16,0-13 16,0 13-16</inkml:trace>
  <inkml:trace contextRef="#ctx0" brushRef="#br0" timeOffset="14465.51">14579 847 0,'-14'0'0,"41"13"31,-14-13-31,0 0 0,0 13 16,14-13-16,-14 0 0,14 0 16,-1 0-16,1 13 0,-1-13 0,0 0 15,1 0-15,-1 0 0,1 0 16,-1 0-16,1 0 0,-1 0 0,1 0 15,-14 0-15,27 0 0,-27 0 16,0 0-16,0-13 0</inkml:trace>
  <inkml:trace contextRef="#ctx0" brushRef="#br0" timeOffset="14741.28">15028 688 0,'40'13'0,"-27"-13"16,0 13-16,1-13 0,-1 14 0,13-14 0,-12 13 16,-1 0-16,0 0 0,0 1 0,1-1 15,-14 0-15,13 0 16,-13 0-16,0 1 0,0-1 0,0 0 15,0 0-15,0 1 0,-13 12 16,-1-26-16,1 13 0,0 0 16,-14 1-16,1-1 15,13 0-15,-1-13 0</inkml:trace>
  <inkml:trace contextRef="#ctx0" brushRef="#br0" timeOffset="33499.75">17119 886 0,'-27'0'32,"14"0"-17,0 0-15,-1 0 16,1 0-16,0 14 0,0-14 16,-14 0-16,14 13 15,0-13-15,0 13 0,-1-13 16,14 13-16,-13-13 15,13 13-15,13-13 16,-13 14-16,14-14 16,-1 13-16,0-13 0,13 13 15,-12 0-15,12-13 0,-13 14 16,1-1-16,-1 0 16,0-13-16,-13 13 0,13-13 15,-13 14-15,0-1 16,0 0-16,-13 0 0,0-13 0,13 13 15,-27-13-15,14 14 0,0-1 16,0-13-16,-14 13 0,14-13 0,-13 13 16,12-13-16,1 0 0,0 14 0,0-14 15,-1 0-15,1 0 0,0 0 0</inkml:trace>
  <inkml:trace contextRef="#ctx0" brushRef="#br0" timeOffset="34417.08">17449 952 0,'-13'-13'16,"-13"26"-16,-1 1 31,14-1-31,13 0 0,-13-13 15,13 13-15,0 1 0,-14-14 0,14 13 16,0 0-16,0 0 16,14-13-1,12-13 1,-13 0 0,1 0-16,-1-14 15,-13 14 1,13 13-16,-13-13 0,13 26 47,-13 13-32,0-12 1,0-1-16,13 0 0,-13 0 16,14-13-16,-14 14 0,13-14 15,-13 13-15,13-13 0</inkml:trace>
  <inkml:trace contextRef="#ctx0" brushRef="#br0" timeOffset="34989.53">17634 952 0,'0'-13'0,"-13"26"16,13 1-1,0-1-15,0 0 16,0 0-16,0 1 16,0-1-1,0 0 1,13-26 15,14 0-15,-14 13-1,-13-14-15,13 14 0,1 0 16,-1 0 0,0 0-16,0 14 15,1-14-15,-14 13 31,13-13-31,-13 13 16,13-13 0,0-13-1,14 0 1,-14 13 0,-13-14-16,13 14 15,0 0-15,1 14 16,-1-14-16,0 13 15,0 0 1,-13 0 0,14-13-1</inkml:trace>
  <inkml:trace contextRef="#ctx0" brushRef="#br0" timeOffset="35517.89">18031 807 0,'0'-40'0,"0"80"32,0-27-32,0 0 15,0 14-15,0-1 0,-13 1 0,13 12 16,0-12-16,0 13 0,-13-1 15,13-12-15,0-1 0,0 1 16,0 26-16,-13 0 16,13-27-16,0-13 0,0 0 15,0 1-15,0 12 0,0-13 16,0 1-16,0-1 0,0 0 16,13-39 15,-13 12-31,0-12 0,0 13 15,13-14-15,-13 1 16,13-14-16,1-13 0,-1 27 0,-13-1 16,13 14-16,-13 0 0,13-14 15,-13 14-15,14 0 16,-14 0-16,13-1 0,0 1 16,0 13-16,0 13 15,-13 1 1,14-14-16,-14 13 0,0 0 15,13 0-15,-13 1 0,0-1 0,-13 0 16,13 0-16,0 0 16,-14 1-16,14-1 0,0 0 0,-13-13 15,0 27-15,0-14 0,0-13 16,13 13-16,-14-13 0</inkml:trace>
  <inkml:trace contextRef="#ctx0" brushRef="#br0" timeOffset="35764.24">18296 873 0,'13'0'16,"-26"0"-16,26 13 31,-13 1-31,0-1 0,0 0 15,0 13-15,-13 14 16,13-27 0,0 14-16,-13-1 15,13-12-15,0-1 0,0 13 16,13-26-16</inkml:trace>
  <inkml:trace contextRef="#ctx0" brushRef="#br0" timeOffset="36030.19">18441 1098 0,'40'-53'0,"-40"40"31,-13 13 0,0 13-31,-1 14 16,28-1 15,12-13-15,-13 0 0,1-13-16</inkml:trace>
  <inkml:trace contextRef="#ctx0" brushRef="#br0" timeOffset="36645.19">19368 833 0,'0'0'0,"-14"-13"16,1 13-16,0-13 0,0 13 15,-14 0-15,14 0 16,-14 0-16,14 0 0,0 13 15,0-13-15,0 13 0,-1-13 16,14 27-16,0-14 16,0 0-16,14 14 15,-1-14-15,0 13 16,0-26-16,0 0 0,1 14 0,-1-1 16,-13 0-16,13-13 0,-13 13 15,13 1-15,1-1 16,-14 0-16,-14 0 15,1-13-15,13 14 0,-40-1 16,27 0-16,0-13 0,0 13 16,-27 0-16,27-13 15,0 0-15,-14 14 0,14-14 16,0 0-16,-1 0 0</inkml:trace>
  <inkml:trace contextRef="#ctx0" brushRef="#br0" timeOffset="37041.94">19394 966 0,'0'-14'0,"-13"41"15,0-27 1,13 13-16,0 14 16,0-14-16,13-13 15,-13 13-15,13-13 16,0 0 0,0 0-16,1 0 15,-14-13-15,13 13 0,0-13 16,0-1-1,1 28 17,-14 12-17,13-13-15,-13 1 16,0-1-16,13 0 16,13 0-1</inkml:trace>
  <inkml:trace contextRef="#ctx0" brushRef="#br0" timeOffset="37522.94">19725 847 0,'0'-14'0,"0"28"15,-14-1 16,14 0-31,0 0 16,-13 40-16,0-40 16,13 14-16,-13-1 0,13 1 0,-13 13 15,13-14-15,-14 14 0,14-14 0,-13-13 16,13 14-16,0-14 0,-13 0 16,13 1-16,0-1 0,-13 13 15,13-13-15,0-39 47,0 13-47,0-14 0,26-26 16,-13 27-16,-13-1 15,14 1-15,-1 0 0,13-1 16,-13-13-16,1 40 16,-1-13-16,0 0 0,0 13 0,1-13 15,-1 13-15,0 0 0,0 0 16,-13 13-16,27-13 0,-27 13 15,0 0-15,0 1 16,-40 12 0,27-26-16,-14 13 15,14 1-15,0-1 0,0-13 0,-1 13 16,-25-13 0</inkml:trace>
  <inkml:trace contextRef="#ctx0" brushRef="#br0" timeOffset="38063.9">19910 979 0,'0'-13'0,"-27"26"15,27 0 1,-13 0-1,13 1-15,13-14 16,-13 13-16,14 0 16,-1 0-1,0-13 17,-13 14-17,13-14 1,1-14-1,-1 14 17,0 0-17,0 0 1,0 0 0,14-13-1,-14 13 1</inkml:trace>
  <inkml:trace contextRef="#ctx0" brushRef="#br0" timeOffset="38595.55">20016 952 0,'13'14'15,"0"-1"1,-13 0-16,13 0 0,-13 1 15,14 25 1,-14-12-16,0-14 16,13 0-1,-13 0 1,13-39 15,0 0-15,-13 12-1,27 1-15,-14 0 16,-13 0-16,13-1 0</inkml:trace>
  <inkml:trace contextRef="#ctx0" brushRef="#br0" timeOffset="38864.31">20333 873 0,'0'0'15,"-13"0"-15,13 13 32,0 27-17,0-27-15,0 0 0,0 1 16,0 12-16,0-13 16,0 1-1,0-1-15,0 0 0,0 14 16,-13-14-16,13 0 15,-13 0 1,-1 0-16,-12 1 16,13-14-16</inkml:trace>
  <inkml:trace contextRef="#ctx0" brushRef="#br0" timeOffset="39073.08">20452 860 0,'14'13'16,"-14"0"-1,0 14 1,0-14-16,0 13 16,-14 1-16,14-14 0,0 27 15,0-27-15,0 0 16,0 14-16,0-1 15,0-13-15</inkml:trace>
  <inkml:trace contextRef="#ctx0" brushRef="#br0" timeOffset="39541.87">20426 1032 0,'0'0'16,"0"-13"-1,13 13-15,0-14 0,14 14 16,-14-13-16,27 13 16,-27 0-16,0 0 0,0-13 15,14 13-15,-1 0 16,-12-13-1,-1 13-15,0 0 16,-26 13 0,13 0-1,0 0 1,0 1-16,0-1 0,13 0 16,-13 0-16,13 1 15,0-1 1,14-13-16,-14 0 15,0 0-15,1-13 16,-14-1 0,13 1-16,-26 13 15,13-26-15,0 12 16,0 1-16,-14 0 16,1 13-16,0-13 15,0 13-15</inkml:trace>
  <inkml:trace contextRef="#ctx0" brushRef="#br0" timeOffset="39835.48">20783 966 0,'26'13'0,"-26"0"16,14 0-16,-14 1 15,13-14-15,-13 13 16,0 0-16,-53-92 15,106 171-15,-53-78 16,26-28 31,-26 1-31,14-13-16,-1 26 15,-13-14-15,13 14 0,0-13 16,1 0-16,-1 0 0,0 13 15,13 0 1</inkml:trace>
  <inkml:trace contextRef="#ctx0" brushRef="#br0" timeOffset="40902.14">21312 860 0,'0'13'16,"0"0"-1,0 1-15,-13-14 0,13 13 16,0 0-16,-13 0 0,13 0 0,-14-13 16,14 14-16,0-1 0,-13 0 15,13 0-15,0 1 0,0-1 16,0 0-1,13 0 1,1-13-16,-1 0 0,0 14 16,0-14-16,1 0 15,-1 0-15,0 0 0,0-14 16,1 14-16,12 0 0,-13 0 16,-13-13-16</inkml:trace>
  <inkml:trace contextRef="#ctx0" brushRef="#br0" timeOffset="41084.83">21286 952 0,'26'0'15,"-13"0"-15,1 0 16,12 0-16,-13 0 0,1 0 15,-1 0-15,0-13 0,0 13 16</inkml:trace>
  <inkml:trace contextRef="#ctx0" brushRef="#br0" timeOffset="41384.94">21405 886 0,'0'0'15,"0"-13"1,26 13-1,-13 0 1,1 0-16,-1 0 0,0 0 0,0 0 16,1-13-16,-1 13 0,0 0 15,14 0-15,-14 0 0,13 0 16,-13 0-16,1 0 16,-1 0-1,-13 13-15,0 0 16,-13 1-1,13-1-15,-14 0 0,14 0 0,-26 14 16,0-1-16,12-13 16,1 1-16,0-1 0,13 0 0,-27 0 15,14 1-15,13-1 0,-13 0 16</inkml:trace>
  <inkml:trace contextRef="#ctx0" brushRef="#br0" timeOffset="41600.75">21537 926 0,'13'13'15,"1"0"-15,-1 1 16,13 25-1,-26-25-15,13-14 16,1 13-16,12 0 0,-13 0 16,1-13-16</inkml:trace>
  <inkml:trace contextRef="#ctx0" brushRef="#br0" timeOffset="42274.21">21974 913 0,'-14'0'15,"28"0"-15,-41 0 16,14 13-16,0-13 16,0 13-16,-14 0 15,27 1 1,-13-1-16,13 0 0,0 0 15,0 1-15,0-1 0,0 0 16,13-13-16,-13 13 0,13 1 16,1-14-16,-1 0 0,0 0 0,0 13 15,14-26 1,-14 13-16,0-14 16,14 1-16,-14 0 0,0 13 15,-13-13-15,13-1 0,0 14 16,-13-13-16,14 0 0,-1 13 15,-26 13 17,-1 14-17,14-14 1,0 0-16,0 0 16,0 1-1,14-14-15,-1 0 16,0 0-16,14 0 15,-14 0-15,0-14 0,-13 1 16,13 13-16,14-26 16,-1-1-16,1-13 0,-1 27 15,-13-13-15,1 13 0,-14-1 0,13 1 16,-13 0-16,13 13 16,-13-13-16,0-1 0,-13 41 31,0-14-31,-1 0 15,14 1-15,-13-1 16,13 0-16,0 0 0,-13 0 0,13 1 16,0-1-16,0 0 15,0 0-15,13 1 16,0-14-16,1 13 16</inkml:trace>
  <inkml:trace contextRef="#ctx0" brushRef="#br0" timeOffset="43247.58">22979 622 0,'13'0'0,"-13"26"15,0-13-15,-13 1 16,13-1-16,0 13 0,-13-12 15,13-1-15,0 13 0,-13-12 0,13-1 16,-14 0-16,14 0 0,-13 14 16,0-14-16,13 0 0,0 0 15,-13 1-15</inkml:trace>
  <inkml:trace contextRef="#ctx0" brushRef="#br0" timeOffset="43642.28">23191 569 0,'0'0'0,"-13"26"47,-1-26-47,14 14 0,-13-1 0,13 0 15,-13 27 1,13-27-16,0 0 0,-13 14 16,26-14-16,-13 0 0,0 0 15,13 1-15,0-1 16,1-13-16,-1 13 0,0-13 16,0 0-16,0-13 15,1 13-15,-14-13 16,13-1-16,0 1 0,-13 0 15,13-14-15,-13 14 16,0 0-16,0 0 0,0-1 16,-13 1-16,0 13 15,0-13 1,-1 26-16,1-13 16</inkml:trace>
  <inkml:trace contextRef="#ctx0" brushRef="#br0" timeOffset="44000.18">23429 701 0,'0'27'16,"-13"-1"-1,-1-13-15,1 1 16,0 12-16,0-13 16,-1-13-16,14 13 0,-13-13 15,0 14-15,13-1 0</inkml:trace>
  <inkml:trace contextRef="#ctx0" brushRef="#br0" timeOffset="44386.4">23574 569 0,'0'0'16,"-13"26"-1,0 14 1,0-27-16,13 0 15,0 1-15,0-1 0,0 0 0,0 0 16,0 1-16,0-1 16,13 0-16,0-13 15,0 13-15,1-13 0,12 0 16,-13 0 0,1-13-16,-1 0 15,-13 0-15,13 13 16,-13-14-16,0 1 15,0 0-15,-13 0 16,13-1-16,-13 14 16,-1 0-16,1 0 0,13-13 15,-13 13 1</inkml:trace>
  <inkml:trace contextRef="#ctx0" brushRef="#br0" timeOffset="44694.24">23746 595 0,'14'14'31,"-28"12"-15,14-13-16,0 0 16,0 1-16,14-1 15,-14 0-15,13 0 16,0-13-16,-13 14 15,26-14-15,-12 0 16,-1-14-16,0 14 16,0-13-16,1 0 15,-14 0-15,13-1 0,-13 1 16,0 0-16,0 0 16,-13 0-1,-1 13-15,1 0 16,0 0-16,0 13 0,-14-13 0,14 13 15</inkml:trace>
  <inkml:trace contextRef="#ctx0" brushRef="#br0" timeOffset="45315.14">24077 582 0,'0'-13'15,"-13"39"1,0-26-16,13 14 0,-14-1 16,14 13-1,0-13-15,0 14 16,14-14-1,-1 0-15,0-13 0,0 0 16,1 0 0,-1-13-16,0 0 15,-13 0-15,0-1 16,0 1 0,0 0-16,0 0 0,-13 13 15,0 0 1,-1 0-16,1 0 15</inkml:trace>
  <inkml:trace contextRef="#ctx0" brushRef="#br0" timeOffset="47197.76">23270 1032 0,'13'-13'15,"1"13"-15,-1 0 16,0 0-16,0 0 16,0 13-1,1 0 1,-28 0-16,1 14 15,13-14 1,-13-13-16,13 13 0,-13 0 16,13 1-16,-13-14 15,13 13-15,0 0 32,26-13-17,-13 0-15,0 0 16,1 0-16,-1 0 0,0 0 15,0-13-15,14 13 0,-14 0 0</inkml:trace>
  <inkml:trace contextRef="#ctx0" brushRef="#br0" timeOffset="47518.58">23707 1005 0,'-14'-13'0,"1"13"31,0 0-15,0 13-16,0 1 0,-1-1 16,14 0-16,-13 0 15,26 14 1,14-14 0,-14-13-1,27 0 1,-27-13-1,0-14 1,-13 14 0,-13 0-1,0 0 1,-1 13 0</inkml:trace>
  <inkml:trace contextRef="#ctx0" brushRef="#br0" timeOffset="48049.42">23958 966 0,'-26'0'31,"12"13"-31,-12 13 16,-1-12 0,14 12-16,0-13 15,13 1-15,-13-14 0,13 13 16,13 0 0,0-13-16,0 13 15,1-13-15,12-13 16,1 13-1,-14 0 1,0 0 0,0 13-1,0 0-15,1-13 32,-1 0-32,0 0 0,0 14 15,1-14-15,-1-14 0,0 14 16,0 0-16,-13-13 15,14 13-15,-14-13 0,0 0 16,0 0-16,0-1 16,0 1-16,-14 13 15,1-13-15,0 13 16,0 0 0,-1 0-16</inkml:trace>
  <inkml:trace contextRef="#ctx0" brushRef="#br0" timeOffset="48448.89">24315 873 0,'0'-13'15,"-13"39"1,13-12-16,-13-1 16,13 0-16,-13 0 0,13 0 15,0 1 1,0-1-16,0 0 0,0 0 16,0 1-16,13-14 0,-13 13 15,13-13 1,13 13-16,-12-13 15,-1 0 1,-13-13-16,13 13 16,0 0-16,1 13 31,-1 0-15,0 1 15,0-14-16,1 0-15</inkml:trace>
  <inkml:trace contextRef="#ctx0" brushRef="#br0" timeOffset="48702.05">24606 952 0,'0'0'0,"0"27"79,13-27-64,1 13 16</inkml:trace>
  <inkml:trace contextRef="#ctx0" brushRef="#br0" timeOffset="49653.23">23733 1230 0,'225'27'15,"-199"-27"-15,27 0 0,-13 13 16,-13-13-16,25 0 16,-12 0-16,0 0 0,39 0 0,-52 0 15,12 0-15,-12 0 0,13 0 16,12 0-16,1-13 16,-26 13-16,-1 0 0,1 0 0,-1-13 15,1 13-15,-14-14 16,13 14-16,-12-13 0,12 13 0,0-13 15,-12 0-15,25-1 0,-25 1 16,-1-13-16,13 12 0,-12 1 16,-1 0-16,0-13 0,0 12 0,0-25 15,1 12-15,-1 14 0,-13-14 16,13 27-16,-13-13 0,13-13 16,-13 13-16,0-14 0,0 14 0,0-14 15,0 1-15,0 0 0,0-1 16,0 1-16,-13-1 0,0-13 15,0 14-15,-1-14 0,1 14 0,0-1 16,-40-26-16,13 1 16,14 25-16,-1 1 0,1-1 15,0 14-15,-1-13 0,-13 12 0,14-12 16,-1 13-16,-12-1 0,12 1 0,-12 0 16,-1 0-16,14-1 0,-14 14 15,13-13-15,-12 13 0,-1-13 16,14 13-16,-14-13 0,13 13 0,1-13 15,-14 13-15,1 0 0,-1-14 0,0 14 16,-13-13-16,14 13 0,-1-13 16,0 13-16,0 0 0,1-13 15,-1 13-15,-13-14 0,27 14 0,-14-13 16,0 13-16,1-13 0,12 13 0,-12 0 16,12-13-16,1 13 0,-1 0 15,-26 0-15,27 0 0,-14 0 16,14 13-16,-1-13 0,-12 13 0,-41 0 15,40 1-15,14-1 16,-14 0-16,-13 14 0,14-14 16,12 13-16,1-13 0,-1 14 15,1-14-15,-14 14 0,14-1 16,-1 1-16,14-1 0,-13 0 0,-1 1 16,-13 39-16,27-40 0,0 1 15,0 13-15,-1-14 0,14 1 16,-13-1-16,13-13 0,13 14 0,-13-1 15,14 1-15,-1-1 0,0 1 0,0-1 16,14 0-16,-1 1 16,27 26-16,-26-40 0,92 27 15,-66-14-15,0-13 0,0 1 16,-14-1-16,54 13 16,-14 1-16</inkml:trace>
  <inkml:trace contextRef="#ctx0" brushRef="#br0" timeOffset="50050.66">23998 1283 0,'0'40'15,"0"-27"-15,-14 0 16,14 1-16,0-1 0,0 0 0,0 0 0,-13 1 16,13-1-16,0 0 15,0 0-15,0 0 0,-13 1 0,13-1 0,0 13 16,0-12-16,0-1 16,-13-13-16,13 13 0,0 0 15,0 1-15,0-1 16</inkml:trace>
  <inkml:trace contextRef="#ctx0" brushRef="#br0" timeOffset="50365.12">23865 1495 0,'-13'13'31,"0"14"-15,13-14-16,0 0 16,0 0-16,13 1 15,-13-1-15,13 0 16,1-13-16,-14 13 16,13-13-16,0 0 0,-13 13 15,13-13-15,1 0 0,-1 0 16,0 0-16,0-13 0,0 13 15,1 0-15,-14-13 0,13 13 16,0-13-16,0 13 0,1-13 0,-1-1 16</inkml:trace>
  <inkml:trace contextRef="#ctx0" brushRef="#br0" timeOffset="51280.18">23442 1998 0,'-13'26'31,"13"-13"-31,0 14 15,0-14-15,-13 27 16,13-27-16,0 13 0,-14-12 16,14 12-16,-13 0 15,13 1 1,-13-27 0,13-27 15,0 14-16,0 0-15,0 0 0,0 0 0,0-1 16,13-12-16,-13 13 0,0-1 16,13-12-16,-13 13 0,0 0 0,14 13 15,-14-14-15,0 1 0,13 13 16,-13-13-16,13 13 0,14 13 16,-27 0-1,13-13-15,-13 14 0,13 12 16,-13-13-1,0 0-15,0 1 0,-13-14 0,13 26 16,-27 1-16,27-14 16,-13-13-16,0 13 0,0 0 15,-1 0-15,-12 1 16,13-14-16,-1 0 0,1 13 16</inkml:trace>
  <inkml:trace contextRef="#ctx0" brushRef="#br0" timeOffset="51785.99">23614 2103 0,'-26'14'31,"26"-1"-15,-14 0-16,1 14 15,13-14 1,0 0-16,0 0 15,13 0 1,1-13 0,-1 0-1,0 0-15,0-13 16,1 13-16,-14-13 16,13 13-16,0-13 15,0 0 1,-13 39 31,-13-13-16,26 0-15,0 1-16</inkml:trace>
  <inkml:trace contextRef="#ctx0" brushRef="#br0" timeOffset="52099.07">23892 2117 0,'-27'0'16,"14"13"-16,0 0 31,13 0-31,0 1 0,0 12 31,0-13-31,0 0 16,0 1-16,0-1 16,-13 0-1,-1 0 1,1 1-1,0-14-15,0 13 16,0-13-16</inkml:trace>
  <inkml:trace contextRef="#ctx0" brushRef="#br0" timeOffset="52531.19">23998 1958 0,'0'0'15,"13"13"1,-26 14-16,13-14 0,0 0 16,-14 0-16,14 1 0,0-1 0,-13 13 15,13-13-15,-13 14 16,0-14-16,13 0 0,-13 1 0,13-1 15,-14 0-15,14 0 16,0 0-16,14-13 47,-1 0-31,0-13-16,0 13 15,0 0-15,1 0 16,-1 13-1,-13 1 1,-13-1 0,-1 0-1,1-13-15,0 13 16,0-13 0</inkml:trace>
  <inkml:trace contextRef="#ctx0" brushRef="#br0" timeOffset="53569.86">23984 2222 0,'0'14'47,"-13"-1"-32,13 0-15,-13-13 0,13 13 16,-13 1-16,13-1 15,-13-13-15,13 13 0,0 0 16,-14 1 0,28-28 46,-1 1-62,0 0 0,13 0 31,-12-1-31,-1 1 16,13 13 0,-12 0-16,-1 27 15,-13-14 1,0 0 0,13 0-1,-13 1 1,0-1-16,13-13 15</inkml:trace>
  <inkml:trace contextRef="#ctx0" brushRef="#br0" timeOffset="54040.86">24315 2024 0,'0'27'16,"-13"-14"-1,13 0-15,-13 27 16,13-27-16,-13 13 0,-1-12 16,1 12-16,13 0 15,-13-12-15,13-1 0,-13 13 16,-1-12-16,14-1 15,14-26 32,12-1-31,-13 14 0,1-13-16,-1 13 0,0 0 0,0 0 15,0 0-15,1 13 16,-1-13-1,-13 14 1,-27 12 0,1-13-1,13-13-15,-14 14 16,14-14 0</inkml:trace>
  <inkml:trace contextRef="#ctx0" brushRef="#br0" timeOffset="54454.16">24527 2209 0,'0'-13'31,"-40"26"-15,14 14 0,13-1-1,13-13 1,0 1 0,13-1-16,0-13 31,0 0-16,0 0-15,1 0 0,-14-13 16,13 13-16,0-14 16,0 14-1,1 0 32,-14 14-31,0-1-1</inkml:trace>
  <inkml:trace contextRef="#ctx0" brushRef="#br0" timeOffset="54790.11">24659 2222 0,'0'-13'16,"13"26"15,-13 14-15,0-14 0,14 0-16,-14 1 15,0-1 1,0 0-1,26-26 17,-13 0-17,1-1 1,-14 1 0,13 13-16,-13-13 15,13 13-15</inkml:trace>
  <inkml:trace contextRef="#ctx0" brushRef="#br0" timeOffset="55198.08">25202 2024 0,'-14'27'31,"1"-27"-31,13 13 0,-13 0 0,13 0 0,-13 0 16,-1 1-16,14-1 16,-13 0-1,13 0-15,0 1 0,0-1 16,-13 0 0,0-13 15,-1 0-16,1 0-15,-13 13 16,13-13-16,-1 13 0,1-13 0,0 0 16,0 14-16,-1-14 15,1 13-15,0 0 16,26 0 0,0-13-16,1 14 15,25-14 1,-25 13-16,-1-13 15</inkml:trace>
  <inkml:trace contextRef="#ctx0" brushRef="#br0" timeOffset="55524.08">23998 2540 0,'26'-13'16,"-13"0"-16,14 13 0,13-14 0,12 1 15,-12 13-15,79-26 16,-53 12-16,1 1 0,-1 0 0,0 0 15,0-1-15,-13 14 0,0-13 16,0 13-16,0 0 0,-14-13 16,1 13-16,-14 0 0,1 0 0,-1 0 15,-12 13 1,-41-13 0,14 13-16</inkml:trace>
  <inkml:trace contextRef="#ctx0" brushRef="#br0" timeOffset="55757.48">23984 2606 0,'53'-13'0,"-106"26"0,133-26 0,-54 13 15,67-13-15,-40 13 0,0 0 16,0-14-16,0 14 0,52-26 15,-52 26-15,40-13 16,-40 0-16,-13 13 0,-14-14 16,0 14-16,14 0 0,-27 0 15,1 0-15,-1 0 16</inkml:trace>
  <inkml:trace contextRef="#ctx0" brushRef="#br0" timeOffset="63476.36">16695 2725 0,'-13'0'16,"0"-13"-1,39 13 1,40 0 15,-26 0-31,-13 13 0,25-13 0,1 0 16,0 0-16,-13 0 0,13 0 0,0 0 16,-14 13-16,14-13 0,-13 0 15,-13 0-15,12 0 0,1 0 0,13 0 16,-27 0-16,-13 0 0,14 0 15,-1 0-15,-12 0 0,-1 0 16,0 0-16,0 0 0,-13-13 16</inkml:trace>
  <inkml:trace contextRef="#ctx0" brushRef="#br0" timeOffset="63812.83">17198 2858 0,'66'-14'0,"-39"14"0,39 0 15,-40 0-15,80 0 16,-66 0-16,-1 0 15,-12 0-15,12 0 0,-12 0 16,13 0-16,-14 0 16,-13 0-16,14 0 0,-14 14 15,0-28-15,0 28 0,1-14 16,-1 0 0</inkml:trace>
  <inkml:trace contextRef="#ctx0" brushRef="#br0" timeOffset="65344.31">3321 3400 0,'-14'0'0,"41"0"15,-1-13 1,14 13-16,0 0 0,-14 0 16,27 0-16,132-14 15,-105 14-15,78 0 16,-78 14-16,-1-14 0,0 0 16,1 0-16,-14 0 0,53 13 15,-53-13-15,-26 0 0,92 13 16,-105-13-16,12 0 15,-26 13-15,14-13 0,-14 0 16,0 0-16,1 0 0</inkml:trace>
  <inkml:trace contextRef="#ctx0" brushRef="#br0" timeOffset="65712.81">3559 3545 0,'0'0'16,"39"-13"-1,-12 13-15,-1 0 0,27 0 16,-13-13-16,79 13 15,-53-13-15,13 13 0,-26 0 0,27 0 16,-1 0-16,-13 0 0,14 0 16,-27 13-16,13-13 0,-13 0 15,66 13-15,-14-13 0,-52 0 16,-13 13-16,13-13 0,-27 0 16,14 0-16,-27 0 0,14 14 0,-14-14 15,27 0-15,-27 0 16,0 0-16</inkml:trace>
  <inkml:trace contextRef="#ctx0" brushRef="#br0" timeOffset="163784.29">15200 4352 0,'14'14'16,"-1"-14"0,0 0-1,0 0-15,0 0 16,1 0-16,-1 0 0,0 0 15,0 0-15,14 0 16,-14 0-16,0 0 16,14 0-16,-1 0 0,-13 0 15,1 0-15,12 0 0,-13 0 16,1 0-16,25 0 16,-25 0-16,-1 0 0,13 0 0,-13 0 15,27 0-15,-27 0 0,1 0 16,12 0-16,-13 0 0,27 0 15,-27 0-15,0 0 0,27 13 16,-27-13-16,1 0 0,-1 0 16,26 0-16,-25 0 15,-1 0-15,0 0 0,0 0 0,14 0 16,-14 0-16,0 0 16,1 0-16,-1 0 0,0 0 15,0 0-15,27 0 16,-14 0-16,-12 0 0,12 0 15,-13 0-15,27 0 0,-27 0 16,14 0-16,12 0 16,-25 0-16,12 0 0,-13 0 0,14 0 15,-14 0-15,0 0 0,14 0 16,-14 0-16,0 0 0,14 0 0,-1 0 16,14 13-16,-27-13 15,0 0-15,14 0 0,-1 0 16,-13 0-16,14 0 15,-14 0-15,0 0 0,0 0 16,1 0-16,-1 0 0,0 0 16,0 0-16,1 0 15,-1 0-15,0 0 0,0 0 16,1 0 0,-1 0-16,0 0 0,0 0 15,0 0-15,14 0 16,-14 0-16,0 0 15,1 0-15,-1 0 0,13 0 16,-13 0-16,1 0 0,12 0 16,-13 0-1,14-13-15,-1 13 16,1 0-16,-14 0 0,0 0 0,0 0 16,1 0-16,-1 0 0,13 0 15,-12 0-15,-1 0 0,0 0 0,0 0 16,14 0-16,-14 0 15,0 0-15,0 0 0,1 0 16,12 0-16,-13 0 0,14 0 16,-14 0-16,0-13 15,0 13-15,1 0 16,-1 0-16,13 0 0,-12 0 0,12 0 16,-13 0-16,14 0 15,12 13-15,-25-13 16,12 0-16,-13 0 0,14 0 15,-1 0-15,14 0 16,13 0 0,-40 0-16,27 0 15,-14 0-15,14 0 16,-14 0 0,-12 0-16,-1 0 0,13 0 15,1 0-15,-14 0 16,0 13-16,14-13 15,-14-13-15,0 13 16,0 0-16,1 0 16,-1 0-16,0 0 0,0 0 15,1 0-15,-1 0 16,26 0-16,-25 0 16,-1 0-16,0 0 15,0 0-15,1 0 0,-1 0 16,0 0-16,14 0 0,-14 0 15,13 0-15,-13 13 16,1-13-16,12 0 16,1 0-16,-14 0 15,0 0-15,0 0 0,14 0 16,-27 13-16,26-13 0,14 0 16,-27 0-1,0 0-15,14 0 0,-1 0 16,-13 0-1,1 0-15,12 14 0,-13-14 0,1 0 16,-1 0-16,0 0 16,0-14-16,1 14 0,-1 0 0,0 0 15,13 0-15,-12 0 16,-1 0-16,0 0 0,0 0 16,1 0-16,-1 0 0,13 0 15,1 0-15,-14 0 16,27 0-16,-27 0 0,13 0 15,-12 0-15,-1 0 0,53 14 16,-53-14-16,0 0 16,14 0-16,-14 0 0,0 0 0,14 0 15,-14 0-15,0 0 0,14 0 16,-1 0-16,1 0 16,12 0-16,-25 0 0,-1 13 15,13-13-15,27 0 16,-26 0-16,-1 0 15,-13 13-15,1-13 0,-1 0 16,0 0-16,0 0 0,14 0 16,-1 0-16,-13 0 0,1 0 0,-1 0 15,13 0-15,-12 13 16,-1-13-16,0 0 0,0 0 16,14 0-16,-14 0 0,13 0 15,1 0-15,-14 0 0,0 13 16,0-13-16,1 0 15,12 0-15,-13 0 16,14 0-16,-14 0 16,0 0-1,14 0 1,-14 0-16,-13-13 0,40 13 16,-27 0-1,0 0-15,0 0 0,1 0 16,-1 13-16,13-13 15,-12 0-15,12 0 16,-13 0 0,0 0-16,1 0 15,-1 0 1,0 0 0,0 0 15</inkml:trace>
  <inkml:trace contextRef="#ctx0" brushRef="#br0" timeOffset="166458.04">6310 5027 0,'27'13'0,"-14"-13"0,0 0 16,0 0-16,1 0 0,-1 0 16,13 0-16,27 0 0,-26 0 0,12 0 15,1 0-15,0 0 16,13 0-16,0 0 0,0 14 0,-1-14 16,1 0-16,14 0 0,-15 0 0,54 0 15,-53 13-15,0-13 0,-13 0 16,-1 0-16,1 0 0,-13 0 15,-1 0-15,1 0 0,-14 0 16,13 13-16,1-13 0,-14 0 16,0 0-16,0 0 15,1 0-15,-1 0 16,0 0 0,0 0 30,-13 13-30</inkml:trace>
  <inkml:trace contextRef="#ctx0" brushRef="#br0" timeOffset="167928.43">8864 5001 0,'39'0'0,"-26"0"0,1 0 16,12 0-16,1 0 0,-1 0 0,14 0 16,-14 0-16,27 0 0,0 0 0,0 0 15,0 0-15,0 13 0,0-13 16,-14 0-16,14 0 0,-13 13 0,13-13 15,-27 0-15,14 13 0,-13-13 0,-1 0 16,0 0-16,1 0 0,-14 14 16,0-14-16,14 0 0,-14 0 15,0 0-15,0 0 0,1 0 16,-1 0-16,-53 0 31,1-14-15</inkml:trace>
  <inkml:trace contextRef="#ctx0" brushRef="#br0" timeOffset="168782.21">3850 5001 0,'-14'0'16,"67"0"15,-39 0-31,12 0 0,1 0 16,105 0 0,-79 0-16,13 13 0,-13-13 0,26-13 15,53 13-15,-52 0 16,-14 0-16,0 0 0,-13 0 0,13 0 15,-13 0-15,13 0 0,-13 13 16,0-13-16,-13 0 0,-14 0 0,14 0 0,-14 0 16,-12 0-16,12 0 15,-13 0-15,1 0 0,-1 0 0,0 0 16</inkml:trace>
  <inkml:trace contextRef="#ctx0" brushRef="#br0" timeOffset="170794.27">4220 5014 0,'-40'-13'0,"27"13"0,0 0 0,0 0 16,-14 0-16,-26 13 0,27-13 15,-1 0-15,-12 0 0,12 13 16,-12-13-16,-1 0 0,13 13 0,1-13 16,-14 0-16,14 0 0,13 14 15,-1-14-15,1 0 0</inkml:trace>
  <inkml:trace contextRef="#ctx0" brushRef="#br0" timeOffset="171277.75">3612 5014 0,'-27'13'16,"14"-13"-16,13 13 0,-13-13 15,13 14-15,-14-1 16,14 0-16,14 0 0,-14 0 16,13 1-16,0-1 15,0 0-15,1-13 0,-1 0 16,0 13-16,13-13 0,1 0 16,-14 0-16,0 14 0,1-14 0</inkml:trace>
  <inkml:trace contextRef="#ctx0" brushRef="#br0" timeOffset="192423.41">7726 5900 0,'-13'0'0,"52"0"31,-12 0-15,-14 0-16,13 0 15,1 0-15,-1 0 0,1 0 16,13 0-16,-14-13 0,0 13 0,1 0 0,-1 0 15,1 0-15,-1 0 16,1 0-16,-1 0 0,-13 0 16,27-13-16,-27 13 0,1 0 0,-1 0 15,0 0-15,0 0 0,0 0 16,1 0-16,-1 0 16,0 0-16,-13 13 15,0 0-15,13-13 0,-13 13 16,0 14-16,0-14 0,14 14 15,-14 12-15,0 1 0,13 0 0,-13-1 16,0 1-16,13 66 0,-13-66 16,0 12-16,0-12 0,0 13 15,13 0-15,-13-13 0,0 13 0,14-14 0,-14 1 16,13 0-16,-13-1 16,0-12-16,13-1 0,-13 1 0,0-1 15,13 1-15,-13-14 0,0 13 0,0-12 16,13-1-16,-13 0 0,0 0 15,0 0-15,0 1 0,-13-1 16,13 0-16,-13-13 0,0 0 16,0 13-16,-14-13 0,-13 14 15,1-1-15,-14 0 0,-13 0 16,-14 1-16,1-1 0,0 0 0,-14 0 16,-13 14-16,-13-1 0,-13 1 0,13 12 15,-119 14-15,118-13 16</inkml:trace>
  <inkml:trace contextRef="#ctx0" brushRef="#br0" timeOffset="196709.14">13388 7924 0,'79'0'16,"-65"0"-16,-1 0 0,0 0 15,0 0-15,0 0 0,1 0 0,-1 0 16</inkml:trace>
  <inkml:trace contextRef="#ctx0" brushRef="#br0" timeOffset="202222.16">10094 10451 0,'-13'0'0,"-1"0"16,1-13 0,40 0 30,-1-1-30,-13 14-16,40-13 16,-40 13-16,14 0 0,-14-13 15,14 13-15,-14 0 0,13-13 0,-12 13 16,12 0-16,-13 0 0,0-14 16,1 14-16,12 0 0,-13 0 15,1 0-15,-1 0 16,0 0-16,0 0 15,1 0 1,-1 0 0</inkml:trace>
  <inkml:trace contextRef="#ctx0" brushRef="#br0" timeOffset="202862.16">12224 10649 0,'53'0'31,"-40"0"-15,40 0 0,-27 0-16,14 0 0,13 0 15,-40 0-15,14-13 16,-1 13-16,-13 0 0,14 0 0,-14 0 16,0 0-16,0 0 0,14 0 15,-14 0-15,0 0 16,1 0-1,-1 0-15,0 0 16,0 0 0,0 0-1</inkml:trace>
  <inkml:trace contextRef="#ctx0" brushRef="#br0" timeOffset="203436.72">14142 10557 0,'53'0'16,"-27"0"-16,-12 0 15,-1 13-15,13-13 0,-12 0 16,-1 0-16,0 0 0,13 0 0,-12 0 0,-1 0 16,0 13-16,0-13 0,14 0 15,-14 0 1,0 0 0,-13-13 15</inkml:trace>
  <inkml:trace contextRef="#ctx0" brushRef="#br0" timeOffset="205042.04">13692 7779 0,'13'-27'0,"-26"14"15,13 0 1,-13 0 0,0 13-16,-1-14 15,-12 1 1,13 13-16,0-13 0,-1 13 15,1 0-15,0 0 0,-27-13 16,27 13-16,0 0 16,-14 0-16,14 0 0,0 13 15,0-13-15,-1 13 0,-12 0 16,13 1-16,-1-1 0,1 0 0,0 0 16,0 1-16,-14 25 15,14-26-15,0 1 0,0-1 0,13 13 16,-14-12-16,14-1 0,0 0 0,0 0 15,-13 1-15,26-1 0,-13 0 16,0 0-16,14 0 0,-14 1 0,13-1 16,13 13-16,-12-12 15,12-14-15,0 13 0,-12 0 0,12 0 0,27 0 16,-26-13-16,-1 0 16,0 14-16,1-14 0,-1 0 0,1 0 15,-1 0-15,1-14 0,-14 14 0,40 0 16,-27 0-16,-12-13 15,12 13-15,-13 0 0,14-13 16,-14 13-16,0-13 0,0 13 0,1-13 0,-1-1 16,0 14-16,0-13 0,1 0 15,-1 0-15,-13-1 0,13 1 0,-13 0 16,13 0-16,-13 0 0,13-1 16,-13 1-16,0-13 15,0 12-15,0 1 0,0 0 0,0 0 16,0-1-16,-13 1 0,13 0 0,-13 0 15,0 0-15,0-1 0,13 1 16,-14 0-16,1 0 0,0 13 0,0-14 16,-1 1-16,1 13 0,0-13 0,0 13 15,-1-13-15,-12 13 16,13-14-16,-14 14 0,14 0 0,0 0 16,0 0-16,-1 0 0,-12 0 15,13 14-15,-1-14 0</inkml:trace>
  <inkml:trace contextRef="#ctx0" brushRef="#br0" timeOffset="209009.4">19592 7197 0,'27'0'15,"-14"13"-15,0-13 0,1 0 0,-1 0 16,0 13-16,0-13 0,14 0 15,-14 0-15,0 13 0,0-13 0,1 0 16,-1 0-16,0 14 0,0-14 0,1 0 16,12 26-1,-13-26-15,-13 13 0,13 0 16,-13 1-16,0-1 0,14 13 16,-14-12-16,0 12 0,0 1 15,0-1-15,0 0 0,0 1 0,0-1 16,-14 14-16,14 0 0,0-14 0,0 14 15,14 0-15,-14-14 0,0 14 16,13-14-16,-13 14 0,13-14 0,-13 1 16,13-1-16,1 1 0,-1-1 0,-13 1 15,13-14-15,0 13 0,-13-12 16,13-1-16,14 26 16,-27-25-16,0-1 0,13-13 0,-13 26 15,-13-12 1,-14 12-1,14-26-15,-13 13 0,-1 1 0,-12-1 16,-14 0-16,13 0 0,-92 14 16,79-14-16,13-13 15,0 13-15,1 0 0,-14 1 0,13-1 16,1 0-16</inkml:trace>
  <inkml:trace contextRef="#ctx0" brushRef="#br0" timeOffset="209856.05">16828 10094 0,'-14'13'16,"28"0"-1,12-13 1,-13 0-16,0 0 16,1 0-16,12 0 0,1 0 15,-1 0-15,0 0 0,14 0 16,-13 0-16,12 0 0,-12 0 0,12 0 16,-12 0-16,-1 0 0,1 0 0,-1 0 15,1 0-15,26-13 16,-40 13-16,0 0 0,0 0 15,1 0-15,12 0 16,-13 0 0,0 0-16</inkml:trace>
  <inkml:trace contextRef="#ctx0" brushRef="#br0" timeOffset="210508.77">19381 10808 0,'39'-13'0,"-25"13"16,-1 0-16,0 0 0,0-13 0,14 13 15,12 0-15,-12 0 0,-1 0 16,1 0-16,-1 0 0,-12 0 15,12 0-15,0 0 0,-12 0 0,-1 0 16,13 0-16,-12 0 0,-1 0 0,0 0 16,-13-13-16,13 13 0,1 0 15,-1 0-15,0 0 0,27 0 16</inkml:trace>
  <inkml:trace contextRef="#ctx0" brushRef="#br0" timeOffset="211851.24">21021 10226 0,'40'0'31,"26"0"-15,-40 0-16,1 13 0,-1-13 15,1 0-15,12 0 0,-12 0 16,39 14-16,-39-14 0,-1 0 15,-13 0-15,14 0 0,-14 13 16,0-13-16,0 0 0,1 0 16,-1 0-16,0 0 15,0 0-15,1 0 0</inkml:trace>
  <inkml:trace contextRef="#ctx0" brushRef="#br0" timeOffset="-214398.63">19037 10054 0,'0'13'16,"13"-26"-1,0 0 16,0 0-31,-13-1 16,0 1 0,14 0-16,-28 13 15,1 0 1,0 0 0,0 13-16,0 14 15,13-14-15,0 13 16,0-12-16,0-1 15,13 13 1,0-12-16,0-14 0,-13 13 0,13-13 0,1 0 16</inkml:trace>
  <inkml:trace contextRef="#ctx0" brushRef="#br0" timeOffset="-209529.29">3916 1468 0,'40'-13'16,"-14"13"-16,0-13 0,14 13 15,13-13-15,66-14 0,-53 14 16,14 0-16,-14 0 0,13-1 16,133-25-1,-146 25-15,0 14 0,53-13 16,-66 0-16,0 13 0,-13 0 15,-14 0-15,1 0 0,-14 0 0,13 0 16,-12 0-16</inkml:trace>
  <inkml:trace contextRef="#ctx0" brushRef="#br0" timeOffset="-209154.49">4194 1521 0,'119'-26'16,"-80"26"-16,14-13 16,13-1-16,-13 1 0,80-13 15,-67 26-15,-13-13 0,0 13 16,13-14-16,-13 1 0,-14 13 15,14 0-15,-13-13 0,0 13 0,-14 0 16,14-13-16,-27 13 0,14 0 16,-14 0-16,0 0 0,0 0 0,0 0 15,1 0-15,-14-14 0,13 14 16,0 0-16,0 0 16,1 0-16,-1 0 15,-13 14 16</inkml:trace>
</inkml:ink>
</file>

<file path=ppt/ink/ink18.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44:29.664"/>
    </inkml:context>
    <inkml:brush xml:id="br0">
      <inkml:brushProperty name="width" value="0.05292" units="cm"/>
      <inkml:brushProperty name="height" value="0.05292" units="cm"/>
      <inkml:brushProperty name="color" value="#0070C0"/>
    </inkml:brush>
  </inkml:definitions>
  <inkml:trace contextRef="#ctx0" brushRef="#br0">15055 754 0,'-27'40'16,"14"-27"-16,-13 0 0,-1 14 16,-13-1-16,1 1 0,-1 12 0,-39 1 15,39-14-15,0 1 16,14-1-16,-14 1 0,-13 12 0,27-25 15,-14 12-15,27-13 16</inkml:trace>
  <inkml:trace contextRef="#ctx0" brushRef="#br0" timeOffset="224.11">15319 860 0,'0'0'0,"-26"26"16,13-12-16,-14 12 0,-39 0 15,13 1-15,13 13 0,-52 13 16,52-14-16,-66 14 16,67-13-16,-14-14 15,13 1-15,-39 26 0,52-40 16,-39 27-16,40-40 0</inkml:trace>
  <inkml:trace contextRef="#ctx0" brushRef="#br0" timeOffset="3159.9">529 3678 0,'0'-27'31,"0"14"1,0 0-17,0-14-15,13 14 16,-13 0-16,14-27 16,-1 14-1,-13 12-15,13 1 0,0 0 16,1-13-16,12-1 15,0 14-15,-12 0 16,12-1-16,1 1 16,12 0-16,-25 13 15,25-13-15,1 13 16,13-13-16,-27 13 16,27 0-16,-26 0 15,-1 0-15,40-14 0,-39 14 16,39 14-16,-26-14 15,39 0-15,40 0 16,-79 0-16,-1 0 0,28 0 16,25 13-1,-52-13-15,-14 0 0,14 13 0,53-13 16,-54 13-16,54 0 16,-67-13-16,14 0 0,26 14 15,13-1-15,1 0 16,-1-13-16,-39 13 15,0-13-15,39 0 16,-39 14-16,-14-14 0,14 0 16,26 0-16,-40 0 0,14 13 15,-13-13-15,12 0 0,54 13 16,-27-13-16,-26 0 16,52 13-16,-12-13 15,-27 13-15,-14-13 16,1 0-16,26 0 0,-26 14 0,39-14 15,-13 0-15,-26 13 16,0-13-16,26 0 16,26 0-16,-25 0 15,-28 0-15,41 0 16,-41 0-16,133 0 16,-145 0-16,79-13 15,-14 13 1,-52 0-16,0-14 0,26 14 15,0-13-15,0 13 16,-26-13-16,-1 13 0,14-13 16,-26 0-16,26-1 15,-27 14-15,-13-13 0,14 13 16,13-26-16,-27 26 16,13-27-16,-13 14 15,14-13-15,-14 12 16,-13 1-1,13 0 1,-13 0-16,0-1 16,14 1 15,12 13 16,-26 13-32,27-13-15,-14 14 16,0-14-16,0 0 0,27 13 16,-14-13-16,1 13 15,13-13-15,-14 0 16,14 13-16,13-13 16,-1 14-16,1-14 15,0 13-15,-13-13 16,26 0-16,-13 0 15,-13 0-15,26 0 16,-13 13-16,-27-13 0,27 0 16,13 0-1,-26 0-15,26-13 0,27 13 16,-67 0 0,40 0-16,-39 0 0,13 0 15,12 0-15,15 0 16,-41 0-16,1 0 0,65 0 15,-65 0-15,39 0 16,-27 0-16,-12 0 0,52 0 16,-52 0-16,52 0 15,-13 0-15,14-13 16,-14 13-16,0 0 16,-40 0-1,40 0-15,-13 0 0,0 0 16,0 0-1,-13 0-15,-14 0 0,41-14 16,-1 14-16,-13 0 16,0 0-16,13 0 15,-40 0 1,1 0-16,39 0 0,-40 0 0,40 0 16,-39 0-16,39-13 15,-40 13-15,41 0 16,-1 0-16,39 0 15,-38 0 1,-1-13-16,-27 13 16,54 0-16,-53 0 15,26 0-15,0 0 16,-26 0-16,39 0 16,-39 13-16,0-13 0,39 0 15,0 13-15,-52-13 16,-1 0-16,14 14 0,39-1 15,-52-13-15,39 13 0,13 0 16,14 0 0,-67 1-16,40-1 15,-39 0-15,-1-13 0,40 27 16,14-1 0,-54-26-16,-12 13 15,52 14-15,13-1 16,-39-13-1,-27 1-15,13-14 0,14 13 16,13 13 0,-26-12-16,12-1 15,-26 0-15,1 0 16,-1-13-16,13 13 0,1 1 16,-14-1-16,0 0 15,0 0 1,1-13-16,-41-13 47,14 13-32,0 0-15</inkml:trace>
  <inkml:trace contextRef="#ctx0" brushRef="#br0" timeOffset="5819.76">2672 4445 0,'0'-13'0,"0"26"47,0 13-47,0-12 16,-13 12-16,13-13 15,-13 27-15,13-27 16,-13 27-16,-1 13 16,14-27-16,-13 1 0,13 26 15,0-27-15,-13 1 16,13-1-16,0 14 0,-13 26 16,-1 106-1,14-146-15,0 14 16,0 0-16,0-14 0,0 54 15,0-41-15,14 27 0,-14-39 16,0 13-16,0 12 16,0 15-16,0-41 15,-14 67-15,14-67 16,0 1-16,0 26 16,0-27-16,0 27 0,0 0 15,0-14 1,0-12-16,0-1 0,0-12 15,0 39-15,0-40 0,0 40 16,0-40-16,0 13 0,0 14 16,0-13-16,0 12 15,0-12-15,0-14 0,0 27 16,0-14-16,0 1 0,0 12 16,0-26-1,0 1-15,0 25 0,0 1 16,0-27-16,14 40 15,-14-13-15,0 0 16,0-14-16,0 14 16,0-14-16,0 1 15,0-14-15,-14 53 16,14-53-16,0 0 16,0 1-16,0 12 15,0-13-15,0 14 16,0-14-16,0 0 0,0 1 0,0-1 15,0 0-15,0 0 0,0 0 16,0 1-16,0 12 16,0 1-1,0-14-15,0 0 16,0 27-16,0-27 16,0 0-16,0 27 0,0-14 15,0 1-15,14 12 16,-14 1-16,0 0 15,0-14 1,0 14-16,13-27 0,-13 0 16,0 1-16,0 12 15,0-13 1,13-13-16,-13 14 16</inkml:trace>
  <inkml:trace contextRef="#ctx0" brushRef="#br0" timeOffset="7367.58">7197 1588 0,'-14'-14'16,"28"54"-1,-14-27-15,0 0 16,-14 40 0,1 27-1,13-54-15,-13-13 16,13 14-16,-13-1 0,13-12 0,0-1 15,0 0-15</inkml:trace>
  <inkml:trace contextRef="#ctx0" brushRef="#br0" timeOffset="8476.75">7766 1588 0,'-80'79'0,"80"-66"0,-13 14 16,0-14-16,-1 0 15,14 0 1,27-26-1,-27 0 1,13 13-16,-13-13 0,0-1 16,13 1-16,-13 0 0,0 0 0,14 13 15,-14-27-15,0 14 16,-27 13 0,14 13-1,-14 14-15,14-14 16,0 0-16,0 0 0,13 1 0,-13-1 15,-1 0-15,1 0 16,13 0-16,0 1 0,13-28 47,1 1-47,-1 0 16,0-13-16,-13 12 0,13 1 15,-13 0-15,13 0 16,-13-1-16,-26 28 31,13-1-31,0 0 16,-1 0-16,1 1 0,0-1 15,0 26-15,-1-25 16,1-14-16,13 13 16,27-26-1,-27-1 1,13 1-16,13-13 15,-26 13-15,14-1 0,-1 1 16,-13 0 0,-13 39-1,-1 1 1,1-14-16,0 0 0,13 0 16,-13 14-16,-1-14 15,14 14-15,27-41 31,-1-12-15,-12 26 0,-14-13-16,13 13 15,0 26-15,-13-13 16,-13 14-16,0 13 16,13-14-16,-14 14 0,-25 26 15,12-13-15,1 0 16,26-40-16</inkml:trace>
  <inkml:trace contextRef="#ctx0" brushRef="#br0" timeOffset="19266.73">11536 2738 0,'-13'0'16,"13"-13"0,0 40-1,0-14 1,-14 0-16,14 0 0,0 1 15,0-1-15,-13 13 0,13-12 16,0-1-16,0 0 0,0 13 16,0-12-1,-13-14-15,13 13 0,13-53 47,-13 27-47,13 0 0,-13-14 16,0 14-16,14-13 0,-14-1 15,0 1-15,13 12 0,0-25 16,-13 26-16,13-1 0,-13 1 16,27-13-16,-14 12 15,0 14 1,0 14-16,1-1 0,-1 13 16,-13-12-16,13-1 15,-13 0-15,13 27 16,-13-14-16,0-13 0,0 14 15,14-1-15,-14-12 16,0-1-16,13 0 0,-13 0 16</inkml:trace>
  <inkml:trace contextRef="#ctx0" brushRef="#br0" timeOffset="19453.08">11562 2844 0,'0'-13'0,"0"26"15,27-39-15,-14 26 16,0-13-16,0 13 16,27 0-16,-27-14 0,1 14 15,12 0-15,-13-13 0</inkml:trace>
  <inkml:trace contextRef="#ctx0" brushRef="#br0" timeOffset="20151.38">11972 2646 0,'-39'0'15,"78"0"-15,-92 0 0,40 0 16,13 13-16,-13-13 0,13 13 16,-13 1-1,13-1-15,-13 0 0,13 0 16,13-13 0,-13 13-16,13-13 15,0 0-15,0 0 16,1 0-1,-1 0-15,13 0 16,-12 14 0,-1-1-16,-13 0 15,13 0-15,-13 1 16,-13-1-16,0 27 16,13-27-16,-14 0 0,-12 27 15,13-40-15,-1 26 16,1-13-16,0-13 15,26-26 32,14 13-31,-14-1-16,0 1 0,0 13 16,1-26-16,-1 13 15,0-1-15,0 1 0,14 0 16,-14 0-16,13-14 0,-12 1 15,12-14-15,-13 27 0,-13 0 16,14-14-16,-1 1 16,0 12-16,-26 1 31,0 26-15,-1-13-16,14 14 0,-13-1 15,0 0-15,13 0 0,-13 1 16,13-1-16,0 13 15,0-13 1,0 1-16,0-1 0,13-13 16,-13 13-16,13-13 0,0 13 15</inkml:trace>
  <inkml:trace contextRef="#ctx0" brushRef="#br0" timeOffset="21162.79">12607 2447 0,'40'-26'0,"-27"26"16,1 0-16,-1 0 0,0 0 15,0 0-15,0 13 16,1-13-16,-14 13 0,13 1 16,-13-1-16,13 0 0,-13 0 15,0 1-15,-13-1 0,13 13 16,0-13-16,-13 1 0,13-1 15,0 0-15,0 0 0,-14 1 16,14-1-16,0 0 16,0 0-16,-13 1 0,26-1 15,-13 0-15</inkml:trace>
  <inkml:trace contextRef="#ctx0" brushRef="#br0" timeOffset="21361.01">12753 2884 0,'-13'0'62</inkml:trace>
  <inkml:trace contextRef="#ctx0" brushRef="#br0" timeOffset="22528.17">11681 3321 0,'-66'0'0,"66"13"16,-13 0-16,0 0 0,0 0 16,-1 14-16,1-14 0,0 0 15,0 27-15,-1-27 0,14 27 16,-13-27-1,26 0-15,-13 1 16,14-14 0,-1 0-16,13-14 0,-12 14 15,-1 0-15,0 0 0,-13-13 16,26 13-16,-12-13 0,-1 13 16,0 0-16,0 13 15,1-13 1,-14 13-16,13 1 15,-13-1-15,0 0 0,13 0 16,-13 1 0,13-1-1</inkml:trace>
  <inkml:trace contextRef="#ctx0" brushRef="#br0" timeOffset="22872.89">11840 3506 0,'13'-53'0,"1"40"0,-14-1 15,0 1-15,13 0 16,-13 0-1,-13 39 17,-1-26-32,14 13 0,0 1 15,0 12 1,0-13 0,0 0-16,14 1 15,-14-1 1,13-13-16,-13 13 0,13-13 15,0 0 1</inkml:trace>
  <inkml:trace contextRef="#ctx0" brushRef="#br0" timeOffset="23299.91">11959 3479 0,'0'-13'16,"13"13"-16,1-13 0,-14 0 15,13 13 1,0 0 0,0 0-16,1 13 15,-14 0-15,13 0 16,-13 0-16,0 1 15,0-1-15,0 0 16,13 0 15,0-26 1,0 0-32,1 13 0,-14-13 15,13 13-15,-13-14 0,13 14 0,0-13 16,1 13-1,-1 0 1,0 13-16,-13 1 16,0 12 15</inkml:trace>
  <inkml:trace contextRef="#ctx0" brushRef="#br0" timeOffset="23724.08">12422 3201 0,'-13'14'15,"13"-1"1,-13 0-16,13 0 0,0 1 0,0-1 15,-14 13-15,14-12 0,0-1 16,0 0-16,0 0 0,14 0 16,-14 1-16,0-1 0,0 0 15,0 0-15,13-13 16,-40 0 46,14 0-62,0 14 16,13-1-16,-13-13 0,13 13 16,-13 0-16,13 0 15,-14 1 1,28 12 0,25-26-1,-26-13 1,1 13-16</inkml:trace>
  <inkml:trace contextRef="#ctx0" brushRef="#br0" timeOffset="24049.48">12568 3426 0,'0'-39'16,"0"25"-16,-27 28 47,27-1-32,-13 0-15,13 0 0,0 1 16,13-1 0,0 0-1,1-13-15,12 0 16</inkml:trace>
  <inkml:trace contextRef="#ctx0" brushRef="#br0" timeOffset="24732.22">12965 3122 0,'0'-13'16,"0"0"-1,13 13 1,0-14-16,0 14 15,1 14 1,-1 25 15,-13 1-15,0-14-16,0 27 31,-13-39-31,13-1 16,0 0-16,0 0 0,0 1 15</inkml:trace>
  <inkml:trace contextRef="#ctx0" brushRef="#br0" timeOffset="24880.03">13018 3545 0</inkml:trace>
  <inkml:trace contextRef="#ctx0" brushRef="#br0" timeOffset="25714.75">11615 4114 0,'0'27'31,"0"12"-15,-13-25 0,13 12-16,0-13 0,0 1 0,0-1 15,0 0-15,-13 13 0,13-12 16,0-1-16,0 0 0,0 0 16,0 1-16,0-1 15,0 0 1</inkml:trace>
  <inkml:trace contextRef="#ctx0" brushRef="#br0" timeOffset="26112.9">11615 4128 0,'27'-14'0,"-14"14"0,0-13 16,14 0-16,-14 13 16,13-13-16,1-1 0,-14 14 15,13-13-15,-12 13 16,-1-13-16,0 26 15</inkml:trace>
  <inkml:trace contextRef="#ctx0" brushRef="#br0" timeOffset="26310.74">11602 4260 0,'0'0'16,"40"-13"15,-27 13-15,0-14-16,0 14 0,14-13 15,-14 13-15,14-13 0,-14 13 16,0 0-16,0-13 16</inkml:trace>
  <inkml:trace contextRef="#ctx0" brushRef="#br0" timeOffset="26825.11">11933 4194 0,'-14'-14'16,"-12"28"0,13-1-16,0 0 15,-1 0 1,1 1-1,13-1-15,-13 0 16,26 0-16,0-13 16,14 0 15,-1-26-15,-13 26-16,-13-13 15,14 13 1,-14-14-16,13 28 47,-13-1-32,0 0 1,13 0-16,-13 0 16</inkml:trace>
  <inkml:trace contextRef="#ctx0" brushRef="#br0" timeOffset="27126.03">12078 4194 0,'13'26'31,"1"-13"-15,-14 1 0,13-14-1,0 13-15,0-26 32,1 13-17,-1-14-15,-13 1 16,13 0-16,0 13 15,-13-13-15,27-1 16</inkml:trace>
  <inkml:trace contextRef="#ctx0" brushRef="#br0" timeOffset="27665.44">13018 3876 0,'0'-13'16,"13"13"-1,0 13 1,0-13-16,0 13 16,-13 1-16,14-1 15,-14 13-15,0-12 16,0 12-16,0 0 0,0-12 15,0-1-15,0 0 0,0 0 16,0 1-16,-14-1 0,14 13 16,0-12-16,0-1 15,-13 0-15,13 0 16</inkml:trace>
  <inkml:trace contextRef="#ctx0" brushRef="#br0" timeOffset="27794.74">13057 4339 0</inkml:trace>
  <inkml:trace contextRef="#ctx0" brushRef="#br0" timeOffset="29331.75">11853 5080 0,'0'-13'16,"0"52"-16,0-25 0,-13 12 15,0-13-15,0 27 16,-1-13-16,14-14 0,-13 13 15,-13 1-15,26-14 16,0 0-16,-13 0 0,-1 1 16,14-1-16,-13 0 15,26-13 17,14 0-17,-14-13-15</inkml:trace>
  <inkml:trace contextRef="#ctx0" brushRef="#br0" timeOffset="29661.8">12211 5133 0,'-27'13'15,"14"-13"1,0 13-16,-1-13 16,1 27-16,0-14 0,0-13 0,-14 27 15,14-14 1,13 0-16,-13 0 16,26 0-1,0-13-15,0 0 0,1 0 16,-1 0-16,0 0 15,0 0-15,14 0 0,-14 0 0,0 0 16,14-13-16,-1 13 0,1-13 16,-14 13-16,0 0 15,0 0-15,-13-13 0,14 13 0</inkml:trace>
  <inkml:trace contextRef="#ctx0" brushRef="#br0" timeOffset="29906.02">12263 5120 0,'-39'26'0,"39"1"16,-13-14-16,13 0 0,-14 14 15,1 12 1,13-26-16,-13 1 0,13-1 0,0 0 15,0 0-15,-13 1 0,13-1 16,0 0-16,0 14 0,0-14 16,0 13-16</inkml:trace>
  <inkml:trace contextRef="#ctx0" brushRef="#br0" timeOffset="30478.87">12158 6006 0,'0'26'47,"-14"1"-31,1-14-16,-13 27 15,-40 26 1,39-40-16,-13 14 0,-13 0 16,40-27-16,-13 0 15,13 1-15,-14-1 0,14 0 0,-14-13 16,-39 40-16,40-27 15,13-13-15,-14 13 0,14 0 16,-27 1-16,27-14 16,-27 13-16,14 0 15,-1-13-15,27 13 16,-26-13-16,13 14 16,-1-14-16,1 0 15,0 0 1</inkml:trace>
  <inkml:trace contextRef="#ctx0" brushRef="#br0" timeOffset="30952.46">11523 6231 0,'-27'40'31,"14"-27"-31,0 0 0,-1 14 16,1-1-16,0-13 0,0 0 16,0 14-16,-1-14 0,14 14 0,-13-14 15,0 0-15,0 14 0,13-14 16,-14 13-16,14-13 15,14 1-15,-14-1 16,0 0-16,13-13 0,0 13 0,-13 1 0,13-14 16,1 13-16,-1-13 0,26 0 15,-25 13-15,12-13 16,-13 0-16,14 0 0,-1 13 0,-12-13 16,12 0-16,-13 0 0,14 14 0,-14-14 15</inkml:trace>
  <inkml:trace contextRef="#ctx0" brushRef="#br0" timeOffset="33954.26">11562 7064 0,'14'-13'16,"-1"13"-16,66 0 15,-39-13 1,0 13-16,12 0 0,1 0 0,66-13 15,-66 13-15,0 0 0,13 0 16,-13 0-16,80 0 16,-1 0-16,-26 0 15,-53 13-15,0-13 0,-1 0 0,1 13 16,27 14-16,-41-14 16,28 13-16,-41 1 0,27 12 15,-40-12-15,14-1 16,-14 1-16,0 26 0,0-27 15,-13 27-15,0 26 16,-13-52-16,13 13 0,-13-1 16,-14 27-1,1-26-15,13-13 0,-14 12 0,1-12 0,-1-1 16,1 1-16,-27 39 0,13-40 16,-26 14-16,-13 0 15,39-14-15,0-13 0,1 1 16,-41 12-16,41-13 15,-14-13-15,0 13 0,13-13 0,-13 14 16,-13-14-16,13 0 0,0 0 16,0-14-16,-13 14 0,0-13 0,0 0 15,13 0-15,0 0 0,0-14 16,-53-26-16,14 0 16,52 14-16,0-1 0,-13-39 15,40 39-15,0 0 0,0-52 16,13 39-16,13-14 15,0 15-15,27-41 0,-14 40 0,1 13 16,-1 1-16,14-1 0,13-13 16,26 13-16,-13 14 15,-39 13-15,13-1 16,-14 14-16,0 0 0,27 0 16,-26 0-16,12 0 0,-12 0 15,-1 14-15</inkml:trace>
  <inkml:trace contextRef="#ctx0" brushRef="#br0" timeOffset="34475.79">13229 7435 0,'40'13'15,"-27"-13"-15,14 0 0,-1 0 16,14 0-16,66 0 0,-40 0 16,106-13-16,-93 0 0,14-1 15,-14 1-15,14 0 0,-1 13 16,-12-13-16,12-1 0,80-12 15,-79 26-15,-14-13 0,67-1 16,-27 1-16,-27 0 16,-52 13-16,0 0 15,-14 0-15,-13 0 16,1 0-16,-1 0 0,-40 0 62</inkml:trace>
  <inkml:trace contextRef="#ctx0" brushRef="#br0" timeOffset="34754.74">15002 7051 0,'13'0'16,"40"13"0,-13 14-16,13-1 15,-27-12-15,1 12 0,12 27 16,14 66 0,-53-93-16,0 1 15,-13 26-15,0-27 0,-1 1 16,-12 12-16,0-12 0,-1-1 15,1 1-15,-27 26 0,-13-14 16,39-25-16</inkml:trace>
  <inkml:trace contextRef="#ctx0" brushRef="#br0" timeOffset="35485.87">12422 8096 0,'66'53'16,"27"53"0,-27-13-16,-13-40 0,-13-1 15,-1 1-15,14 0 0,0 13 0,53 53 16,-66-66-16,13 0 15,39 53-15,-52-66 0,39 52 16,-39-52-16,0 0 0,13 26 16,-27-40-1,-13 1-15,1-14 0,-1 14 0,0-27 0,0 13 16,-13 0-16,13 0 16,-26-26 30,13 0-46</inkml:trace>
  <inkml:trace contextRef="#ctx0" brushRef="#br0" timeOffset="35953.9">13507 8903 0,'0'-26'0,"13"39"62,-13 0-62,13 14 16,1-14-16,-1 13 0,-13 1 15,13-14-15,27 66 16,-27-65 0,0 12-16,0-13 0,1 14 0,-1-14 0,0 14 15,0-14-15,-13 13 0,14-13 16,-1 14-16,-13-1 0,0-12 0,13-1 15,-13 13-15,0-13 0,0 1 0,0-1 16,0 13-16,-13-12 0,0-1 16,-1 13-16,-39 14 0,27-14 15,-67 27-15,54-39 16,-14 12-16,0 1 0,-13-1 16,26-13-16,0 0 0,-52 14 15,-1-1-15</inkml:trace>
  <inkml:trace contextRef="#ctx0" brushRef="#br0" timeOffset="38445.62">14512 11205 0,'80'0'0,"-54"0"0,27 0 15,-26 0-15,-14 0 0,13 0 16,1 0-16,26 13 0,-14-13 16,-25 0-16,52 0 15</inkml:trace>
  <inkml:trace contextRef="#ctx0" brushRef="#br0" timeOffset="38649.98">15452 11218 0,'26'0'0,"-13"0"0,27 0 16,-13-13-16,-1 13 16,27 0-1</inkml:trace>
  <inkml:trace contextRef="#ctx0" brushRef="#br0" timeOffset="38792.79">16073 11245 0,'14'0'0,"-1"0"15,-40 0-15,67 0 0,-27 0 0,14 0 16</inkml:trace>
  <inkml:trace contextRef="#ctx0" brushRef="#br0" timeOffset="39436.87">16907 10821 0,'13'-13'15,"-26"26"-15,0-13 32,-14 14-1,14-14-31,0 13 0,-14-13 0,14 13 15,0 0-15,0-13 16,-1 14 0,14-1-16,-13-13 0,26 13 15,-13 0-15,14-13 16,-1 14-16,13-1 16,-12 0-16,-1 0 15,0-13-15,0 13 0,0-13 16,-13 14-1,14-14-15,-14 13 16,-14 0-16,1-13 16,-13 0-16,-1 13 15,14-13-15,0 0 0,-14 0 16,1 14-16,13-14 0,-1 0 16</inkml:trace>
  <inkml:trace contextRef="#ctx0" brushRef="#br0" timeOffset="40692.19">14579 9697 0,'13'13'0,"0"-13"15,27 0-15,-14 0 0,14 0 16,13 0-16,-14 0 16,14 0-16,0 0 0,66 0 15,-53 0-15,1 0 0,12 13 16,-13-13-16,14 0 0,-1 0 16,0 0-16,14 0 0</inkml:trace>
  <inkml:trace contextRef="#ctx0" brushRef="#br0" timeOffset="40867.96">17330 9776 0,'80'14'0</inkml:trace>
  <inkml:trace contextRef="#ctx0" brushRef="#br0" timeOffset="41022.72">18931 9895 0,'106'14'16,"-80"-14"-16,14 0 0,0 0 0</inkml:trace>
  <inkml:trace contextRef="#ctx0" brushRef="#br0" timeOffset="41311.69">20598 9922 0,'40'13'0</inkml:trace>
  <inkml:trace contextRef="#ctx0" brushRef="#br0" timeOffset="42056.02">21683 9247 0,'-40'13'0,"13"1"0,14-14 16,0 13-16,0 0 0,13 0 16,0 1-1,0-1-15,13-13 0,0 0 16,0 13-16,14-13 0,39-13 16,13 0-16,-39 13 15,0-14-15,-14 14 0,-12 0 16,12-13-16,-13 13 0,0 0 0,1 0 15,-14 13-15,13-13 0,-13 14 0,0-1 16,0 13-16,-13-13 0,-14 54 16,14-28-16,0-12 0,13 12 15,-13-12-15,-1-1 0,14 41 16,0-41-16,0-13 16</inkml:trace>
  <inkml:trace contextRef="#ctx0" brushRef="#br0" timeOffset="50067.78">21312 4233 0,'-26'27'16,"12"-27"-16,1 13 0,0 0 0,0-13 15,0 13-15,-14 1 0,14-1 16,-14 13-16,1-12 0,0-1 0,12 0 16,-12 0-16,-1 1 0,-12 12 15,12-13-15,14 0 0,0-13 16,-27 27-16,27-27 16,13 13-16</inkml:trace>
  <inkml:trace contextRef="#ctx0" brushRef="#br0" timeOffset="50286.57">21497 4260 0,'-53'39'0,"40"-25"0,-13-1 16,-1 0-16,-12 14 16,12-14-16,-26 13 0,0 1 0,14 12 15,-54 14-15,40-26 0</inkml:trace>
  <inkml:trace contextRef="#ctx0" brushRef="#br0" timeOffset="57037.95">19103 3664 0,'-53'40'0,"40"-27"0,-14 14 15,1-1-15,-1 1 0,1-1 0</inkml:trace>
  <inkml:trace contextRef="#ctx0" brushRef="#br0" timeOffset="58032.34">19182 8083 0,'14'-13'0,"-1"0"15,0 13-15,0-14 0,14 1 16,-14 13-16,0-13 0,0 0 0,14 13 16,-14-14-16,14 1 0,-14 13 15,13-13-15,-13 0 0</inkml:trace>
  <inkml:trace contextRef="#ctx0" brushRef="#br0" timeOffset="58455.83">21153 7792 0,'-39'26'0,"-54"54"15,53-40-15,-12-1 16,-1 1-16,0 13 0,-27 0 16,-52 53-16,66-54 0,-27 41 15,54-53-15</inkml:trace>
  <inkml:trace contextRef="#ctx0" brushRef="#br0" timeOffset="64563.99">16880 4710 0,'0'-14'16,"-13"1"0,0 13-16,-13 0 15,-27 13 1,26-13-16,1 0 16,-14 14-16,0-1 0,1 0 15,-1 0-15,0 14 0,-13-1 0,0 1 16,-52 39-16,52-27 0,13 1 15,-13 0-15,0 13 16,-39 26-16,52-26 0,0 0 16,-26 40-16,26-54 0,14 14 15,-14-13-15,14 13 0,-1 0 0,1-14 16,-1 1-16,1 39 16,-1-12-16,14-41 0,13 40 15,-13-39-15,13-14 16,0 13-16,0 1 0,13-14 0,-13 13 15,0-12-15,13 12 0,1-13 16,-14 14-16,13-14 0,0 0 0,14 1 16,-14-1-16,26 13 15,1 1-15,-13-14 0,12 0 16,-12-13-16,-1 13 16,14-13-16,-14 14 0,1-14 0,-1 0 15,14 13-15,-14-13 0,1 0 0,13 0 16,-27 0-16,13 0 0,1 0 15,-1 13-15,-13-13 0,14 0 0,-14 0 16,0 0-16,1 0 0,12 0 0,-26 13 16,26-13-16,-12 0 15,-1 0-15,0 0 16,0 0 0,1 14-1,-1-14 1,-13-14 46,-13 1 110,13 0-94,-14 13-46,1 0-1,0 0 16,0 26-32,-1-12-15,1-1 0,-13 13 16,-1 14-16,14-14 16,-13 1-16,12 13 0,-12-14 15,13 14-15,-1-14 0,-25 40 16,26-26-16,-1 0 0,14-14 0,-13 14 15,0-1-15,0 28 0,13-41 16,0 1-16,-14 25 16,28 1-16,-14-26 0,0-1 15,13 14-15,-13-14 0,13 1 16,14 26-16,-14-14 0,0-25 16,0 12-16,14 1 0,-14-1 0,40 14 15,-40-27-15,14 0 16,-1 0-16,27 14 0,13-1 15,-39-12-15,-1-14 16,27 13-16,0 0 16,-13-13-16,-14 0 0,14 0 15,26 13-15,-40-13 0,14 0 16,-14 0-16,14 0 0,-13 0 16,-1 0-16,0 0 0,14 0 15,0 14-15,-27-14 0,0 0 16,1 0-16,-1 0 0,0 0 15,0 0-15,0 0 16,1 0-16,-1 0 16,0 0-1,0 13 32,-13 0-31,-13-13 15,13 13 0,-13-39 1</inkml:trace>
  <inkml:trace contextRef="#ctx0" brushRef="#br0" timeOffset="67672.39">21550 6416 0,'40'0'16,"-27"0"-16,0 0 16,14 0-16,-14 0 0,14 0 0,-1 0 15,1-13-15,-14 13 0,53 0 16,-40-13-16,1 13 0,-1 0 16,1-14-16,-1 14 0,1-13 15,-1 13-15,-13-13 0,14 0 0,-1 13 16,-13-13-16,27-14 15,-27 14-15,14 0 0,-14-1 0,0 1 16,1 0-16,-1 0 0,0-1 16,-13 1-16,13 0 0,0 0 0,-13 0 15,14-40-15,-14 39 16,0 1-16,0 0 0,0-14 16,-14 1-16,1 0 0,0-14 15,0 27-15,0-14 0,-1 14 16,1-13-16,-13-14 15,-1 27-15,14-14 0,-14 1 0,1 12 16,0-12-16,-1 13 0,1-14 0,-14 14 16,14 0-16,-1-14 15,1 14-15,-1 0 0,-13 0 0,27-1 0,-26 1 16,12-13-16,-39-1 16,26 14-16,1 0 0,-28-14 15,28 1-15,-1 13 16,-13 0-16,13-1 0,1 1 0,-14 0 0,0-14 15,-53 1-15,13-14 16,-12 14-16,65 13 16,-13-14-16,0 14 0,0 0 0,14-1 15,-14 1-15,-14 0 16,-12-14-16,26 14 0,13 0 16,-12 0-16,12 0 0,-13-1 0,13 1 15,-66-13-15,53 12 16,-39-12-16,39 13 0,13 13 15,-13-14-15,14 1 0,-14 0 0,13 0 16,0 13-16,-13-13 0,14-1 16,-14 1-16,-40 0 0,40 0 15,-52-1-15,65 1 0,-13 0 16,0 13-16,0-13 0,13-1 16,-13 14-16,1-13 0,12 0 15,-13 13-15,0-13 0,13 0 0,-13 13 16,14-14-16,-14 1 0,0 13 0,13-13 15,-39 0-15,39-1 16,0 14-16,-12-13 0,12 13 16,13 0-16,1-13 0,0 13 15,-1 0-15,1 0 0,-27-13 16,39 13-16,-12 0 0,13 0 0,0 0 16,-14 0-16,14 0 0,0 0 15,-14 0-15,14 0 0,0 0 16,-1 0-16,1 0 0,0 0 0,0 0 0,0 0 15,-1 0-15,1 0 16,0 0-16,-27 0 0,14 0 16,12 0-16,1 0 0,0 0 0,0 0 15,0 0-15,-1 13 16,1-13-16,0 0 0,-27 0 16,27 0-16,0 0 0,-1 0 0,-12 0 15,13 0-15,-14 0 0,14 13 16,-13-13-16,-1 0 0,14 0 0,-13 0 15,-1 13-15,-13-13 0,14 14 16,-14-14-16,14 13 16,13-13-16,-14 0 0,-13 13 15,14 0-15,13-13 0,-27 14 16,27-1-16,-14-13 16,14 13-16,-13-13 0,12 13 0,1-13 15,-13 13-15,13 1 0,-14-1 16,1-13-16,12 13 0,-12 0 15,-14 14-15,-13-1 16,27-12-16,-27 12 0,26 0 16,1-12-16,-40 25 15,13 1-15,-13 0 16,13 13-16,26-27 0,1-13 16,-1 14-16,1-1 0,0 1 15,-14 12-15,-13 14 16,40-26-16,-14-1 0,14 1 15,-13-1-15,-1 27 16,1-26-16,-1 25 0,1 1 16,-1 0-16,14-26 15,0-1-15,-14 40 16,14-39-16,0 13 0,0-14 0,-14 40 16,1 0-16,13-26 15,-1 0-15,1 26 16,-13 13-16,12-39 15,-12 79-15,13-79 16,-14 39-16,14 14 16,-13-14-16,26 0 15,-14-26-15,14-13 0,0 0 16,0 39-16,0-26 16,14 26-16,-14-39 0,13 0 15,0 39-15,0 0 16,1-52-16,12 39 15,14-13-15,-1 0 16,-12-27-16,12 27 16,-12-40-16,-1 14 0,1-1 15,26 1-15,-27-1 0,27 1 16,0-14-16,-26 0 0,-1 0 16,0-13-16,41 0 15,-41 0-15,80 0 0,-66-13 16,12 0-16,1 0 0,0 13 15,27-27-15,-41 14 16,1 0-16,0 0 0,-1-1 0,41 1 16,-14-13-16,-26 12 15,-1 1-15,1 0 0,0 0 16,39-14-16,-39 14 0,13-13 16,-14 12-16,14-12 0,-13-1 15,53-25-15,-1 12 16,-12-13-16,-54 40 15,53-27-15,-12 0 16,-28 14-16,-12 13 0,12-14 16,28-12-16,-1 12 15,-27 1-15,1 12 0,39-25 16,40-14 0,-79 40-16,40-14 0,39-13 15,-93 27 1,1 0-16,39-14 0,39 1 15,-25 0 1,-40 12-16,-1 14 0,1-13 16,0 0-16,-1 0 0,41-1 15,12 1 1,-65 13-16,26 0 0,-27 0 16,1 0-16,-1 0 0,27 0 15,-27 0-15,14 0 0,-13 0 16,-1 0-16,40 0 0,-39 13 15,-1-13-15,1 0 0,12 0 16,41 0-16,-41 0 16,-12 0-16,26 14 0,-27-14 15,1 0-15,25 0 16,-25 0-16,-1 0 0,1 0 16,-1 13-16,1-13 0,-1 0 0,14 0 15,13 0-15,-27 0 16,14 0-16,-14-13 0,1 13 0,26 0 15,-27-14-15,14 14 0,0-13 0,-1 13 16,1-13-16,-13 0 0,52 0 16,0-14-16,-13 14 15,-26 0-15,0-1 16,79-25-16,-79 25 16,52 1-16,-52 0 15,13 0-15,39-14 0,-52 27 16,0-13-16,-1 13 0,28-13 15,-1 0-15,26-1 16,-65 14-16,-1-13 16,40 0-1,-26 13-15,-27-13 0,1-1 16,12 14-16</inkml:trace>
  <inkml:trace contextRef="#ctx0" brushRef="#br0" timeOffset="73169.75">17291 7580 0,'-53'27'16,"26"-14"-16,1 13 0,-1-12 15,1 12-15,-1 1 0,1 12 0,-1 14 16,14-26-16,0 26 15,13-40-15,26 40 0,1-27 16,39 27-16,-13-26 16,0-14-16,0 13 0,0-13 15,79 1-15,-53-1 0,-13-13 16,1 0-16</inkml:trace>
  <inkml:trace contextRef="#ctx0" brushRef="#br0" timeOffset="77881.83">5728 12978 0,'0'-13'0,"0"-1"32,27 14 14,-14 0-46,0 14 16,14-14-16,39 0 0,40 0 16,-54 0-16,1 0 15,14 0-15,65 0 0,-53-14 16,1 14-16,-1 0 0,0-13 0,1 13 16,12-13-16,94 0 15,-81 13-15,-12-14 0,0 14 0,12 0 16,1-13-16,93 13 0,-93-13 15,-1 13-15,94-13 16,-93 13-16,-1 0 0,94 0 16,-107 0-16,94-13 0,-94 13 15,1 0-15,0 0 16,-14 13-16,80-13 0,-80 0 16,-13 0-16,0 13 0,40-13 15,-53 13-15,-13-13 16,13 0-16,-27 0 0,1 0 0,-1 13 0,14-13 15,-27 0-15,0 0 0,0 0 16,1 0-16</inkml:trace>
  <inkml:trace contextRef="#ctx0" brushRef="#br0" timeOffset="157343.16">12462 5887 0,'-13'26'0,"-1"1"16,14-14-16,-13 0 16,0 14-16,13-14 0,-13 13 0,-1 1 15,1-1-15,-13 27 16,13-39-16,-1 12 0,-12 0 16,26 1-16,-13-14 0,13 0 0,-14-13 15,14 14-15,0-1 0</inkml:trace>
  <inkml:trace contextRef="#ctx0" brushRef="#br0" timeOffset="157538.57">12568 5927 0,'-27'39'16,"54"-78"-16,-67 105 0,27-53 0,0 13 0,-14 1 0,14 13 16,-14-1-16,1 1 0,-1 0 15,1-1-15,13 14 0,-14-26 16</inkml:trace>
</inkml:ink>
</file>

<file path=ppt/ink/ink19.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47:25.704"/>
    </inkml:context>
    <inkml:brush xml:id="br0">
      <inkml:brushProperty name="width" value="0.05292" units="cm"/>
      <inkml:brushProperty name="height" value="0.05292" units="cm"/>
      <inkml:brushProperty name="color" value="#0070C0"/>
    </inkml:brush>
  </inkml:definitions>
  <inkml:trace contextRef="#ctx0" brushRef="#br0">4987 1865 0,'0'-13'0,"0"0"15,-13 39 17,13 27-17,-13-40-15,13 14 16,0-14-16,-13 14 0,13-14 0,0 13 15,-14-12-15,1 65 32,13-66-32,0 0 0,0 1 0,-13-14 0,13 13 15,0 0 1</inkml:trace>
  <inkml:trace contextRef="#ctx0" brushRef="#br0" timeOffset="499.23">4829 1852 0,'0'0'0,"13"-13"0,-13 0 0,13-1 16,0 14-16,27-26 15,-27 26-15,14-13 16,-14 13-16,13 0 0,1 0 0,-1 0 16,1 0-16,-1 13 0,1-13 15,12 26-15,-12-12 0,-1-1 0,-12 13 16,12-12-16,-13-1 0,14 40 16,-27-27-16,0-13 15,0 1-15,-14-1 0,1 13 0,0 1 16,-13-14-16,-107 66 15,67-39 1,40-27-16,-1 0 0,1 1 16,-40-1-1,52 0-15,-12-13 0,13 13 0,-1-13 16</inkml:trace>
  <inkml:trace contextRef="#ctx0" brushRef="#br0" timeOffset="1452.42">5503 2077 0,'-13'0'0,"40"-13"31,-27 0-15,13 13-16,-13-14 15,0 1 1,0 0-16,0 0 0,0-1 15,0 1 1,-13 13 0,-14 13-16,14 14 15,0-27-15,13 13 16,-14 0-16,14 27 16,14-14-1,-14-12-15,26-1 16,-13-13-1,1 0-15,12 0 0,-13 0 16</inkml:trace>
  <inkml:trace contextRef="#ctx0" brushRef="#br0" timeOffset="1788.68">5794 1945 0,'-39'-14'16,"12"28"-1,14-14-15,0 13 16,13 0 0,0 0-16,0 1 0,0-1 15,13-13-15,0 26 0,0-12 16,-13-1-1,14 0-15,-14 0 16,0 0 0,-14 1-1,1-1-15,0-13 16,0 13 0,0-13-16,-1 13 15</inkml:trace>
  <inkml:trace contextRef="#ctx0" brushRef="#br0" timeOffset="2103.89">6059 1945 0,'-53'0'0,"27"13"0,12 0 15,1-13-15,0 13 0,0 1 0,-1 12 16,1-13-16,13 1 0,0-1 16,0 0-16,0 0 15,0 0-15,0 1 0,13-14 16,1 13-16,25 0 15,-12-13-15,-14 0 16,0 0-16,40 0 16,-40 0-16,1-13 0</inkml:trace>
  <inkml:trace contextRef="#ctx0" brushRef="#br0" timeOffset="12915.18">6297 1971 0,'53'53'0,"-53"-40"0,0 1 0,0-1 16,0 0-16,0 0 0,-13 0 16,13 1-1,-13-14-15,13 13 0,-14 0 16,28-39 31,-1-14-47,-13 27 15,13 0-15,-13-1 0,13 1 16,0 0-16,1 0 16,-14-1-16,13 14 15</inkml:trace>
  <inkml:trace contextRef="#ctx0" brushRef="#br0" timeOffset="13126.56">6548 1918 0,'0'0'16,"0"13"-1,14 14 1,-14-14-16,0 0 16,0 1-16,0-1 0,-14 0 0,14 0 15,0 1-15,0-1 0,-13 0 0</inkml:trace>
  <inkml:trace contextRef="#ctx0" brushRef="#br0" timeOffset="13575.67">6681 1773 0,'0'26'16,"13"-13"-16,-13 1 0,0-1 15,0 13-15,0-12 0,0 12 0,0 0 16,0 1-16,0-1 0,0-12 0,0 12 16,0 1-16,0-1 0,0-13 15,0 14-15,0-14 0,0 0 0,0 0 16,0 1-16,0-1 0,0 0 0,0 0 15</inkml:trace>
  <inkml:trace contextRef="#ctx0" brushRef="#br0" timeOffset="13936.61">6747 1931 0,'40'-39'0,"-27"39"15,13 0-15,-13 13 16,1 0 0,-1-13-16,-13 13 0,0 1 15,0 12 1,-13-26-16,13 13 0,-14 1 16,1-14-16,0 13 0,0 0 15,0-13-15,-1 13 0,1-13 0,0 14 0,0-1 16,-1 0-16</inkml:trace>
  <inkml:trace contextRef="#ctx0" brushRef="#br0" timeOffset="14366.97">5331 2249 0,'27'0'16,"-1"-13"-16,14 13 0,13-14 16,13 14-16,13-13 0,1 13 0,12-13 15,1 13-15,0-13 0,-1 13 16,1 0-16,-14-13 0,14 13 15,-14 0-15,1 0 0,-28-14 0,1 14 16,0 0-16,-13 0 0,0 0 16,-14 0-16,14 0 15,-27 0-15</inkml:trace>
  <inkml:trace contextRef="#ctx0" brushRef="#br0" timeOffset="14592.18">5675 2342 0,'27'0'16,"-1"0"-16,14 0 0,119-14 16,-80 14-16,-13 0 0,14 0 15,-14-13-15,0 13 0,-13 0 16,0-13-16,-14 13 0,14 0 0,-13-13 15,-14 13-15,1-14 16,-14 14-16,0 0 0,1 0 0,-1-13 0</inkml:trace>
  <inkml:trace contextRef="#ctx0" brushRef="#br0" timeOffset="14853.18">6297 1865 0</inkml:trace>
  <inkml:trace contextRef="#ctx0" brushRef="#br0" timeOffset="16206.46">14962 1799 0,'40'-26'0,"-14"26"0,1 0 16,-1 0-16,14 0 0,105-14 16,-105 14-16,13 0 0,-13 0 15,-1 0-15,1 0 0,-13 0 16,12-13-16,-12 13 0,-1 0 0,14-13 15,-14 0-15,-12 13 0</inkml:trace>
  <inkml:trace contextRef="#ctx0" brushRef="#br0" timeOffset="16400.03">15624 1627 0,'-14'0'16,"1"0"-16,0 13 15,0-13-15,0 14 0,13 12 16,-14-13-16,1 14 0,0-1 15,0 1-15,-1-1 0,1 14 0,0-14 16,0 1-16,13-1 0,-14-13 16,14 14-16,-13-1 0,13-12 0,-13 12 15,13-13-15,-13 1 0,13-1 0,-13 13 16,13-13-16,-14 1 0,1-1 16,13 0-16,-13 0 0</inkml:trace>
  <inkml:trace contextRef="#ctx0" brushRef="#br0" timeOffset="16624.12">14975 2222 0,'-13'0'0,"40"-13"16,12 13-1,-25 0-15,12-13 16,0 13-16,1 0 0,13 0 0,-14-13 15,14 13-15,-14 0 0,1 0 16,12-13-16,-12 13 0,-1 0 16,1 0-16,-1-14 0,1 14 0,-14 0 15,13 0-15,14-13 16</inkml:trace>
  <inkml:trace contextRef="#ctx0" brushRef="#br0" timeOffset="17054.52">15597 2011 0,'0'13'0,"0"0"0,0 1 0,-13-1 15,13 0 1,-13 0-16,13 0 16,26-26 30,14 0-30,-27 0-16,0 13 0,1 0 16,-1 0-16,0 0 0,0 0 15,0 0-15,1 0 0,-1 0 0,0 0 16,0 0-16,-13 13 0,14-13 0,-1 0 16,0 13-16,0-13 15,1 0-15,-1 13 16</inkml:trace>
  <inkml:trace contextRef="#ctx0" brushRef="#br0" timeOffset="17659.48">16140 1680 0,'0'-13'0,"-14"53"31,14-14-31,0 0 16,-13 14-16,13 0 0,0 0 0,0-1 16,-13 1-16,13 0 0,0-1 0,-13 14 15,13-13-15,0 26 16,-14-40-16,14-12 0,0 12 15,0 1-15,0-14 0,0 0 0,0 0 16,0 1-16,0-1 0,-13 0 16,0-13-16,0 0 15,0 0-15,-1 0 0,1-13 16,-13 13-16,12-13 0,1-1 16,-27 1-16,27 0 0,0 0 15,0-1-15,13 1 0,-13 13 16,13-13-16,13 0 0,0-1 15,0 1 1,14 0-16,-1 0 0,1 0 0,-1-1 16,14 1-16,-1 0 0,-12 0 0,-1 13 0,1-14 15,-1 1-15,-13 13 16,14-13-16,-14 13 0,0 0 0,1-13 16,-1 13-16,0 0 0</inkml:trace>
  <inkml:trace contextRef="#ctx0" brushRef="#br0" timeOffset="18236.56">16325 2077 0,'13'-26'0,"0"12"0,-13 1 15,0 0 1,0 26 15,0 14-15,0-14-1,0 0 1,0 0-16,13 0 0,-13 1 16,14-1-1,-1-13 1,0 0 0,0-13-16,1 13 15,-14-14-15,13 14 16,0 0-1,0-13-15,1 26 0,-1-13 16,0 0 0,-13 14-16,13-14 15,-13 13-15,0 0 16,13-13 0,-13 13-1,27-26 1,-14 0-1,-13 0 1,27 13-16,-14-14 0,0 14 0,-13-13 16,13 13-16,1 0 0,-1-13 15</inkml:trace>
  <inkml:trace contextRef="#ctx0" brushRef="#br0" timeOffset="19020.18">16695 2130 0,'27'-13'94,"-14"-1"-79,0 14 1,0 0-16,-13-13 16,14 0-1,-1 13-15,-13-13 16,0 0 0,-13 39 46,13-13-46,13-13-1,0 0 1,0 0-16,1 0 16,25 0-1,-26 0 1,1 0-16,-14 13 15,13-13 1,0 0-16,0 14 16,1-1-1,-1-13 1</inkml:trace>
  <inkml:trace contextRef="#ctx0" brushRef="#br0" timeOffset="19263.55">17211 1812 0,'0'-13'0,"0"53"16,-13 0-1,13-14-15,0-13 16,-13 14-16,13-14 0,0 13 16,-14-12-16,14-1 0,0 13 0,-13-12 15,13 12-15,0-13 0,-13 0 16,13 1-16,0-1 0</inkml:trace>
  <inkml:trace contextRef="#ctx0" brushRef="#br0" timeOffset="19575.43">17026 2130 0,'13'-13'16,"0"13"-16,1 0 15,-1-14-15,0 14 0,0 0 0,1 0 0,12-13 16,-13 13-16,14 0 15,-14-13-15,0 13 0,14 0 0,-14-13 16,0 13-16,0 0 0,1 0 0,-1-13 16,0 13-16,0 0 31,0 0-31,-13 13 0,0 0 16,0 13 15,0-12-31,-13-14 15,13 13-15</inkml:trace>
  <inkml:trace contextRef="#ctx0" brushRef="#br0" timeOffset="19707.52">17410 1998 0,'0'-14'16</inkml:trace>
  <inkml:trace contextRef="#ctx0" brushRef="#br0" timeOffset="20228.25">17608 1984 0,'0'0'0,"-13"0"0,0 0 15,-1 0-15,1 0 16,0 14 0,0-14-16,13 13 0,-14-13 15,1 13-15,0 0 16,26 1 15,0-14-15,1 0-1,-1 0 1,0 0 0,0 0-1,1 0 1,-1 0-16,0 0 0,27-14 15,-27 1 1,0 13-16,0-13 0,1 0 0,-1-14 0,13 14 16,-12-14-16,-1 14 0,0-13 15,13-1-15,-12 14 16,-14 0-16,13 13 0,-13-13 0,13 39 31,-13-13-15,-13 1-16,13-1 0,0 0 0,-13 13 0,13-12 15,0 12-15,0-13 0,0 14 16,-14-14-16,14 0 0,0 27 16,0-27-16,0 0 0</inkml:trace>
  <inkml:trace contextRef="#ctx0" brushRef="#br0" timeOffset="20593.48">15716 2183 0,'80'0'0,"-160"0"0,199-13 16,0 13-16,-66 0 0,27 0 0,-1 0 16,14 0-16,-14 0 0,0 0 15,1 0-15,-14 0 0,0 0 0,0 0 16,-13 0-16,0 0 0,53 13 15,-66-13-15,-14 13 16,14-13-16,-27 0 0,13 0 0,-12 13 0</inkml:trace>
  <inkml:trace contextRef="#ctx0" brushRef="#br0" timeOffset="20871.14">16140 2381 0,'449'-26'15,"-396"26"-15,159-13 16,-159-1-16,0 14 16,-27 0-16,14 0 0,13 0 15,-40-13-15,14 13 0</inkml:trace>
  <inkml:trace contextRef="#ctx0" brushRef="#br0" timeOffset="28062.43">12025 2606 0,'0'27'0,"0"-14"0,0 27 16,0-27-16,-13 13 15,13-13-15,0 14 16,0-1-16,-13 54 0</inkml:trace>
  <inkml:trace contextRef="#ctx0" brushRef="#br0" timeOffset="28346.8">11959 3453 0,'0'-13'0,"13"26"32,-13 13-32,0-13 0,0 1 15,0 12-15,0 1 16,0-1-16,-13 1 15,13 12-15,0-26 16,-13 40-16,0-39 16,13 12-16</inkml:trace>
  <inkml:trace contextRef="#ctx0" brushRef="#br0" timeOffset="28632.23">11840 4141 0,'0'13'31,"0"27"-15,0-27-16,-13 13 16,13-12-16,0 25 0,0-26 15,-13 27-15,13 0 16</inkml:trace>
  <inkml:trace contextRef="#ctx0" brushRef="#br0" timeOffset="28936.57">11628 4987 0,'0'27'32,"-13"-14"-32,13 0 0,0 27 15,-13 0-15,13-27 16,-13 13-16,0 27 0</inkml:trace>
  <inkml:trace contextRef="#ctx0" brushRef="#br0" timeOffset="29300.43">11470 6244 0,'-14'27'16,"14"-14"-1,0 0-15,-13 0 16,13 1-16,0 38 0,-26 54 16,13-66-1,-1 26-15</inkml:trace>
  <inkml:trace contextRef="#ctx0" brushRef="#br0" timeOffset="29707.32">11139 7713 0,'0'26'31,"0"-13"-31,0 1 0,0-1 16,-13 0-16,-1 40 15,14-40-15,-13 14 16,13-1-16,-13 1 15,13-14-15,0 13 0,-13-13 16</inkml:trace>
  <inkml:trace contextRef="#ctx0" brushRef="#br0" timeOffset="30092.37">11086 8625 0,'0'27'0,"0"-14"16,-13 14-16,13-1 15,-13-13-15,13 0 0,-14 27 16,14-27-16,0 1 0,0-1 16</inkml:trace>
  <inkml:trace contextRef="#ctx0" brushRef="#br0" timeOffset="30469.42">10993 9803 0,'0'13'15,"0"-26"-15,0 39 0,-13-13 0,13 1 16,-13 25-1,13-25-15,-13 25 0,13-25 16,-13 12-16,13 0 16</inkml:trace>
  <inkml:trace contextRef="#ctx0" brushRef="#br0" timeOffset="30760.44">10848 10835 0,'-13'53'0,"-1"-40"0,14 0 16,0 0-16,0 14 0</inkml:trace>
  <inkml:trace contextRef="#ctx0" brushRef="#br0" timeOffset="31038.31">10795 11615 0,'-13'40'0,"13"-27"15,13-66-15,-39 146 0,12-80 16,14 0-16,0 14 0,-13 12 16,0-25-16,13 12 0,-13 1 15,13-1-15</inkml:trace>
  <inkml:trace contextRef="#ctx0" brushRef="#br0" timeOffset="39149.31">1257 2977 0,'0'-14'0,"-13"41"15,-1 26 1,14-40-16,0 13 16,0-12-16,-13-1 0,13 0 15,0 0-15,0 1 0,-13 12 0,13-13 16,0 0-16,0 1 16,-13-14-16</inkml:trace>
  <inkml:trace contextRef="#ctx0" brushRef="#br0" timeOffset="39453.03">1257 2818 0,'26'0'0,"-13"13"16,1-13-16,-1 13 0,13 1 16,14 38-16,13 1 0,-27 13 15,-12-39-15,-1-1 16,-13 1-16,0 13 16,-13-1-16,-1 1 0,1-14 0,0 14 0,-13-13 15,-27 39-15,0-13 16,39-27-16,-12-13 0,13 0 15,-14 14-15,14-27 16</inkml:trace>
  <inkml:trace contextRef="#ctx0" brushRef="#br0" timeOffset="39963.44">2183 2924 0,'0'26'0,"0"-13"16,0 1-16,0 12 0,-13 14 16,13-1-16,0-25 0,-27 39 15,27-40 1,0 0-16,-13 0 0,13 14 15,-13-14-15,13 0 16</inkml:trace>
  <inkml:trace contextRef="#ctx0" brushRef="#br0" timeOffset="40344.37">2037 2963 0,'14'-13'16,"-1"0"-16,-40 39 0,67-52 15,-27 13-15,0 13 0,27 0 16,-27 0-16,1 13 0,-1-13 16,13 13-16,-13 0 0,1 1 15,-1-1-15,-13 0 0,13 13 16,-13 1-16,0-14 0,0 0 0,-13 14 16,13-14-16,-27 14 0,-12 25 15,-14-12-15,26-13 16,14-14-16,0 0 0,0 0 15,0-13-15,-1 14 0,1-14 16</inkml:trace>
  <inkml:trace contextRef="#ctx0" brushRef="#br0" timeOffset="40803.66">2421 3188 0,'40'-66'0,"-27"53"16,-13 0-1,0-1-15,0 1 16,0 0-1,-27 53 1,27 13 15,0-40-31,0 0 0,0 0 16,0 0-16,14-13 0,-1 14 0,-13-1 16,26 0-16,-12 0 15,-1-13-15,0 0 0,0 0 16,0 0-16</inkml:trace>
  <inkml:trace contextRef="#ctx0" brushRef="#br0" timeOffset="41177.62">2725 3082 0,'-26'14'31,"26"-1"-31,-13 0 16,13 14-16,-14 12 15,28-12 1,-14-14 0,13-13-16,0 13 0,13-13 15,-26 13 1</inkml:trace>
  <inkml:trace contextRef="#ctx0" brushRef="#br0" timeOffset="41717.33">2699 3241 0,'26'13'16,"-13"1"-1,1-1-15,-14 0 16,0 0 0,0 1-16,-40 12 31,40-13-31,-13-13 0,-14 13 15,14 1-15,0-14 0,0 0 16</inkml:trace>
  <inkml:trace contextRef="#ctx0" brushRef="#br0" timeOffset="42031.72">2950 3096 0,'-40'13'0,"40"0"16,0 0-1,-13-13-15,13 14 0,0-1 0,-13 13 16,13-13-16,0 1 16,13-1-16,-13 0 15,13 0-15,1 1 0,-1-14 16,0 13-16,0-13 0,1 0 16,-1 0-16,0 0 15</inkml:trace>
  <inkml:trace contextRef="#ctx0" brushRef="#br0" timeOffset="42482.47">3122 3188 0,'0'0'16,"0"-13"-16,13 13 31,1 26-15,-1-12-16,-13-1 0,0 0 15,13-13-15,-13 13 0,0 1 16,0-1-16,0 0 16,0 0-1,13-13 1,0-13 0,-13 0-16,14-14 31,-1 14-31,13-13 15,-12 26-15,-1-14 0,0 1 16,14 0 0,-14 13-16,0-13 0,0 13 0,0-13 15,1 13-15,-1 0 32,0 13-32,14 13 15,-27 1 1,0-14-1,0 27 1,0-27 0,0 0-1</inkml:trace>
  <inkml:trace contextRef="#ctx0" brushRef="#br0" timeOffset="42611.73">3519 3003 0,'-13'0'0,"13"-13"31</inkml:trace>
  <inkml:trace contextRef="#ctx0" brushRef="#br0" timeOffset="43214.26">3678 2831 0,'-14'119'0,"14"-79"15,-13-14-15,13 1 0,-13 79 31,13-67-31,0-12 0,-13-14 16,13 0-16,0 0 0,0 1 16,0-1-16,0 0 15,13-26 17,0 0-32,0-1 0,27-25 15,-27 39 1,1-14-16,-1 14 15,0-13-15,0 13 16,1 13-16,-14 1 16,0-1-16,-14 0 15,14 14 1,0-14 0,14-13-16,-1 0 15,0 0-15,0 0 16,0 0-16,1-13 15,-1 13-15,0-14 0,0 1 0,1 0 16,-1 0-16,0-1 16,-13 1-16,13 13 0,-26 13 47,0 1-32,13-1-15,13 0 16,14-13 15,-14 13-31,0-13 0</inkml:trace>
  <inkml:trace contextRef="#ctx0" brushRef="#br0" timeOffset="43647.36">4551 2844 0,'0'0'16,"0"40"-1,0-27-15,-13 14 16,-14 92-1,14-93-15,0 40 16,-1-52-16,14 12 0,-13 14 16,0-14-16,13-13 15,-13 1-15,13-1 0,0 0 16,0 0-16</inkml:trace>
  <inkml:trace contextRef="#ctx0" brushRef="#br0" timeOffset="43988.51">4710 2924 0,'0'-14'16,"-14"41"-16,14-14 15,0 0-15,0 1 0,0-1 0,-13 0 16,13 13 0,0-12-16,0-1 0,0 0 0,0 0 0,0 1 15,0-1-15,0 0 16,0 0-16,13 1 16,1-1-1,-1 0 1,0-13-16,-13 13 0,13-13 15,-13 13-15,13-13 16,1 14-16,12-14 16</inkml:trace>
  <inkml:trace contextRef="#ctx0" brushRef="#br0" timeOffset="44199.58">4432 3056 0,'0'0'0,"26"0"16,1 0 0,-14 0-16,13 0 0,1 0 0,-1 0 15,1 0-15,26 0 0,-27 0 16,1 0-16,-1 0 0,0 0 0,1 0 15,-1 13-15</inkml:trace>
  <inkml:trace contextRef="#ctx0" brushRef="#br0" timeOffset="44541.83">4908 3135 0,'26'-26'0,"-12"-1"16,-1 14-1,-13 0 1,-27 26-1,14-13 1,13 13-16,-26 1 0,13 12 16,-1 14-1,28-27 1,-1 0-16,0 0 16,0-13-16,0 14 0,1-14 15,-1 0-15,13 13 0</inkml:trace>
  <inkml:trace contextRef="#ctx0" brushRef="#br0" timeOffset="45147.62">6204 2765 0,'14'53'15,"-14"-27"1,0-12-16,0 12 0,0 0 0,0 1 0,-14-1 16,14 27-16,0-26 15,-13 12-15,13-25 0,0 12 16,0-13-16,0 1 15,-26-14 17,13-14-32,-1 1 15,-39-13 1,40 26-16,-13 0 16,-14 0-16,27 0 0,0 0 15,-14 0-15,1 13 16,12 0-16,1-13 0,0 13 15,0 1-15,0-14 0,13 13 0,0 0 16,13 0-16,-13 0 16,13-13-16,0 0 0,27 14 15,13-14-15,13 13 16,-26-13-16,-14-13 0,14 13 16,-14 0-16</inkml:trace>
  <inkml:trace contextRef="#ctx0" brushRef="#br0" timeOffset="45693.64">6548 3069 0,'-13'-13'0,"26"26"0,-39-26 16,13 13-16,0 0 0,-1 0 15,1 0-15,0 0 16,0 13-16,-1 0 0,-12-13 15,26 14-15,-13-14 16,13 13-16,-14 0 0,1 0 16,26 1-1,1-14 1,-1 13 0,0-13-16,0 0 15,1 0 1,-14 13-16,13-13 15,0 0-15,0 0 16,1 0-16,-1-13 0,0 13 16,0 0-16,14-13 0,-1-1 15,1 1-15,-14 0 0,0 0 0,14-1 16,-14-12-16,66-67 16,-66 67-1,1-14-15,-1 14 0,0-1 0,0 1 16,0 13-16,-13-14 0,14 1 15,-1 12 1,-26 41 0,-1 13-1,14-14-15,0 1 0,-13-1 16,13 0-16,0-12 0,0 12 16,0-13-16,0 14 0,0-14 0,13 27 15,-13-27-15,14 13 16,-14-12-16,13-14 15</inkml:trace>
  <inkml:trace contextRef="#ctx0" brushRef="#br0" timeOffset="45895.52">6628 2937 0,'26'0'16,"-12"0"0,-1 0-16,26 0 0,1 0 15,-13 0-15,-1 0 0,0 0 16,1 0-16,26 13 0,-27-13 16,1 0-16</inkml:trace>
  <inkml:trace contextRef="#ctx0" brushRef="#br0" timeOffset="46231.8">7250 2924 0,'-27'-14'16,"54"28"-16,-67-41 0,13 27 15,14 0-15,0 0 16,0 0-16,0 13 0,-1-13 0,1 14 15,0-14-15,13 13 0,-13-13 16,13 13-16,0 0 16,0 1-1,13-14-15,13 13 0,-12-13 16,-1 0-16,13-13 16,-13 13-16,1 0 0,-1 0 15,0 0-15,-13 13 0,13-13 16,1 0-16,-1 13 15,0-13-15,0 13 0,0-13 16,1 13-16,-1-13 16,0 0-16,0 0 0</inkml:trace>
  <inkml:trace contextRef="#ctx0" brushRef="#br0" timeOffset="46998.12">12938 3135 0,'0'27'31,"0"12"-15,0-25-16,0 12 0,0-13 15,0 1-15,0 25 16,0-25-16,0-1 0,0 0 16,0 13-16,0-12 0,0-1 15</inkml:trace>
  <inkml:trace contextRef="#ctx0" brushRef="#br0" timeOffset="47273.4">13031 2818 0,'26'26'0,"-13"-12"0,-52-54 0,92 106 15,-27-40-15,-13 1 0,40 39 16,-40-13-16,14-13 0,-14-1 15,0 27-15,1-26 16,-14 0-16,-14 13 16,-12 26-16,13-52 0,-1-1 0,-12 0 15,13 1-15,-40 13 0,26-27 16,14 0-16,-13 0 16,13 1-16,-1-14 0</inkml:trace>
  <inkml:trace contextRef="#ctx0" brushRef="#br0" timeOffset="48784.25">14076 3043 0,'13'26'16,"-13"-13"-16,0 1 15,0-1-15,0 0 16,0 0-16,0 1 0,0-1 15,0 0-15,13 0 16,-13 0-16,14-39 47,12 0-16,-13 12-31,0 14 0,1 0 16,-1-13-16,0 26 15,0-13-15,1 14 16,-1-1-16,-13 0 31,13-13-31,-13 13 16,13-13 31,1-13-47,12 0 15,-13 13 1,14 0-16,-14 0 0,0 0 0,0 0 16,14 13-1,-14 0-15,-13 0 16,13-13-16,-13 14 16,0-1-16,13 0 15</inkml:trace>
  <inkml:trace contextRef="#ctx0" brushRef="#br0" timeOffset="49203.78">14724 3122 0,'-26'-13'0,"12"13"0,1 13 15,0-13-15,13 13 0,-13 1 32,-1-14-32,14 13 0,-13 0 0,26 0 31,-13 0-31,40-26 31,-27 13-31,1-13 0,-1 13 16,0 0-1,-13-13-15,13 13 16,1 13 0,-1 0-16,-13 0 15,0 1 1,0-1-16,0 0 15,13-13 1</inkml:trace>
  <inkml:trace contextRef="#ctx0" brushRef="#br0" timeOffset="49883.29">15015 2884 0,'0'-13'0,"0"0"32,0 79-17,-13-27 1,13-12-16,-13 26 0,-1-27 16,14 1-16,-13-14 0,0 40 15,13-40-15,0 13 0,0-12 16,-13-1-16,13 13 15,-14-12 1,41-41 15,-14 1-31,0 12 16,14-12-16,13-14 16,-27 40-16,13-13 15,-13 13-15,1 0 16,-1 0-16,0 0 15,-13 13-15,-13 1 16,0-1-16,-1-13 16,-12 13-16,13 0 15,0 0-15,-14-13 16,14 14-16,0-1 16,13 0 15,66-13-16,-53 0-15,13 0 16,-12 0-16,12-13 0,-13 13 0,14 0 16,-14-13-16,14 13 0,-1-14 15,-13 1-15,0 0 16,1 13-16,-1-13 0,0 0 16,-13-1-16,-13 41 46,0-27-46,13 13 0,0 0 16,13 0 0,0 1-16,0-14 15,1 0-15,-1 13 0,0-13 16</inkml:trace>
  <inkml:trace contextRef="#ctx0" brushRef="#br0" timeOffset="50345.45">15756 3029 0,'13'14'16,"-13"25"-1,0-25-15,-13 12 16,13-13-16,0 1 15,0-1-15,-13 0 16,13 13-16</inkml:trace>
  <inkml:trace contextRef="#ctx0" brushRef="#br0" timeOffset="50534.72">15822 2910 0,'0'-13'15,"0"26"-15,-13-13 47</inkml:trace>
  <inkml:trace contextRef="#ctx0" brushRef="#br0" timeOffset="50885.92">15888 3043 0,'13'53'0,"-13"-40"16,0 0-16,0 0 16,0 1 15,14-14-31,-1-14 16,0 14-16,0-13 15,1 13-15,-1 0 0,0 0 16,14 0-1,-14 0-15,0 0 16,-13 13-16,13-13 16,-13 14-16,13-1 15,1 0 1</inkml:trace>
  <inkml:trace contextRef="#ctx0" brushRef="#br0" timeOffset="51848.53">16417 2765 0,'0'-13'15,"-13"52"1,13-25-16,-13-1 15,13 13-15,-13 1 0,13-1 0,-14 14 16,1 39-16,13-39 16,0 0-16,-13-1 0,13-12 15,0 39-15,13-13 0,-13-27 16,13 1-16,-13-14 0,0 0 16,14 14-16,-14-14 0,0 0 15,13 0-15,-13 1 0,-13-41 47,13 14-47,-14 0 16,-12-14-16,-14-12 15,40 25 1,-13 14-16,0-13 0,13 0 16,0 0-1,26-14 1,-12 14-16,-1 13 15,40-40-15,39-13 16,-65 27-16,26-14 16,-27 27-16,1-14 15,-14 1-15,0 13 16,0 0-16,-13-1 16,-13 14 15,0 14-16,13-1-15,0 0 0,0 13 32,13 1-17,0-27 1,1 0-16,12 13 16,0 0-1,-12-13 1,-14 14-16,13-14 15,0 26 1,0-26 0,-13 13-16,14-13 31,12-13-15,-13 0-1,1 0-15,-1 13 16,0-14-16,0 1 0,0 0 15,1 13-15,-1 0 16,0 0-16,0-13 0</inkml:trace>
  <inkml:trace contextRef="#ctx0" brushRef="#br0" timeOffset="52551.42">17026 3109 0,'26'-27'0,"-12"14"15,-14 0-15,13 13 16,-13-13-16,13-1 16,0 1-16,-13 0 0,14 13 15,-14-13-15,0 39 47,0-13-31,0 1-1,0-1-15,0 0 16,0 0 0,13-13-1,13 0 1,14-13 15,-40 0-31,26 13 16,-12-13-16,-1 13 15,0 0-15,0 0 16,1 0-16,-1 13 16,0-13-1,-13 13-15,0 0 16,0 1-16,13-14 16,-13 13-16,0 0 15,13-13 16,1 0-15,-1 0-16,0-13 16,0 13-1,14 0-15,-14 0 16,0 0 0,0 0-16,1 0 15,-1 0 1</inkml:trace>
  <inkml:trace contextRef="#ctx0" brushRef="#br0" timeOffset="52947.97">17727 2950 0,'-13'-13'16,"0"13"0,-1 13-16,14 0 15,-13 1-15,13-1 16,-13 0-16,13 0 0,0 0 16,13-13-16,-13 14 15,13-14-15,-13 13 0,14-13 16,-1 0-16,0 0 15,0 0-15,1-13 0,-1 13 16,0-14 0,0 1-1,-39 26 17,26 1-17,0-1-15,13 0 16,0-13-1,0 0-15,-13 13 0</inkml:trace>
  <inkml:trace contextRef="#ctx0" brushRef="#br0" timeOffset="54091.87">18468 2924 0,'-13'-14'16,"-1"28"-16,-25-1 15,26-13 1,-1 13-16,1-13 0,13 13 0,-13-13 16,0 14-16,-1-1 15,14 0-15,-13 0 16,26 0-1,1-13 1,-1 0-16,0 0 16,0 0-16,-13-13 15,14 13-15,-1 0 0,-13-13 0,13 13 16,0 0-16,0-13 16,1 26-1,-14 0 1,0 0-1,0 1-15,0-1 16</inkml:trace>
  <inkml:trace contextRef="#ctx0" brushRef="#br0" timeOffset="54551.61">18772 2593 0,'-13'26'0,"13"-12"16,-13-1-16,13 0 0,-14 14 15,14-14-15,-13 13 0,-13 14 16,26-14-16,-13-12 0,-1 12 15,1-13-15,0 14 0,0-14 0,13 0 16,-14 0-16,14 1 0,-13-1 16,0 0-16,13 0 15,-13-13-15,52-13 47,-25 13-47,25 0 16,-25 0-1,-1 0-15,0 13 0,13-13 16,-12 14-16,-1 12 16,-13-13-1,-13-13-15,13 13 0,-14-13 0,1 14 16,0-1-16,0-13 0,0 0 16,13 13-16,-27-13 15,14 13-15,0-13 16</inkml:trace>
  <inkml:trace contextRef="#ctx0" brushRef="#br0" timeOffset="54963.53">19010 2858 0,'-13'-14'16,"0"28"-1,0-1-15,-1-13 16,14 13-16,-13-13 0,13 13 16,-13 0-16,0 1 0,13-1 15,0 0-15,0 0 16,0 1-16,13-14 0,-13 13 15,13-13-15,0 13 0,1-13 16,12 0-16,-26-13 16,13 13-16,1 0 0,-14-13 15,0-1-15,13 14 0,-13-13 0,13 0 16,-13 0-16,0-14 16,-13 27-1,13-13-15,-13 0 16,-1 13-16,1 0 15,0 13-15,0-13 16</inkml:trace>
  <inkml:trace contextRef="#ctx0" brushRef="#br0" timeOffset="55528.59">19196 2871 0,'-14'13'47,"14"0"-31,0 0-16,0 1 0,14-1 15,-1-13 1,0 13-16,13-13 16,-12 0-1,-1 0 1,0 0-16,0-13 16,1 26-16,-1-13 31,13 0-16,-12 0 1,-1 0-16,26-26 31,-25 12-31,-1 14 0,0-13 0,0 0 16,-13 0-16,14 0 16,12-27-16,0 0 15,-26 27-15,14 13 0,-1-13 0,-13-1 16,13 1-16,-13 40 31,-13-14-15,13 0-16,0 0 15,0 1-15,0 12 0,0 1 16,0-14-16,0 0 0,0 0 16,0 14-16</inkml:trace>
  <inkml:trace contextRef="#ctx0" brushRef="#br0" timeOffset="55750.89">19368 2818 0,'39'-13'16,"-26"13"-1,27 0-15,-13 0 0,-1 0 16,0 0-16,1-14 0,13 14 16,-14 0-16,1 0 0,-1 0 0,0 0 15,14 14-15,-13-14 16</inkml:trace>
  <inkml:trace contextRef="#ctx0" brushRef="#br0" timeOffset="56799.54">20439 2765 0,'13'-13'0,"-13"-1"16,0 41 15,0-14-31,0 14 15,-13-14-15,13 0 0,0 14 16,-13-1-16,13 0 0,-13-12 16,13 12-16,-14 1 0,14-1 0,-26 27 15,26-40-15,0 14 16,-13-14-16,13 0 0,-14 0 16,14 1-16,0-1 15,0 0-15,-13-13 16,26-26 15,14-14-15,-1 0-1,-12 14-15,-1-1 0,0 1 16,14-1-16,-1-12 0,-13 25 16,0 1-16,-13 0 0,14 0 15,-1 0-15,0-1 0,0 14 16,1-13-16,-1 13 15,0 13-15,0-13 16,-13 14-16,0-1 0,0 0 16,0 0-16,-13 0 0,13 1 15,-13-14-15,0 13 16,-1 0-16,1-13 0,0 13 16,0 1-16,-1-14 0,1 0 15,0 0-15</inkml:trace>
  <inkml:trace contextRef="#ctx0" brushRef="#br0" timeOffset="57169.54">20849 2818 0,'0'-13'16,"-13"26"0,-14 27-1,14-27-15,0 0 16,13 0-16,0 0 0,0 1 16,13-1-16,-13 0 15,13-13-15,1 13 0,-1-13 16,0 0-1,0 0-15,-13-13 0,14 13 0,-1-13 16,-13 0-16,13 13 16,-13-14-16,0 1 0,13 0 15,-13 0-15,0 0 16,-13 13-16,0-14 0,0 14 16,-1-13-16,1 13 15,0 0-15</inkml:trace>
  <inkml:trace contextRef="#ctx0" brushRef="#br0" timeOffset="57636.32">21034 2672 0,'0'27'16,"0"-1"-1,-13-13-15,13 1 16,0 12-16,-13 1 0,0-1 16,-1 14-16,14-14 15,-13 1-15,13 12 0,-13-25 0,13-1 16,0 0-16,-13 0 0,13 0 16,-13 1-1,26-41 16,-13 14-31,13-13 16,0 12-16,0 1 0,1 0 16,-1 0-16,0-14 0,14 14 15,-14 0-15,0 0 16,14 13-16,-27-14 0,13 14 0,0 0 16,0 14-1,-13-1-15,0 0 16,-13-13-1,0 13-15,0-13 16,13 13-16,-14-13 0,1 0 16,13 14-16,-26-14 0,12 0 15,1 13 1</inkml:trace>
  <inkml:trace contextRef="#ctx0" brushRef="#br0" timeOffset="58017.25">21352 2725 0,'13'0'15,"-26"40"1,13-27-1,0 0-15,0 1 0,0-1 16,0 0-16,0 0 16,0 1-16,13-14 0,-13 13 15,13 0-15,1-13 16,-1 0-16,0 0 16,0 0-1,0 0-15,-13-13 0,14 13 16,-1-13-16,0-1 15,0 1 1,1 13 0,-14-13-1,13 13 1,0 0 0</inkml:trace>
  <inkml:trace contextRef="#ctx0" brushRef="#br0" timeOffset="59439.35">22291 2606 0,'-26'13'16,"26"1"-1,-14-1-15,1 27 16,13-27-16,-13 0 16,13 0-16,0 0 0,0 14 15,13-14 1,-13 0-16,13-13 0,1 0 15,12 0 1,-13-13-16,1 13 16,-14-13-16,13 0 0,13-1 15,-26 1-15,14 0 0,-14 0 16,13 13-16,0-13 0,-13-1 16,13 14-16,-13-13 0</inkml:trace>
  <inkml:trace contextRef="#ctx0" brushRef="#br0" timeOffset="59745.48">22595 2672 0,'-13'-13'0,"13"40"32,0-14-17,0 13-15,0-13 16,0 1-16,13-1 16,-13 0-16,0 0 15,0 1-15,-13 12 31,0-26-31,0 13 16,-1-13-16,1 14 0,-13-14 0,26 13 16,-13-13-16,-1 0 0,1 0 15</inkml:trace>
  <inkml:trace contextRef="#ctx0" brushRef="#br0" timeOffset="59919.39">22688 2738 0,'13'14'16,"-26"-1"-16,13 0 16,0 0-16,-13-13 15,13 14-15,-13-14 0,13 13 0</inkml:trace>
  <inkml:trace contextRef="#ctx0" brushRef="#br0" timeOffset="60125.25">22807 2593 0</inkml:trace>
  <inkml:trace contextRef="#ctx0" brushRef="#br0" timeOffset="60504.34">22847 2686 0,'0'13'0,"0"0"16,-13-13-16,13 26 0,-14-12 15,14-1 1,-13 0-16,13 0 16,0 1-1,13-14 17,1-14-17,-1 1 1,0 13-16,0 0 0,0 0 15,1 0-15,-1 0 16,0 0-16,0 0 16,1 13-16,-1-13 15,0 0-15,0 14 16</inkml:trace>
  <inkml:trace contextRef="#ctx0" brushRef="#br0" timeOffset="61342.65">23297 2672 0,'-14'0'16,"1"-13"-16,0 13 0,0 0 31,13 13-16,0 1 1,13-1 0,-13 13-1,0-13-15,0 1 0,0-1 16,0 0-16,0 0 16,-13 1-16,13-1 0,-14 0 15,1-13-15,0 13 0,0 1 16,0-14-16,-1 13 0,1-13 15,0 0-15,0 13 0,-1-13 16,28-13 15,-14 0-31,26-1 16,40-25 0,-39 25-16,12 1 15,-12 0-15,-14 0 0,13-1 0,-12 14 16,-1-13-16,0 0 0,0 13 15,1-13-15,-1 13 0,13-13 16,-26-1-16</inkml:trace>
  <inkml:trace contextRef="#ctx0" brushRef="#br0" timeOffset="65307.86">15610 3598 0,'14'0'0,"-14"27"31,-14-1-15,1-13-16,0 40 0,0-26 15,0-1-15,13 1 0,-14 12 16,1-25-16,13-1 15,0 0-15,-13 0 0,13 1 0,0-1 16,0 0-16,-13-13 16,13-13 15,0 0-31,0-1 16,-14 1-16,1-13 15,0 12-15,-14 14 16,14 0-1,0 0-15,0 14 16,0-14-16,-1 13 0,1-13 0,13 13 0,-13 0 16,0-13-16,13 14 15,0-1-15,-14-13 0,14 13 0,0 0 16,14-13-16,-14 14 0,13-14 16,-13 13-16,13-13 0,0 0 15,1 0-15,-1 13 0,13-13 16,1 0-16,-14 0 0</inkml:trace>
  <inkml:trace contextRef="#ctx0" brushRef="#br0" timeOffset="66116.56">15822 3810 0,'-13'-13'0,"0"13"15,-14 0 1,14 13-16,0-13 0,-1 13 16,1-13-16,0 13 15,0 1-15,0-14 0,-1 13 16,1 0-16,13 0 31,27-13-15,-14 0-16,0 0 15,0 0 1,0 0-16,1 0 0,-14 14 16,13-14-1,0 13 1,0 0-16,1-13 0,-1 0 16,0 0-16,0 0 15,1 0-15,12-13 16,14-14-16,-27 14 0,13-13 15,-12 12-15,-1 1 0,0-13 16,0 13-16,1-1 0,12-25 16,-26 25-16,13 1 15,0 0-15,-13 0 0,14 13 16,-14 26 0,0-13-1,0 1-15,-14-1 0,14 0 16,0 0-16,-13 1 0,13 25 15,0-26-15,0 1 0,0-1 16,0 0-16,0 0 16,0 1-16,0-1 15</inkml:trace>
  <inkml:trace contextRef="#ctx0" brushRef="#br0" timeOffset="66293.44">15954 3863 0,'27'-13'32,"-14"-1"-17,0 14-15,1 0 16,-1 0-16,0 0 0,40 0 16,-27 0-16,-12 0 15,12 0-15</inkml:trace>
  <inkml:trace contextRef="#ctx0" brushRef="#br0" timeOffset="66572.46">16364 3810 0,'-26'-13'32,"13"13"-32,0 0 15,-14 0-15,14 0 16,0 13-16,-1-13 15,1 0-15,13 13 16,-13-13-16,13 13 16,13-13-16,-13 14 15,13-14 1,106-40-16,-224 93 0,118-53 16,0 13-1,0-13 1,1 0-16,-14 13 15,13-13-15</inkml:trace>
  <inkml:trace contextRef="#ctx0" brushRef="#br0" timeOffset="66980.27">16828 3426 0,'0'27'0,"-14"-14"16,14 0-16,-13 14 0,-13 26 16,-1 0-16,1-27 15,12 14-15,1-14 0,-13 1 0,13-1 16,-14 1-16,14-1 0,0 0 15,-1-12-15,1-1 0,13 13 16,-13-26-16,13 14 16</inkml:trace>
  <inkml:trace contextRef="#ctx0" brushRef="#br0" timeOffset="67432.34">17066 3691 0,'-14'-13'0,"1"13"31,0 0-31,-14 0 0,14 0 15,0 13-15,0-13 16,0 13-16,-1-13 0,1 13 16,0 1-16,13-1 15,0 0 1,13-13-16,0 0 16,1 0-16,-1 0 15,0-13-15,0 13 16,-13-13-16,13 13 0,1-14 15,-1 28 32,-13-1-47,0 13 32,0-12-17,0-1-15,13-13 16</inkml:trace>
  <inkml:trace contextRef="#ctx0" brushRef="#br0" timeOffset="67830.61">17171 3678 0,'0'-14'15,"0"41"32,0-1-31,0-12-16,-13-14 16,13 13-16,13 0 31,1-13-16,-1-13 1,0 13-16,0 0 16,1 0-1,-1 0-15,0 0 16,0 0 0,-13 13-16,14-13 15,-14 13-15,13-13 16,0 14-1,0-1 1</inkml:trace>
  <inkml:trace contextRef="#ctx0" brushRef="#br0" timeOffset="69594.53">17515 3691 0,'-13'-13'16,"13"-1"-16,-13 14 15,0 14 1,-1-14-16,1 0 16,0 13-16,0-13 15,13 13-15,-13-13 0,13 13 0,-14 1 16,28-1 15,-1-13-31,0-13 31,0 13-31,0 0 16,1 0 0,-14 13 15,13 0 0,-13 0-31,13-13 16,0 0-1,14-13 1,-14 13-16,14-26 16,-14 26-1,0-27-15,0 14 0,0-27 16,1 27-16,-1 0 15,0-27-15,-13 27 0,13 0 16,-13-1-16,14 14 0,-14-26 16,13 26-16,-13-13 0,-27 39 47,27-13-47,-13 1 15,-13 12 1,12-13-16,14 1 15,-13 12-15,0-13 16,13 0-16,0 1 0,0-1 16,0 0-16,0 0 15,13 1 1,0-1-16,1-13 16,-1 0-16,0 0 15,0 0-15,1 0 16,-1-13-16,0 13 15,-13-14-15,13 14 0,1-13 16,-1 0 0,-26 39 62,13-12-63,13-14 17,0 0-32,13 0 15,-12 0 1,-1 0-16,-13-14 31,13 28-31,0-14 16,-13 13-16,14 13 15,-14-12 1,0-1-16,0 0 0,0 0 16,0 0-16,0 1 15,-14-1-15,14 0 16,0 0-16,-13-13 16,13 14-16,-13-1 15,0-13 1,-1 0-1,1-13 32,26-1-47,1 1 0,-1 0 16,0 0 0,0-1-16,1 1 15,-1 0-15,0 13 0,0-13 0,1 13 16,-1-13-16,0 13 0,-13-14 15,13 14-15,14-13 0,-14 13 16,13-13 0,-26 26-16,14-13 15,-1 13 1,-26 14 0,13-14-1,-14 0 1,14 0-16,-26 1 15</inkml:trace>
  <inkml:trace contextRef="#ctx0" brushRef="#br0" timeOffset="69776.42">18203 3717 0,'-13'14'31,"-13"-1"-15,26 0-16</inkml:trace>
  <inkml:trace contextRef="#ctx0" brushRef="#br0" timeOffset="70107.66">18203 3545 0</inkml:trace>
  <inkml:trace contextRef="#ctx0" brushRef="#br0" timeOffset="70441.77">18349 3638 0,'-27'13'47,"41"14"-16,-14-14-31,13 0 31,-13 0-31,0 1 16,0-1 0,-13-13-16,-1 13 15,-12 0 1,13-13-1</inkml:trace>
  <inkml:trace contextRef="#ctx0" brushRef="#br0" timeOffset="71329.49">18812 3532 0,'-27'13'15,"27"1"1,-13-14-16,13 26 0,-13-13 15,13 1-15,0-1 16,-13 0-16,13 0 16,0 0-1,26-26 17,-26 0-32,13 13 15,14-26 1,-14 26-16,14-14 0,-14 14 15,0 0-15,0 0 0,0 0 16,1 0-16,-1 14 16,0 12 15,-13-13-15,0 0-1,13-13 16,1-13-15,12 0 0,-13 13-16,1-13 15,-1 13-15,0 0 0,0 0 16,0 0-16,14 13 16,-1 13-1,-12-26 16,-1 14-31,0-14 16</inkml:trace>
  <inkml:trace contextRef="#ctx0" brushRef="#br0" timeOffset="71740.32">19407 3625 0,'0'-13'0,"0"26"0,-13-40 31,0 27-15,0 14-16,-1-14 0,1 0 15,13 13-15,-13-13 0,0 13 16,-1 0-1,14 0 1,14 1 15,-1-28-31,0 14 16,0 0 0,1 0-1,-14 14 1,13-14-1,-13 13-15,0 0 16,0 0 0,13-13-1</inkml:trace>
  <inkml:trace contextRef="#ctx0" brushRef="#br0" timeOffset="72362.48">19791 3426 0,'0'-13'0,"0"53"31,-13-40-15,13 13-16,-14 0 0,14 14 15,-13-14-15,13 0 0,-13 0 0,13 1 16,0-1-16,-13 13 0,13-12 15,0-1-15,0 0 16,13 0-16,-13 0 16,-13-39 46,-1 26-46,-12 0-16,13 0 15,0 0-15,-1 0 0,1 0 0,0 13 16,0-13-16,-1 0 16,14 13-16,-13-13 0,0 14 0,0-1 15,26 0 17,0-13-32,0 0 0,1 0 15,12 0-15,-13 0 0,1 0 16,25 0-16,-26 0 15,27-13-15,0-14 16,-27 27-16,0-13 0,14 0 31,-27 0-31,-40 26 32,27 13-17,0-12 1,26 12 15,0-13-15,0-13-16,1 0 0,12 14 15</inkml:trace>
  <inkml:trace contextRef="#ctx0" brushRef="#br0" timeOffset="73097.6">20386 3559 0,'-13'0'16,"26"0"-16,-39 0 0,12 13 15,14 0-15,-13-13 0,0 13 16,13 1-16,-13-14 0,13 13 0,0 0 16,0 0-16,-13-13 0,13 13 15,0 1-15,13-14 0,-13 13 0,13 0 16,0-13-16,0 13 15,1-13-15,-1 0 0,0 0 16,0 0-16,1-13 0,-1 13 0,0-13 16,0 0-16,1-1 15,-14 1-15,0 0 0,13 0 16,-13 0-16,-13-1 16,13 1-16,-14 13 0,1-13 15,0 13 1,0 0-16,-1 0 15,41 0 17,-14 13-17,27-13 1,-27 13-16,13 1 16,1 12-1,-14-26-15,-13 13 0,13 14 31,-13-14-15,14 0 0,-1-13-1,13 0 1,-12 0-16,-1-13 16,0 13-16,0 0 15,0 0-15,1 0 16,-1 13-1,0-13-15,-13 13 16</inkml:trace>
  <inkml:trace contextRef="#ctx0" brushRef="#br0" timeOffset="74594.75">21630 2699 0,'0'-13'16,"-14"26"47,1 13-48,0-26-15,13 13 16,-13-13-16,-27 40 15,27-27-15,0-13 0,-14 27 16,14-14-16,0 0 0</inkml:trace>
  <inkml:trace contextRef="#ctx0" brushRef="#br0" timeOffset="75816.66">21524 3360 0,'-40'0'0,"27"0"0,0 0 16,-1 0-16,1 0 0,0 0 0,0 0 16,0 13-16,-1-13 0,1 14 15,0-1 1,13 0-16,13 0 16,0 1-16,1-14 0,-14 13 15,13-13-15,0 13 0,13-13 16,1 26-16,-14-12 0,0-14 15,-13 13-15,14 0 0,-1-13 16,-13 13-16,0 1 0,0-1 16,-13-13-16,13 13 15,-14 0-15,1-13 0,0 0 0,0 14 0,-1-14 16,1 13-16,0-13 0,0 0 16,-14 13-16,14-13 15,0 0-15,0 0 0,-1 0 0,1 0 0,0 0 16</inkml:trace>
  <inkml:trace contextRef="#ctx0" brushRef="#br0" timeOffset="76268.33">21802 3426 0,'-66'0'32,"39"27"-32,14-27 15,-27 39 1,27-39-16,13 14 0,0-1 15,-13-13-15,13 13 0,13 0 16,0-13 0,14 0-1,-14 0-15,0-13 16,0 13-16,1-13 0,-1 13 0,13-13 16,-13-1-16,1 1 15,-1 13 1,0 0-16,-13 13 15,0 1 1,0-1-16,13-13 16,-13 13-16,14 14 15,-14-14-15,13 0 16,0-13 0</inkml:trace>
  <inkml:trace contextRef="#ctx0" brushRef="#br0" timeOffset="76780.28">22079 3400 0,'-13'26'15,"13"-12"1,-13 12-1,0-13-15,13 0 0,0 1 16,-13-1 0,13 0-16,13-13 31,0 0-15,13-13-1,-12 13-15,-1 0 16,0 0-1,14 13 1,-27 0 15,0 1-15,13-14 15,0-14-15,0 14-1,1 0-15,12 0 32,-13 14-17,0-14 1,-13 13-16,0 0 16,14-13-16</inkml:trace>
  <inkml:trace contextRef="#ctx0" brushRef="#br0" timeOffset="77239.28">22476 3334 0,'0'-13'15,"-13"39"-15,13-13 16,0 0-16,-13 14 0,13-1 15,-27 40-15,14-26 0,0-13 16,0 12-16,0-12 0,-14 39 16,14-40-16,0-12 15,13 12-15,-14-13 0,1 1 0,13-1 16,-13 13-16,0-13 16,13 1-16,13-41 31,27-12-16,-27 25-15,13-12 16,14-14-16,-14 27 16,-12 0-16,-1-1 0,0 1 0,0 13 15,1-13-15,-1 13 16,0 0-16,0 0 0,-13 13 16,13-13-16,-13 13 15,-13 1-15,0-1 16,0 0-16,0 0 15,-1-13-15,1 14 0,0-14 0,0 0 16,13 13-16,-14-13 0,1 13 16,0-26-1</inkml:trace>
  <inkml:trace contextRef="#ctx0" brushRef="#br0" timeOffset="77493.28">22820 3334 0,'0'26'31,"0"-13"-31,-13 1 16,0 25-1,13-25-15,0 12 0,-13-13 16,-1 14-16,14-1 0,-13-13 15,0 1-15,13-1 0,-13 13 16,-1-12-16,14-1 16,-13 0-16</inkml:trace>
  <inkml:trace contextRef="#ctx0" brushRef="#br0" timeOffset="77775.87">22913 3625 0,'66'-53'0,"-66"40"16,0-1-16,-13 14 15,0 0 1,-1 0-16,1 0 0,0 0 15,13 14-15,-13-14 0,-1 13 16,14 0-16,0 0 16,14 1-16,-1-14 15,0 13-15,0-13 0,1 13 16,-1-13-16,0 0 0,14 13 16,12-13-16,-26 0 0</inkml:trace>
  <inkml:trace contextRef="#ctx0" brushRef="#br0" timeOffset="93032.67">1191 4882 0,'53'-40'0,"-27"27"16,-13 13-16,14 0 0,-1-14 15,1 14-15,-14 0 0,13 0 16,-12 14-16,12-14 0,-13 0 0,-13 13 0,13-13 16,-13 13-16,0 0 0,0 1 15,0-1-15,-26 13 0,13-13 16,-14 1-16,14 12 0,0-13 16,0 1-16,-1-14 0,-12 26 15,13-26-15,-1 13 16,14 1-16,-13-14 15,26 13 1,1-13-16,-1 0 0,0 0 0,0 0 16,1 0-16,25 0 0,-12 0 15,-14 0-15,13 0 0,-12 0 16,12-13-16,-13 13 0,1 0 0,-1-14 16,0 1-16</inkml:trace>
  <inkml:trace contextRef="#ctx0" brushRef="#br0" timeOffset="93273.59">1548 4564 0,'79'40'31,"-66"-27"-31,27 27 0,-172-133 0,304 278 15,-159-145-15,-26 26 16,13-26-16,-40 66 16,-13-14-16,27-52 15,-54 39-15,27-26 16,27-26-16,0-1 0,-14 1 16,27-14-16</inkml:trace>
  <inkml:trace contextRef="#ctx0" brushRef="#br0" timeOffset="105463.7">5278 3784 0,'14'-14'16,"-28"54"15,-12-14-31,13 1 0,-80 105 16,53-92-16,14 0 16,0 13-16,-14-14 0,13 1 0,1 0 15,-1-1-15,14-12 16,-13-1-16,13 1 0,-1-1 0,1-13 15,0 1-15,0 12 0,-1-13 16,14 0-16</inkml:trace>
  <inkml:trace contextRef="#ctx0" brushRef="#br0" timeOffset="105768.26">5305 3770 0,'198'66'0,"-158"-39"0,0 13 16,13-14-16,-14 1 0,1-1 15,0 14-15,-14-14 0,14 1 0,-14-14 0,1 13 16,-1 1-16,1-1 0,-1-13 16,1 1-16,-14-1 0,0 0 15,0 0-15,0 1 0,1-1 0,-1 0 16,0-13-16,-13 13 16</inkml:trace>
  <inkml:trace contextRef="#ctx0" brushRef="#br0" timeOffset="106380.47">3664 5014 0,'0'-13'16,"-13"39"15,13-13-31,0 14 0,-13 12 16,0 28-16,0-41 0,13 1 15,-14-1-15,14 0 0,-13 14 16,13-27-16,-13 14 16,13-14-16,-13 0 0,13 1 0,0-1 31</inkml:trace>
  <inkml:trace contextRef="#ctx0" brushRef="#br0" timeOffset="106693.52">3585 4934 0,'0'-26'0,"13"26"0,-13-13 15,0 0-15,14 13 0,-1 0 16,0 0-16,0 0 0,0 0 0,1 0 15,-1 13-15,0 0 0,0 0 16,1 14-16,-1-14 0,-13 13 16,0 14-16,0-13 0,-27 25 15,14-25-15,0-1 0,0 1 16,13-14-16,-14 14 0,-12-1 16,13-13-16,0 0 0,-1 1 15,1-1-15,0 0 0,0-13 16</inkml:trace>
  <inkml:trace contextRef="#ctx0" brushRef="#br0" timeOffset="107028.31">3810 5146 0,'-13'13'16,"13"1"-16,-13-1 0,13 0 0,0 0 16,-14 1-16,14-1 15,0 26-15,0-25 0,0-1 0,14 13 32,-1-12-32,0-14 0,0 0 15,14 0-15,-14-14 16,0 14-16,-13-13 0,13 0 15,-13 0-15,0-1 0,0-12 16,-13 13-16,13 0 16,-13-1-16,13 1 15,-13 13-15,-1-13 0,-12 13 16,13 0-16,0 0 16,-1 0-16</inkml:trace>
  <inkml:trace contextRef="#ctx0" brushRef="#br0" timeOffset="107452.63">3942 5040 0,'0'14'16,"0"-1"-16,0 0 15,14 13-15,-28-92 0,28 146 0,-28-27 16,14-27-16,0 53 15,-13-39-15,13 0 0,0-14 0,0 1 16,0-1-16,-13-13 0,13 14 16,0-1-16,0-12 15,0-1-15,0 0 0,0 0 16,0-52 15,13 25-31,-13-12 0,13-14 16,1 1-16,12 12 0,-13-13 15,0 1-15,27-27 0,-13 39 16,-1 1-16,-13 12 16,1 14-16,-1 0 0,0 14 15,-13-1-15,-13-13 16,0 26-16,13 1 16,-14-14-16,1 0 0,0 0 0,0 14 15,-14-1-15,14-26 16,0 14-16,-1-1 0,1-13 15,13 13-15,-13-13 16</inkml:trace>
  <inkml:trace contextRef="#ctx0" brushRef="#br0" timeOffset="107982.42">4154 5199 0,'-13'13'31,"13"14"-15,0-14-16,0 0 16,0 0-16,13 1 0,0-1 15,0-13 1,1 0-16,-1-13 15,0 13-15,0 0 16,1-14 0,-1 14-16,-13 14 15,13-1 1,0 0 0,14 0-1,-14-26-15,0 13 16,-13-13-16,27 0 15,-14-14-15,13 1 0,-12-1 16,-1 1-16,0-1 0,0 1 0,-13 13 16,13-14-16,1 1 15,-14 13-15,13-1 0,-13 1 16,0 0-16,0 39 16,0-12-1,0 12-15,-13 14 16,-1-14-16,14 1 0,-13-14 15,13 13-15,0 1 0,0-14 0,-13 0 16,13 0-16,0 1 0,0-1 16,0 0-16,13-13 0,-13 13 15</inkml:trace>
  <inkml:trace contextRef="#ctx0" brushRef="#br0" timeOffset="108781.59">4723 5173 0,'-40'-14'0,"27"14"0,0 0 16,-1 14-16,1-14 15,13 13-15,-13 0 16,0 0-1,13 1-15,13-1 16,-13 0 0,13-13-16,-13 13 15,13-13-15,1 13 16,-1-13 0,-13 14-1,26-14 1,-12 0-16,-1-14 0,0 14 15,0 0-15,-13-13 0,13 13 0,1-13 16,-1 13-16,0-13 0,0 0 16,1-1-16,-1 1 0,0-13 15,-13 12-15,13 1 0,1 0 0,-14-14 16,13 14-16,-13-13 16,13-1-16,-13 14 0,13-13 15,-13 52 16,0-13-15,-13 14-16,13-14 0,0 13 16,0 14-16,-13-27 15,13 27-15,0-13 0,0-14 0,0 0 16,-13 0-16,13 0 16,0 14-16,-14-14 15,14-39 16,-13 12-15,13 1 0,13 0-1,1 0 1,-1 13 0,0 0-16,0 0 0,0 0 15,1 0-15,-1 0 16,0 0-1,0 13-15,-13 0 16,0 0 0,0 14 15,-13-14-31,13 0 16</inkml:trace>
  <inkml:trace contextRef="#ctx0" brushRef="#br0" timeOffset="108948.41">5054 5054 0,'-14'0'0,"1"0"15</inkml:trace>
  <inkml:trace contextRef="#ctx0" brushRef="#br0" timeOffset="109363.05">5159 5120 0,'-26'13'0,"13"0"16,-1 0-1,14 1-15,0-1 0,0 0 16,-13-13-16,26 13 16,-13 1-16,14-14 15,-1-14 1,0 14-16,0-13 15,1 0-15,-1 0 16,-13-1-16,13 14 16,-13-13-16,13 13 15,-13-13-15,14 26 16,-1 0 15,-13 1-31,13-1 0,0 0 16,-13 0-1,13-13 1,14 0 0</inkml:trace>
  <inkml:trace contextRef="#ctx0" brushRef="#br0" timeOffset="110977.6">6760 4776 0,'-26'-27'0,"12"14"0,1 13 16,0 0-16,-13 0 0,12 0 0,-25 0 16,12 0-16,14 0 15,0 0-15,-1 13 0,1-13 16,0 13-16,13 1 0,0-1 0,0 0 15,0 0-15,13 1 0,0-1 16,1 0-16,-1 0 0,13 27 16,-12-27-16,12 14 15,-13-14-15,1 0 0,-14 0 16,13-13-16,-13 14 0,0 12 16,-13-13-16,-1 1 0,1-1 15,0 0-15,0-13 0,-1 13 16,-12 0-16,-1-13 0,1 14 15,-14-14-15,27 13 0,0-13 16,0 0-16,-1 0 0,1-13 16</inkml:trace>
  <inkml:trace contextRef="#ctx0" brushRef="#br0" timeOffset="112059.31">6985 4895 0,'-13'-13'15,"13"-1"-15,-13 14 16,-1 0-16,1 0 0,0 0 16,0 14-16,-1-14 0,1 13 15,0-13-15,0 13 0,-1 0 16,1-13-16,0 13 0,0 1 15,0-1-15,-1 0 0,14 0 16,0 1 0,14-14-16,-1 0 0,0 0 15,0 0-15,0-14 16,1 1-16,-1 13 16,-13-13-16,13 13 0,-13-13 0,13 13 15,1-14 1,-1 28 15,-13-1-31,0 0 16,0 0-1,13-13-15,-13 14 16,13-14-16,1 0 16,12 0-1,0-14 1,-12 14-16,-1 0 15,0 0-15,0 0 16,1 0-16,-1 0 16,-13 14 15,13-14-31,0 0 16,1 0-1,-1-14 1,13 14-1,-13 0 1,1 0-16,-1 0 0,0-13 16,0 13-1,1 0-15,-1 0 16,0 13 0,0-26-1,0 13-15,-13-13 16,14 13-16,-1-27 15,0 27-15,-13-13 0,13 0 16,1 0-16,-14 0 0,13 13 16,-13-14-16,13 1 0,0 0 31,-13 39-15,-13-12-16,13-1 0,0 13 15,-13 40 1,0-26-16,13-13 0,-14 12 15,1 1-15,13-14 0,-13 1 16,13-14-16,-13 14 16,13-14-16,0 0 0,-14-13 15,14 13-15,0-39 32,14 13-32,-1-14 0,-13 14 0,26-27 15,-12 14-15,-1-1 0,13 1 16,-12 13-16,-1-1 0,0 1 15,0 0-15,14 0 0,-14 13 16,0 0-16,0 0 16,-13 13-16,0 0 15,0 0-15,-13 1 0,13-1 16,-26 13-16,12-13 0,-12 1 16,13-1-16,0-13 15,13 13-15,-14-13 0,1 0 16</inkml:trace>
  <inkml:trace contextRef="#ctx0" brushRef="#br0" timeOffset="112325.54">7673 4696 0,'13'-13'16,"-13"40"15,0-14-31,0 0 0,0 13 16,0 1-16,-13-14 0,13 40 15,-13-26-15,13-14 0,-14 13 16,14-13-16,0 1 0,-13 12 16,13-13-16,0 1 0,0-1 15,0 0-15,0 0 16,13-13-1,1 0-15</inkml:trace>
  <inkml:trace contextRef="#ctx0" brushRef="#br0" timeOffset="112601.35">7779 5001 0,'13'-27'15,"27"1"-15,-40 12 16,13 1-16,0 0 0,0 13 0,-13-13 15,14 0-15,-14-1 0,13 1 16,-40 13 0,14 13-1,0 1-15,-14-1 0,1 13 16,26-13-16,-13 1 0,0-1 16,13 13-16,0 1 31,0-14-31,13-13 0,0 0 15,0 0-15,0 0 16,1 0-16,12 0 16,-13 0-16,1-13 0</inkml:trace>
  <inkml:trace contextRef="#ctx0" brushRef="#br0" timeOffset="115989.5">21749 3929 0,'39'27'0,"-25"-27"16,12 13-16,-13 0 0,80 27 15,-67-27-15,54 13 16,-41-12-16,14-1 16,14 0-16,52 14 0,0-14 15,-66-13-15,52 13 0,-52-13 16,-13 0-16,0 0 0,13 0 15,-14 0-15,1 0 16,0-13-16,39 0 0,0-1 16,-39 1-16,-13 0 0,12 0 15,-12-1-15,-1 1 0,40-13 16,-39 12-16,12-12 16,-12 0-16,-1 12 15,-12 14-15,-14-13 0,13 0 0,0 0 16,0 13-16,1-14 0,-1-12 15,13 13-15,-26-1 16,27-25-16,-14 26 16,0 13-16,-13-27 15,13 14-15,-13 0 0,0-1 0,14 1 16,-14 0-16,0 0 16,0-1-16,0 1 0,0 0 0,-14 0 0,14 0 15,0-1-15,-13-12 0,0 13 16,0-1-16,13-12 0,-14 13 15,-25-27-15,12 0 16,14 27-16,-13 0 16,12 0-16,1-1 0,0 1 15,-14 0-15,1 0 0,13 0 16,-14-1-16,-12 1 0,25 0 16,-12 13-16,13-13 0,-14-1 15,1 1-15,-1 13 0,-12-13 0,12 0 16,1-1-16,-14 1 15,14 13-15,-1-13 0,14 13 16,-40-13-16,13 0 16,27 13-16,0-14 15,0 14-15,-14 0 0,1-13 16,12 13-16,1 0 0,-13 0 16,13 0-16,-1 0 0,1 0 15,-27 0-15,27-13 16,-27 13-16,27 0 0,0 0 15,-13 0-15,12 0 16,1 0-16,0 0 0,0 0 0,-14 0 0,14 0 16,-13-13-16,-1 13 15,14 0-15,0 0 0,-1 0 0,-12 0 16,13 0-16,-27 0 0,27-14 16,-27 14-16,14 0 0,-14 0 15,13 0 1,14 0-16,-40 0 0,14 0 15,-14 0-15,40 0 16,-14-13-16,1 13 0,12 0 16,-12 0-16,13 0 0,-27 0 15,-13 0-15,40 0 16,0 0-16,-1 0 0,-39 0 16,40 0-16,0 0 15,0 0-15,0 0 0,-14 0 16,14 0-16,-14 13 15,14-13-15,-13 0 0,12 0 16,-12 14 0,13-14-16,-14 13 0,14-13 0,-27 13 15,27-13-15,-27 13 16,27 1-16,-13-1 16,-27 26-16,26-12 15,14-14-15,-13 40 16,13-26-16,-1 25 15,1-38-15,13 12 0,-13 1 0,13-1 16,0 27-16,0-27 16,0-12-16,0 12 0,0 1 0,13-14 15,-13 13-15,13 1 0,1-1 16,-1 1-16,26 26 0,-12-27 0,-14-13 16,14 14-16,-1-1 15,67 27-15,-40-13 16,-27-27-16,0-13 15,-12 13-15,12 0 0,1 1 0,-1-14 16,14 13-16,-14-13 0,14 13 16,0-13-16,-14 0 15</inkml:trace>
  <inkml:trace contextRef="#ctx0" brushRef="#br0" timeOffset="117117.47">23402 3413 0,'53'27'0,"-26"-27"15,-14 0-15,0 0 0,0 0 16,14 0-16,-1 0 0,1 0 15,39-14-15,-26 14 0,-1-13 16,1 13-16,0-13 0,26-14 0,-26 14 16,39-26-1,-53 25-15,41-25 0,-41 12 16,0 14-16,14-14 0,-13 1 0,-1-14 16,-13 14-16,14-1 0,-1 1 15,-13-14-15,1 14 0,-1-14 0,0 14 16,14-40-16,-27 39 0,13 1 15,-13-1-15,0 1 0,0-1 16,-13-26-16,13 14 16,-14 12-16,-25-39 0,25 26 0,-52-39 31,27 52-31,12 1 0,1 0 0,-14-1 16,-53-26-16,54 27 0,-1-1 15,-13 14-15,13-13 0,1 12 16,-14-12-16,13 13 0,-105-27 15,92 27-15,0 0 16,-53-14-16,40 14 0,-40 0 16,53 13-16,-53-14 15,53 14-15,0 0 16,0 0-16,-52 0 0,52 0 16,-53 0-16,53 14 0,13-14 15,-13 13-15,-39 0 0,12 0 16,41 1-16,-1-1 15,0 0-15,1 13 0,-1-12 0,-39 25 16,12-12 0,41-1-16,0-13 0,-1 14 0,14-14 15,-27 14-15,14-1 16,12-13-16,1 1 0,0-1 16,0 0-16,0-13 0,-1 13 15,1 0-15,0 1 0,0-1 16,-1 0-16,1-13 15,13 13-15,-13-13 0,0 14 32</inkml:trace>
  <inkml:trace contextRef="#ctx0" brushRef="#br0" timeOffset="117797.38">21656 2302 0,'-26'26'47,"12"1"-31,1-27-16,13 13 15,-13 0-15,13 0 0,-13 1 0,0-1 16,13 0-16,-14 0 15,14 1-15,0-1 0,-13 0 16,13 0 0,13-13-1,-13 14-15,14-14 0,-1 0 0,0 0 16,40 0-16,-27 0 16,14-14-16,0 14 0,-1 0 15,1 0-15,53 0 0</inkml:trace>
  <inkml:trace contextRef="#ctx0" brushRef="#br0" timeOffset="119834.98">1535 6879 0,'39'-13'0,"-25"13"0,-1 0 16,26 13-1,-39 0-15,14-13 0,-14 14 16,0-1-16,0 0 16,0 0-16,-14 1 0,1 12 15,0-13 1,26 0-1,0-13-15,1 14 16,-1-14-16,0 13 16,0-13-16,-13 13 0,14-13 0,-14 13 15,13-13-15,-13 14 0,13-14 0,-13 13 16,-13 0-16,13 0 16,-13 1-16,-1-1 0,1-13 15,0 13-15,-14 0 0,1-13 0,-14 13 16,14-13-16,-1 0 15,1 0-15,-1 0 0,1 0 0,-14-13 16,1-13-16</inkml:trace>
  <inkml:trace contextRef="#ctx0" brushRef="#br0" timeOffset="120081.11">1124 6496 0,'239'26'16,"-173"0"-16,0-12 0,0 12 0,-13-13 16,0 14-16,0 13 0,39 26 15,-52-27-15,-13 1 0,-1 0 16,0 52-16,-12-52 0,-28 79 16,1-66-16,-13 13 0,-1-13 15,1 0-15,-14 13 0,0-13 0,-12 0 16,12 0-16,-13-13 0,0-1 15,13 1-15,-13 0 0,14-14 16,-1-13-16</inkml:trace>
  <inkml:trace contextRef="#ctx0" brushRef="#br0" timeOffset="124856.79">4207 6310 0,'0'-13'16,"13"40"-1,-26-14-15,13 0 16,-13 66 0,-1-39-16,14 0 0,-13-14 15,0 14-15,0-14 0,0 1 0,-1-1 16,1-12-16,0 12 0,13-13 15,-13 0-15,13 1 0,-14 12 16,1-13-16,13 1 16</inkml:trace>
  <inkml:trace contextRef="#ctx0" brushRef="#br0" timeOffset="125154.6">4471 6482 0,'0'-13'16,"0"26"-16,-13-26 16,-26 26-1,25-13-15,1 14 0,-53 12 16,39-13-16,1 0 0,-14 14 16,27-14-16,-13 0 0,12 1 0,-12-1 15,0 13-15,26-12 16,-14-14-16,14 13 0,0 0 0,0 0 15,0 0-15,14 1 16,-1-14-16,13 13 0,1 0 16,-14 0-16,0-13 0,0 0 15,1 0-15,-1 0 0,13 0 16,-13 0-16,14 0 0,-14 0 0,14-13 16,-14 13-16,13 0 0,-12 0 0</inkml:trace>
  <inkml:trace contextRef="#ctx0" brushRef="#br0" timeOffset="125523.72">4630 6562 0,'0'0'0,"0"-14"16,-13 41-1,0 13 1,13-27-1,-13 0-15,13 0 0,-14-13 0,14 14 16,-13 12-16,13-13 16,0 0-1,13-26 17,27-26-17,0 25 1,-27 14-16,0 0 15,0 0-15,1 0 0,-1 14 16,0-14 0,-13 13-16,13 0 15,-13 0-15,13 0 32</inkml:trace>
  <inkml:trace contextRef="#ctx0" brushRef="#br0" timeOffset="125852.49">5040 6522 0,'0'-13'0,"-13"13"0,0 13 16,0-13-16,13 13 0,-14 0 15,14 1-15,-13-1 0,13 0 0,-13 14 16,13-14-16,0 0 15,0 0-15,13 1 16,0-14-16,-13 13 0,14-13 16,-1 0-16,0 0 0,0 0 0,1 0 15,-1 0-15,0-13 0,0-1 16,0 1-16,-13 0 16,0 0-16,0-1 15,-13 1-15,13 0 0,-13 0 16,0-1-16,0 1 0,-1 13 15,1 0-15,-13 0 16,12 0-16,14 13 16,-13-13-16</inkml:trace>
  <inkml:trace contextRef="#ctx0" brushRef="#br0" timeOffset="126706.86">5278 6509 0,'0'-13'0,"-13"26"62,0 13-46,13-13-16,0 1 15,0-1-15,13 13 32,0-26-17,1 0-15,12-13 16,-13 0 0,1 13-1,-14-13-15,13-1 0,0 14 16,-13-13-1,13 0 1,-13 26 31,14 14-31,-14-14 15,0 0-16,13 0 1,0-13 0,0-13 15,0 13-15,1-13-1,-1 0-15,0 13 16,0-14-1,1 1 17,-1 13-1,0 0 0,-13-13 0,0 0 48,0 39-33</inkml:trace>
  <inkml:trace contextRef="#ctx0" brushRef="#br0" timeOffset="127186.27">5675 6509 0,'0'13'0,"0"0"16,0 0-1,0 1-15,0 12 16,-13-26-16,13 13 16,27-26 30,-1 0-30,-26 0-16,13 13 0,0-14 16,1 14-16,-1 14 31,0-14-31,0 26 16,-26-26 15,13 13-31,0 1 0,-13-1 0</inkml:trace>
  <inkml:trace contextRef="#ctx0" brushRef="#br0" timeOffset="127556.11">4485 6959 0,'53'-14'0,"-14"1"16,-12 13-16,-1 0 0,14 0 0,66-13 15,-67 13-15,14-13 16,13 13-16,-13 0 0,0-14 15,0 14-15,53-13 0,0 13 16,-66-13-16,-1 13 0,-12 0 16,-14 0-16,13 0 0,-12 0 15,-1 0-15,0 0 0,0 0 16,1 0-16,-41 13 31,14-13-31,-14 13 0,-12-13 16,-1 14-16</inkml:trace>
  <inkml:trace contextRef="#ctx0" brushRef="#br0" timeOffset="127804.21">4696 7078 0,'-53'13'16,"93"-26"0,-13 13-1,-1-14-15,14 14 0,-1-13 16,14 13-16,-13-13 0,13 13 0,0-13 15,0 13-15,0-14 0,0 14 0,0-13 16,-583 93-16,1099-160 0,-516 67 16,-26 13-16,-1 0 0,27 0 0,-40-13 15,27 13-15,-27 0 16,14-27-16,-14 14 16,-13 0-1,-13 0-15,13-14 16</inkml:trace>
  <inkml:trace contextRef="#ctx0" brushRef="#br0" timeOffset="128528.34">4445 6178 0,'26'-13'0,"-12"13"15,-1 0-15,13 0 0,14 0 0,0 0 16,66 0-16,-54-13 0,28 13 16,-1 0-16,1 0 0,-1 0 15,80-14-15,-80 14 16,1 0-16,65-13 0,-79 13 0,-13 0 15,13 0-15,-13-13 16,0 13-16,26-13 0,-52 13 0,-1 0 16,-12 0-16,12 0 0,-13 0 15,0 0-15,14 0 16,-14 0-16,0 0 16,-13 13-16,14-13 0,-14 13 15,0 0-15,0 14 16,13 39-16,-13-40 15,0 1-15,0-1 0,0 14 16,0 26-16,13-26 16,-13 0-16,13-1 0,-13-12 0,14 12 0,-14-12 15,13-1-15,-13-12 0,13 12 16,-13 0-16,0-12 0,0-1 0,13 13 16,-13-12-16,0 12 15,-13-13-15,13 0 0,-13 1 16,0 12-16,-27 1 15,27-14-15,-40 0 0,13 0 16,14 1-16,-14-1 16,0-13-16,1 13 0,12-13 0,-52 13 15,-1-13-15,-26 0 16,67 0 0,-67-13-16,53 0 0</inkml:trace>
  <inkml:trace contextRef="#ctx0" brushRef="#br0" timeOffset="129436.5">4485 6138 0,'-40'-13'31,"-13"26"-15,40-13-16,-14 0 15,-26 0-15,27 0 0,0 0 16,-14 0-16,13 0 0,1 14 16,0-14-16,-1 0 0,1 0 0,-1 0 15,1 0-15,-27 13 16,26-13-16,14 0 0,-13 0 0,12 13 15,-12-13-15,-1 13 0,14 0 16,0 14-16,0-14 0,-27 27 16,40 0-16,-13-14 15,0 14-15,-1-1 0,14 1 0,0 0 16,-13-1-16,13 1 0,-13 40 16,13-41-16,0 1 0,0 0 15,0-1-15,-13-12 0,13 12 0,0-12 16,0 26-16,0-14 15,0-12-15,0-14 0,0 0 16,0 14-16,0-14 16,0 0-16,0 1 15,13-14-15,0 13 16,0-13-16,1 0 0,-1 0 16,13 0-16,-12 0 0,52 0 15,-13 0-15,66 0 16,-66 0-16,26 0 0,0 0 15,1 0-15,12 0 0,67 0 16,0 13-16,-80-13 16,1 0-16,-28 0 0,68 0 15,-28 0-15,-52 0 0,-14 0 16,1 0-16,-14 0 16,13 0-16,1 0 15,-14 0-15,0 0 16</inkml:trace>
  <inkml:trace contextRef="#ctx0" brushRef="#br0" timeOffset="131475.6">6297 6496 0,'344'0'16,"-291"0"-16,0 0 0,79 0 15,-66-14-15,14 14 0,-27 0 0,26 0 16,-13 0-16,0-13 0,-13 13 16,0 0-16,13-13 0,0 13 0,-13-13 15,13 13-15,1-14 0,-14 1 0,-1 0 16,1 13-16,0-13 0,-13-1 15,0 1-15,39-26 0,-39 25 16,-1-12-16,1 13 0,-13-14 0,12 14 16,-12-14-16,12 14 15,14-40-15,-13 27 0,26-27 16,-26 13-16,-1 1 0,-12-1 16,13 13-16,-1-12 0,-12-14 15,12 13-15,-12 0 0,-1 1 0,1-14 16,-1 13-16,1-13 0,-1 0 0,-13 14 15,1-14-15,-1 0 0,0 13 16,-13 0-16,13-12 0,1 12 0,-14-40 16,0 28-16,0 12 15,0 13-15,0-12 0,0-41 16,-14 41-16,14-1 0,-13 0 16,13 1-16,-13-1 0,0 0 15,-1 1-15,14 12 0,-13-13 0,-13 1 16,13-1-16,-14-26 0,1 39 15,-1-12-15,14-1 0,-14 0 16,1 1-16,0 12 0,-27-39 16,26 26-16,-52-52 15,52 65-15,14 1 0,-13-1 16,-27-39-16,26 40 0,14-1 16,-13 1-16,-1-1 0,14 1 15,-14-1-15,14 1 0,-13-14 16,13 27-16,-1-13 0,1 12 15,0-12-15,0 13 0,-14-27 0,14 14 16,13 12-16,-13-12 16,-14-14-16,14 27 0,-13-27 15,12 27-15,1-13 16,0 12-16,0-12 0,-14-1 16,1-12-16,13-1 15,-1 27-15,14 0 0,-26-27 16,26 27-16,-13-1 15,-1-25-15,1 26 0,0-1 0,13 1 16,-13-13-16,-1 12 0,1-25 16,0 26-16,13-14 0,-13 14 15,-14-27-15,14 14 16,0-1-16,13 14 0,-13 0 16,-1-14-16,1 1 15,0 13-15,13-1 0,-13 1 16,13 0-16,-14 0 0,14-1 15,0 1-15,-13 0 0,0-13 16,13-1-16,-13 27 16,13-13-16,-13 0 15,13-1-15,-14 1 0,14 0 16,-13 13-16,13-13 16,-13-1-1,13 1 1,-13 13-1,13-13 1,0 0 0</inkml:trace>
  <inkml:trace contextRef="#ctx0" brushRef="#br0" timeOffset="131977.81">7316 2474 0,'26'-27'31,"-13"14"-31,-13 0 16,27 0-16,-27-1 0,26-12 15,-12 26 1,-14-13-16,13 0 0,0-1 0,-13 1 15,13 13-15,0-13 16,1 0 0,-1 13-16,13 13 15,-12-13-15,-1 0 16,0 13-16,0 0 16,1-13-16,12 14 0,-13-1 0,14-13 15,-14 13-15,0-13 0,14 13 16,-14-13-16,13 13 15,14 1-15,-27-1 0,0-13 16,1 0-16,-1 13 16</inkml:trace>
  <inkml:trace contextRef="#ctx0" brushRef="#br0" timeOffset="134657.59">12898 6416 0,'14'0'15,"-41"13"-15,14 1 16,-13-14-16,12 13 0,-12 0 0,13 0 16,-54 14-16,54-14 0,-13 0 15,13 0-15,-1 1 0,1-1 16,-13 0-16,12 0 0,14 1 16,-13-14-16,26 13 15,-13 0-15,14-13 0,-1 13 16,0-13-16,0 0 0,1 14 15,25-14-15,-12 13 0,12-13 16,1 0-16,-27 0 16,14 0-1,-14 0-15,0 0 0,0 0 0,1 0 16,-1 0-16,-13-13 16,13-1-16,0 14 0,-13-13 15</inkml:trace>
  <inkml:trace contextRef="#ctx0" brushRef="#br0" timeOffset="134856.53">12978 6509 0,'0'-13'15,"-13"39"1,-1-13 0,1 14-16,0-1 0,13-13 15,-13 14-15,13-1 0,-14-12 0,14 12 16,-13-13-16,13 14 0,-13-1 15,13-13-15,0 1 0,0-1 16,0 0-16,0 0 16</inkml:trace>
  <inkml:trace contextRef="#ctx0" brushRef="#br0" timeOffset="135173.15">12991 6191 0,'40'13'0,"-27"1"16,0-1-16,0 13 0,14 1 0,-1-1 15,14 40-15,-27-26 0,0 0 16,14 39-16,-27-39 16,13 26-16,-26-26 15,-14 26-15,14-26 0,-13-14 16,13 0-16,-14 1 0,1-1 0,-14-12 16,27 12-16,-27-13 0,0 14 15,14-27-15,13 0 16</inkml:trace>
  <inkml:trace contextRef="#ctx0" brushRef="#br0" timeOffset="136172.59">12554 6350 0,'67'-40'0,"-54"40"0,13 0 16,1 0-16,-1 0 0,14 0 15,-14 0-15,14 14 0,-13-1 0,-1 0 16,0 0-16,-12 0 0,-1 1 16,0 12-16,-13 1 0,0-14 15,-13 0-15,-27 27 0,14-14 16,-1-13-16,1 1 16,-14 12-16,-13-13 0,27 1 15,-14-1-15,14-13 0,12 13 0,1-13 16,0 0-1,0 0-15,39-13 32,-13 13-32,14 0 0,13 0 15,-27 0-15,13 0 16,27 13-16,-40 0 0,14 1 0,-1-1 16,1 0-16,-14 0 0,0 0 15,0 14-15,-13-14 0,14 0 16,-14 1-16,0-1 0,-14 0 0,1 13 0,0-12 15,-13-1-15,-1 13 16,-13-12-16,1 12 0,-1-13 0,0 1 16,1-1-16,-41 13 0,41-26 15,12 0-15,1 13 0,-14-13 16,0 0-16,14 0 16,13 14-16,-1-14 15,1 0-15</inkml:trace>
  <inkml:trace contextRef="#ctx0" brushRef="#br0" timeOffset="138777.45">20757 3135 0,'13'-13'16,"0"13"-16,0 0 15,27 0-15,26-13 16,-13 13-16,-40 0 16,14 0-16,-1 0 0,1-13 15,-14 13-15,27 0 16,-27 0-16,0 0 16</inkml:trace>
  <inkml:trace contextRef="#ctx0" brushRef="#br0" timeOffset="138980.79">20809 3228 0,'27'0'31,"-14"0"-31,14 0 0,-14 0 15,0 0-15,40 0 0,-27 0 0,-12 0 16,12 0-16,-13 0 16,14 0-16,-1 0 0,-12 0 0</inkml:trace>
  <inkml:trace contextRef="#ctx0" brushRef="#br0" timeOffset="140396.89">14340 6456 0,'-13'40'31,"13"-27"-31,-13 13 16,0 40-1,13-52-15,0 12 0,0-13 0,13 14 16,-13-14-16,13 0 16,0 0-16,-13 1 0,14-1 0,-1-13 15,0 13-15,0-13 0,1 0 0,-1 0 16,0 0-16,0 0 0,0-13 16,1 13-16,-1-13 0,0 13 15,0-14-15,1 1 0,-14 0 0,13-13 16,0 12-16,14-25 0,-14 12 15,-13 14-15,13-14 0,-13 14 16,13-13-16,-13 13 0,0-1 0,13 1 16,-13 0-16,0 0 15,-13 13 1,0 13-16,0-13 0,0 13 16</inkml:trace>
  <inkml:trace contextRef="#ctx0" brushRef="#br0" timeOffset="140754.91">14645 6535 0,'13'0'0,"-13"13"16,0 1 0,13-14-16,-13 13 0,0 0 15,-13 0-15,13 1 16,0-1-16,0 0 0,0 0 15,-13 14-15,13-14 32,13-13-17,13-13-15,-12 13 16,-1-13 0,0 13-16,0 0 0,1 0 15,12 0-15,-13 0 16,0 13-1,-13 0-15,0 0 16,0 0-16,0 1 0,0-1 16,0 0-16,0 0 15,0 1 1</inkml:trace>
  <inkml:trace contextRef="#ctx0" brushRef="#br0" timeOffset="141009.57">15068 6456 0,'0'-13'0,"-13"39"31,-14 40-15,27-53-1,-13 14-15,0-14 0,0 14 0,-1-14 16,1 0-16,0 14 0,13-14 16,-13 0-16,-1 0 0,14 0 15,0 1-15,14-1 16</inkml:trace>
  <inkml:trace contextRef="#ctx0" brushRef="#br0" timeOffset="141286.4">15266 6601 0,'-13'-13'15,"-40"13"1,27 13-16,-14 1 16,27-14-16,0 13 15,-1-13-15,1 13 16,-13 0-16,13 1 15,13-1-15,-14-13 0,14 13 16,0 0 0,14 0-16,-1-13 15,0 0-15,0 14 16,0-14-16,1 0 16,-1 0-16,0 0 0</inkml:trace>
  <inkml:trace contextRef="#ctx0" brushRef="#br0" timeOffset="141725.34">15386 6601 0,'-14'27'31,"14"-14"-15,0 0-16,0 1 15,0 12 1,-13-26-16,13 13 15,13-13 1,1 0 0,-1 0-1,0-13-15,0 13 0,0 0 16,1 0-16,-1 0 0,0 0 16,0 0-16,-13 13 15,14-13-15,-1 0 16,-13 13-16,13-13 0,-13 14 15,13-14-15,1 13 0,-1-13 16,0 0 0</inkml:trace>
  <inkml:trace contextRef="#ctx0" brushRef="#br0" timeOffset="142027.2">15743 6628 0,'-14'-13'15,"1"13"1,-13 13 0,26 0-1,-13-13-15,13 13 0,0 1 0,0-1 16,0 0-16,13 0 16,-13 0-16,26-13 15,-13 0-15,1 0 16,-1 0-16,0 0 0,-13-13 15,13 13-15,1-13 16,-14 0-16,0 0 16,0-1-16,-14 1 15,1 13 1,13-13-16,-13 13 16,0 13-16</inkml:trace>
  <inkml:trace contextRef="#ctx0" brushRef="#br0" timeOffset="142605.04">15888 6628 0,'13'0'0,"-26"-13"31,0 26 32,13 0-48,13 0-15,0 1 16,1-14 0,-1 0-1,0 0 1,0 0 0,1 0-16,-1-14 15,0 28 1,0-14-1,-13 13 1,14-13-16,-14 13 0,13-13 16,0 13-16,0-13 15,0 0-15,1 0 16,-1 0 0,0-13-16,0 13 15,-13-13-15,14 13 0,-14-13 16,13 13-16,0-14 15,-13 1 1</inkml:trace>
  <inkml:trace contextRef="#ctx0" brushRef="#br0" timeOffset="144303.38">15253 6932 0,'40'13'0,"-27"-13"16,0 0-16,14 14 0,-14-14 0,40 0 16,-13 13-16,-1-13 0,1 0 15,0 13-15,-1-13 0,1 0 16,13 13-16,-13-13 0,-14 0 16,14 0-16,0 0 0,-14 0 0,14 0 0,-1 0 15,-12 0-15,26 0 16,-14-13-16,-12 13 0,13 0 0,-1 0 0,27-13 15,-26 0-15,39-1 16,-39 1-16,-13 13 16,12-13-16,14-14 0,-26 27 15,-14-13-15,13 0 0,1-14 16,-14 14-16,0 0 0,1-13 16,-14 12-16,0 1 0,13 0 0,-13-27 15,-13 14-15,13 13 0,0-14 16,-14 1-16,1 12 0,0-25 15,0 12-15,-14 1 0,14-1 0,-14 1 16,14 13-16,-13-14 0,-1 1 16,14-1-16,-27 14 0,14-13 0,-27-14 15,27 27-15,-14-14 16,13 14-16,1 0 0,-53-27 16,39 27-16,0 0 0,-52-27 15,39 13-15,-13 14 0,-27-13 16,40-1-16,0 14 0,0 0 15,14 13-15,-14-13 0,13-1 16,-39 1-16,39 0 16,13 13-16,1 0 0,-1 0 0,14-13 15,-13 13-15,-1 0 0,14 0 0,-13 0 16,-14 0-16,13 13 16,-25-13-16,25 0 0,1 0 15,-1 13-15,1-13 0,-27 13 16,26-13-16,1 0 0,-1 0 15,1 0-15,-14 14 0,14-14 16,-1 0-16,1 13 0,-1-13 0,1 0 16,0 13-16,-27-13 0,26 13 15,14-13-15,-14 13 0,1-13 16,0 14-16,-14 12 0,27-13 16,-27 14-16,14-1 15,12-12-15,1-1 0,-27 26 16,27-12-16,-27-1 0,27 1 15,0-14-15,13 14 0,-13-14 0,0 13 16,-1-13-16,-12 14 16,13-1-16,13-12 0,-14 12 0,1-13 0,0 14 15,0 12-15,-1-25 16,14 12-16,-13 1 16,13-14-16,13 0 0,-13 0 0,14 14 15,-14-14-15,13 0 0,0 0 16,14 14-16,-1-14 0,-13 0 0,14 14 15,-1-14-15,1 0 0,-1 0 0,27 14 16,-26-14-16,-1 0 0,0-13 16,1 14-16,-14-1 15,14-13-15,25 26 0,-38-26 0,-1 0 16,13 14-16,-12-14 0,12 0 16,-13 13-16,1-13 0,12 0 15,-13 0-15,0 0 0,14 0 16,-1 0-16,-12 0 0</inkml:trace>
  <inkml:trace contextRef="#ctx0" brushRef="#br0" timeOffset="145816.41">16298 6231 0,'14'-13'16,"-1"-1"-16,0 1 0,13-13 15,-12 13 1,12-1-16,-13 1 0,14-13 0,-14 12 16,0 1-16,14 0 0,-14-14 15,0 14-15,0 0 0,1-13 16,-14 12-16,13 14 0,-13-13 15,0 0-15</inkml:trace>
  <inkml:trace contextRef="#ctx0" brushRef="#br0" timeOffset="146092.56">16536 5794 0,'14'0'0,"-28"0"0,41 0 0,-14 0 0,0 14 16,14-14-16,-14 13 0,0 0 0,1-13 16,-1 13-16,0 1 15,0-1-15,0 0 0,-13 13 0,0-12 16,0 39-16,0-27 15,-13 0-15,13-12 0,-13 12 0,0 1 16,-14 26-16,14-27 0</inkml:trace>
  <inkml:trace contextRef="#ctx0" brushRef="#br0" timeOffset="147959.54">6959 6945 0,'-27'14'15,"1"-1"1,-1 0-16,-26 27 0,14-27 16,12 13-16,-13-12 0,14 12 15,-27 1-15,27-1 0,-14-13 0,0 14 16,-13-1-16,40-13 15,0 1-15,0-14 0,13 13 0,-14-13 16</inkml:trace>
  <inkml:trace contextRef="#ctx0" brushRef="#br0" timeOffset="148137.71">7078 6919 0,'0'13'0,"0"-26"0,-14 39 0,-12-12 16,-27 38-16,0-25 0,13 13 0,-13-1 16,1 1-16,-54 53 15,0-14-15,53-39 16,13-1-16,1 1 0</inkml:trace>
  <inkml:trace contextRef="#ctx0" brushRef="#br0" timeOffset="149217.45">17277 6615 0,'-39'13'16,"25"-13"-16,1 13 0,0 0 15,-27 14-15,-13 12 16,27-12-16,-1-1 0,1-12 0,-14 25 15,27-26 1,0 1-16,-14 12 0,14-26 16</inkml:trace>
  <inkml:trace contextRef="#ctx0" brushRef="#br0" timeOffset="149407.53">17462 6654 0,'0'14'0,"-13"-1"0,-53 53 15,13-40-15,0 14 0,0 0 16,0-1-16,-13 1 0,-13 13 16,13 0-16,-80 26 0</inkml:trace>
  <inkml:trace contextRef="#ctx0" brushRef="#br0" timeOffset="165508.64">1482 9313 0,'-66'66'0,"39"-52"15,27-1-15,-13-13 0,13 26 16,-13-12 0,26-1-16,-13 0 15,13-13-15,0 13 0,1-13 0,-1 14 16,0-14-16,0 0 0,14 13 15,-14-13-15,53 0 16,-39 0-16,-1 0 0,14 0 16,-27 0-16,13-13 15,-12 13-15,-1-14 0,0 14 0,13-13 16</inkml:trace>
  <inkml:trace contextRef="#ctx0" brushRef="#br0" timeOffset="165733.45">1654 9181 0,'0'27'0,"0"-1"0,0-13 15,-14 27-15,14-14 16,0 1-16,0-1 0,-13 40 15,13-39-15,-13-1 0,13 1 0,-13-14 16,13 27-16,-13-27 16,13 0-16,0 0 0</inkml:trace>
  <inkml:trace contextRef="#ctx0" brushRef="#br0" timeOffset="166020.24">1640 8969 0,'40'14'0,"0"12"15,-120-66-15,186 93 0,-79-26 16,39 26-16,-53-27 0,40 54 15,-40-54-15,0 14 0,1-1 16,-14 54-16,0-53 16,-14-1-16,1 14 0,-26 40 0,12-40 15,-26 13-15,13 0 16,14-40-16,13-12 16,0-1-16</inkml:trace>
  <inkml:trace contextRef="#ctx0" brushRef="#br0" timeOffset="166615.72">2924 9168 0,'-27'13'16,"54"-26"-16,-67 26 0,40 0 16,-13 1-16,0 12 0,-1 0 15,1 14-15,13-27 0,0 27 16,0-14-16,0 27 16,13-39-16,-13-1 15,0 0-15,14 0 0,-1 1 16,0-1-16,0-13 0,0 13 15,1-13-15,12 13 16,1-26 0,-1 13-16,-13-13 15</inkml:trace>
  <inkml:trace contextRef="#ctx0" brushRef="#br0" timeOffset="166973.81">3228 9128 0,'-13'27'0,"-1"-27"16,14 13-16,-13 13 16,0 1-16,13-14 0,0 0 0,0 0 15,-13 1-15,13-1 16,0 13-16,0-12 0,0-1 15,0 0-15,0 0 16,0 0 0,66-264-16,-119 502 15,53-237-15,13-14 16,0 13 0,1-13-16,-1 13 15,0-13-15,0 0 16,-13 13-16,14-13 15,-1 0-15,0 0 0,14 0 16,-14 0 0,0 0-16</inkml:trace>
  <inkml:trace contextRef="#ctx0" brushRef="#br0" timeOffset="167392.4">3572 9260 0,'-13'-13'0,"-1"13"15,1 0-15,-13 13 16,12-13-16,-12 27 16,13-14-16,13 0 15,-13-13-15,13 14 16,-14-1-16,14 0 15,14 0 1,-1-13 0,13-13-16,-13 13 15,1-13-15,12 13 16,-13-13 0,1 13-16,-1 13 15,0 0-15,-13 0 16,-13-119-1,39 225-15,-26-105 0,0-1 16,0 0 0,0 0-16,0 1 0,-13-14 15,13 13-15</inkml:trace>
  <inkml:trace contextRef="#ctx0" brushRef="#br0" timeOffset="168215.04">3757 9366 0,'0'13'31,"0"1"-31,0-1 15,0 0-15,0 0 16,0 1 15,13-28 1,1-12-32,12-14 15,-13 27 1,-13-13-16,13 12 15,1 1-15,-14 0 16,26-14-16</inkml:trace>
  <inkml:trace contextRef="#ctx0" brushRef="#br0" timeOffset="168413.46">4141 9036 0,'-13'13'31,"13"0"-31,0 0 0,13-52 0,-26 91 16,-1-12-16,14-13 16,-13 26-16,13-27 15,0-13-15,-13 40 0,0-13 16,13-27-16,0 0 0,0 14 16,-14-14-16,14 0 15,0 0-15</inkml:trace>
  <inkml:trace contextRef="#ctx0" brushRef="#br0" timeOffset="168612.98">3995 9300 0,'27'-26'15,"-14"26"1,0 0-16,0-14 15,1 14-15,-1 0 0,0 0 16,14-13-16,-14 13 0,13 0 16,-13 0-16,1 0 0</inkml:trace>
  <inkml:trace contextRef="#ctx0" brushRef="#br0" timeOffset="168959.38">4299 9208 0,'-26'13'15,"26"13"1,13-13-16,-13 1 16,13-1-16,-13 13 15,14-12-15,-14-1 16,0 0-16,0 0 16,0 0-1,-14-13-15,14 14 0,-13-14 16,0 13-16,0-13 0,0 0 15,-1 13 1</inkml:trace>
  <inkml:trace contextRef="#ctx0" brushRef="#br0" timeOffset="169307.74">4829 9327 0,'0'39'16,"-14"-26"-16,14 1 15,-13-1-15,-27 53 16,14-39-16,13-14 0,-14 13 16,1 1-16,13-14 0,-1 0 15,1 0-15,-13 14 0,13-14 16,-1 0-16</inkml:trace>
  <inkml:trace contextRef="#ctx0" brushRef="#br0" timeOffset="171384.54">5781 9088 0,'-13'-13'0,"0"13"0,-1 0 16,1 13-16,0-13 15,13 14-15,-26-1 0,26 0 16,-14-13-16,14 13 0,-13 1 16,0-14-16,13 13 15,13-13 17,40 0-17,-40 0-15,0 0 16,1 0-16,-1 0 0,0 13 15,-13 0-15,13-13 0,-13 14 0,0-1 16,0 0-16,0 13 0,-13 14 16,0-27-16,0 14 0,-1-1 15,1 1-15,-13-1 0,13-13 0,-14 14 16,14-14-16,-14 0 16,14-13-16,-13 0 15,26-13 1,0 0-16,13 0 15,-13-1-15,13 1 0,0 0 16,-13 0-16,14-1 0,-1 1 16,13 0-16,-12 0 0,-1 0 0,0-1 15,13 1-15,-12 0 0,-1 0 16,13-1-16,-12 1 0,-1 13 16,13-13-16,-12 0 0,-1 13 15,0-13-15,0 13 0,0 0 16,1 0-16,-1 0 15,0 13 1,-13 0-16,13-13 0,-13 13 16,0 0-16,0 1 15,0-1-15,0 13 16,0-12 0,27-28 15,12-12-16,-25 13 1,-1 13-16,27-27 16,-27 27-1,0 0-15,0-13 0,1 13 0,-1-13 16,0 13-16</inkml:trace>
  <inkml:trace contextRef="#ctx0" brushRef="#br0" timeOffset="172124.39">6310 9181 0,'-39'0'16,"12"13"0,14-13-16,0 0 15,-1 0-15,14 14 0,-13-14 0,0 13 16,13 0-16,132-66 0,-277 106 16,145-40-16,13 0 15,0-13 1,0 0-1,1 0-15,-1 0 0,0-13 0,0 13 16,1-13-16,-1 13 16,0-13-1,0 26 1,-13 0 15,14 0-31,-1-13 16,-13 14-1,13-14-15,13-14 16,-12 14-16,25-26 31,-25 0-31,-1 12 0,0 1 16,0-27 0,1 27-16,-14 0 0,13 0 0,-13-1 15,0 41 16,0-1-31,-13-12 16,13 12-16,-14 1 0,1 12 0,-13-12 16,12 12-16,1 1 0,-13 0 0,12-14 15,1 14-15,0-14 0,-27 27 16,40-26-16,-13-14 0,0 13 16,0-26-16,13 14 0,-14-14 15,1 13-15,13-40 16,0 14-1,0-13-15,27-27 16,-14 13-16,13 0 0,14-13 16,-14 27-16,-12 0 15,12-1-15,-13 27 0,14-26 16,-14 26-16,14 0 0,-14 0 16,0 13-1,-13 0-15,-13 0 16,0 1-16,13-1 0,-27 0 15,14 0-15,0 0 0,-14 1 16,14-1-16,-14 0 0,14 0 16,0-13-16,0-13 15</inkml:trace>
  <inkml:trace contextRef="#ctx0" brushRef="#br0" timeOffset="172444.56">6641 9062 0,'-13'40'16,"13"-14"-16,-13-26 0,13 13 16,0 1-16,-14-1 0,14 0 15,0 0-15,-13 14 0,13-14 16,0 0-1,0 0 1,13-13-16,27-198 16,-66 396-16,39-198 15,0 0-15,0 0 16,-13 14 0,14-14-16,-1 13 15,0-13-15,0 0 16,0 0-16,-13-13 0,14 13 15,-1 0-15,0 0 0</inkml:trace>
  <inkml:trace contextRef="#ctx0" brushRef="#br0" timeOffset="172623.58">6826 9234 0,'13'-13'31,"-13"26"0,0 13-31,0-12 16,0-1-16,-13 0 15,0 14-15,0-14 16,0 13-16,-1-26 0,14 13 16,-13 1-16,13-1 15,-13-13-15</inkml:trace>
  <inkml:trace contextRef="#ctx0" brushRef="#br0" timeOffset="173045.29">7514 9221 0,'-13'53'0,"0"-40"0,-1 0 15,1 14-15,0-1 0,-13 0 0,-1 1 16,14-1-16,-27 14 0,14 0 16,26-27-16,-14-13 15,14 13-15,-13 0 0</inkml:trace>
  <inkml:trace contextRef="#ctx0" brushRef="#br0" timeOffset="173321.06">7964 8916 0,'0'40'16,"-13"-27"0,0 27-16,13-13 15,-27 39-15,14-27 0,0 1 16,-27 66 0,27-40-16,-1-40 0,14 1 15,-13-1-15,13-12 0,0-1 16,-13 13-16,13-12 0,0-1 15,0 0-15</inkml:trace>
  <inkml:trace contextRef="#ctx0" brushRef="#br0" timeOffset="173517.16">7699 9340 0,'14'-13'16,"-14"-1"-1,26 14-15,-26-13 16,27 13-16,-14 0 0,13 0 0,-13 0 16,14-13-16,39 13 0,-39 0 15,25 0-15,-25 0 16,13 0-16,-14 0 0,-13 13 16</inkml:trace>
  <inkml:trace contextRef="#ctx0" brushRef="#br0" timeOffset="173912.2">8295 9274 0,'-14'-14'16,"-25"14"-1,39 14-15,-13-14 0,-1 13 16,1 0-16,0-13 16,0 13-16,-1 1 0,14-1 15,-13-13-15,13 13 0,13 0 16,1-13 0,-1-13-1,0 13-15,0-13 0,1 13 16,-1-13-16,0 13 15,0 0 1,-13 13 0,13-13-16,-13 13 0,-13 0 15,13 0-15,0 1 16,-13-1-16,13 0 0,0 0 16,13 1-1</inkml:trace>
  <inkml:trace contextRef="#ctx0" brushRef="#br0" timeOffset="174305.41">8467 9141 0,'0'0'15,"-27"14"-15,14 12 16,13-13-16,-13 1 15,0 12-15,-1-13 0,14 0 16,-13 14-16,0-1 0,13-12 16,0-1 15,26-26-15,-12 13-1,-1 0-15,0-14 0,13 14 16,-12 0-16,-1 0 0,0 14 15,0-14 1,-13 13-16,-13 13 16,0-13-16,13 1 15,-13-1-15,-1 0 0,1-13 16,0 13-16,0 1 0,0-14 0,13 13 0,-14-13 16,1 13-16,0-13 15</inkml:trace>
  <inkml:trace contextRef="#ctx0" brushRef="#br0" timeOffset="174523.69">8718 9088 0,'0'40'31,"-13"-13"-31,0-14 16,13 0-16,-14 0 0,1 1 0,13 12 16,-13-13-16,0 0 15,13 1-15,-27 12 0,14-13 0,13 1 16,0-1-16,-13 0 0</inkml:trace>
  <inkml:trace contextRef="#ctx0" brushRef="#br0" timeOffset="174796.43">8956 9300 0,'40'-40'15,"-27"40"-15,-26 14 31,0-1-31,13 0 0,-27 14 16,27-14 0,-13 0-16,13 0 0,0 0 15,0 1-15,0-1 16,13-13-16,-13 13 16,13-13-16,1 0 0,-1 0 0,0 0 15,14 0-15,-1-13 16</inkml:trace>
  <inkml:trace contextRef="#ctx0" brushRef="#br0" timeOffset="175896.88">12131 9115 0,'-79'40'15,"52"-27"-15,1 13 16,13-26-16,-14 27 16,14-14-16,0 0 15,13 14-15,26 12 16,-13-25-1,14-1-15,-1-13 16,-12 13-16,12-13 0,-13 0 0,14 0 16,-14 0-16,27 0 15,-27 0-15,13-13 0,-12 13 0,-1-13 16,0-1-16,-13 1 16</inkml:trace>
  <inkml:trace contextRef="#ctx0" brushRef="#br0" timeOffset="176086.45">12224 9141 0,'-40'67'63,"40"-41"-63,-13 14 0,13-1 16,-13 1-16,13-14 0,-14 41 15,1-41-15,13 14 16,-13-27-16,13 13 0,0-12 0,-13-1 15,13 0-15,0 0 16</inkml:trace>
  <inkml:trace contextRef="#ctx0" brushRef="#br0" timeOffset="176333.36">12382 8771 0,'93'106'0,"-66"-67"16,25 41-16,-38-40 16,-1 12-16,-13 41 15,-40 13-15,14-53 0,-14 0 16,-39 53-16,39-67 0,-13 1 15,13 0-15,-52 26 16</inkml:trace>
  <inkml:trace contextRef="#ctx0" brushRef="#br0" timeOffset="177687.88">14407 8996 0,'-14'66'16,"14"-53"-16,0 0 0,-13 27 0,13-13 16,0-14-16,0 0 0,-13 0 15,13 14-15,0-14 16,0 0-16,0 0 0,-13-13 0,13 14 0</inkml:trace>
  <inkml:trace contextRef="#ctx0" brushRef="#br0" timeOffset="177985.55">14393 8864 0,'53'-14'15,"-40"28"-15,1-1 0,-1-13 16,-13 26-16,0-13 16,13 1-16,-26-1 0,13 0 15,0 0-15,0 1 0,-27 12 16,14-13-16,0 14 0,0-27 15,0 13-15,-1-13 16,1 13-16,0 0 16,0-13-16,-1 14 0</inkml:trace>
  <inkml:trace contextRef="#ctx0" brushRef="#br0" timeOffset="178256.26">14539 9155 0,'13'13'16,"0"0"-16,-26 0 15,13 1-15,0-1 16,-13 0 0,13 0-16,0-105 31,13 158-16,0-79-15,1-1 16,-1 1-16,0 0 16,0 0-16,0-1 0,1 14 15,-1-13-15,0 13 0,14-13 16,-14 13-16</inkml:trace>
  <inkml:trace contextRef="#ctx0" brushRef="#br0" timeOffset="178779.41">14975 9075 0,'-13'0'0,"0"13"16,13 1-16,-13-14 0,13 13 16,0 0-16,-14 14 15,14-14-15,0 0 0,0 0 0,0 1 16,14-1-16,-1 0 16,-13 0-16,13-13 0,-13 13 0,13-13 15,1 0-15,12 0 16,-13-13-16,1 13 15,-14-13-15,13 0 0,-13 0 0,13-14 16,-13 14-16,0 0 0,-13-1 16,13 1-16,0 0 0,0 0 15,-27-27 1,27 27-16,-13 13 0,0 0 16,0 0-16</inkml:trace>
  <inkml:trace contextRef="#ctx0" brushRef="#br0" timeOffset="179271.02">15293 8837 0,'0'40'16,"-13"-14"-1,13 1-15,0-14 16,0 13-16,0 14 0,-14-13 16,14-1-16,0-13 0,-13 14 0,13-14 15,-13 13-15,13-12 16,0-1-16,0 0 0,0 0 15,26-26 32,-26 0-47,27 0 0,-14 13 16,14-14-16,-14 1 0,0 13 16,0 0-16,1 0 15,12 0-15,-26 13 16,13-13-16,-13 14 15,0-1-15,-13 0 16,0 0 0,0-13-16,-1 14 0,1-14 15,0 13-15,0-13 16,-1 13-16,1-13 16</inkml:trace>
  <inkml:trace contextRef="#ctx0" brushRef="#br0" timeOffset="180069.48">16153 9088 0,'13'14'16,"-13"-1"-16,-13 0 0,13 0 16,-53 54-16,0-15 15,13-25-15,1-1 16,-41 40-16,1 14 15</inkml:trace>
  <inkml:trace contextRef="#ctx0" brushRef="#br0" timeOffset="181638.96">17132 8797 0,'-13'27'16,"-1"-14"-1,1 14-15,13-1 0,-13 0 16,0-12-16,-1 12 0,14 1 16,-26 12-16,26-25 0,-13 12 15,-1-13-15,1 27 16,13-27-16</inkml:trace>
  <inkml:trace contextRef="#ctx0" brushRef="#br0" timeOffset="182008.57">17119 8758 0,'39'-40'15,"-12"27"-15,12 13 16,-25 0-1,-1 0-15,-13 13 0,13 0 0,-13 0 16,0 1-16,-13-1 0,13 13 16,-13-12-16,-14 12 0,14 1 15,-14-14-15,14 13 0,0-13 0,0 1 16,0-1-16,-1 0 0,1-13 16,13 13-16,-13-13 0,0 14 15,13-1-15,0 0 16,13-13-1,-13 13-15,13-13 0,14 14 16,-14-14-16,13 13 0,-13-13 16,1 0-16,12 13 0,-13-13 0,14 0 15,-14 0-15,0 0 0,1 0 16,25 0-16</inkml:trace>
  <inkml:trace contextRef="#ctx0" brushRef="#br0" timeOffset="182308.29">17515 8930 0,'0'-14'0,"0"1"15,0 0 1,-26 26-1,13 0 1,13 1-16,-14-1 16,14 0-16,-13 0 15,13 1-15,0-1 16,13 0-16,-13 0 16,14-13-16,-1 0 0,0 0 15,0 0-15,1 0 0,12 0 0,-13 0 16,1 0-16,12-13 0</inkml:trace>
  <inkml:trace contextRef="#ctx0" brushRef="#br0" timeOffset="182836.01">17767 8930 0,'-13'-14'0,"-27"14"16,27-13 0,-1 26-1,1-13 1,106 14-16,-186-14 0,93 13 15,0 0-15,0 0 16,0 14-16,0-14 0,13 0 16,-13 1-16,0-1 0,0 26 15,0-25-15,-13-1 0,13 0 16,0 0-16,-13 1 0,0-1 16,-1 0-16,1 0 15,26-52 16,1 25-31,-1 1 16,0 0-16,0 0 16,1 13-16,12-27 0,1 14 15,-14 0-15,0 13 0,0-13 16,0 13-16,14 0 16,-1 0-16,-26 13 15,14-13-15,-1 0 0,-13 13 16,13-13-16,-13 13 0,13 0 15,-13 1 1,14-14 0,-1-14 15,-13 1-31,13 0 16,0-13-1,0 26-15,1-14 0,-14 1 0,13 13 16,-13-13-16,13 13 0,-13-13 0,13 13 15,1 0-15,-14-14 16</inkml:trace>
  <inkml:trace contextRef="#ctx0" brushRef="#br0" timeOffset="183330.9">18296 8903 0,'0'0'0,"-13"0"16,-1 0-1,14 13-15,-13 14 31,13-14-31,0 0 0,0 1 16,0-1-16,13 0 0,-13 0 16,0 1-16,0-1 15,0 0 1,-13 0-16,0 0 16,0-13-1,0 14 1,-1-14-16</inkml:trace>
  <inkml:trace contextRef="#ctx0" brushRef="#br0" timeOffset="183620.39">18468 8930 0,'0'0'0,"-13"13"47,13 13-31,-14-12-16,14-1 16,0 13-16,-13-12 15,0 12 1,0 0-1,0-26 1,-1 14-16,-12-14 16,26 13-1</inkml:trace>
  <inkml:trace contextRef="#ctx0" brushRef="#br0" timeOffset="183821.2">18600 8943 0,'13'0'15,"-13"13"1,0 0-16,0 1 16,-13-1-16,13 0 0,-13 0 15,0 1-15,0-14 16,-1 13-16,14 0 0,-13 0 15,0-13-15</inkml:trace>
  <inkml:trace contextRef="#ctx0" brushRef="#br0" timeOffset="183957.63">18613 8864 0,'14'-14'0,"-14"1"15</inkml:trace>
  <inkml:trace contextRef="#ctx0" brushRef="#br0" timeOffset="184338.25">18693 8850 0,'0'14'16,"0"-1"-16,0 0 0,0-53 16,-13 93-16,26-53 0,-13 13 15,0 1-15,13-1 16,0-13 0,0 0-1,1 0-15,-1 0 16,0-13-16,0 13 0,1-14 15,-1 14 1,0 0-16,0 14 31,1-1-15,-1-13-16,-13 13 16,13-13-16,0 13 0,0-13 15,-13 14-15,14-14 0,-1 0 16,0 0-1,0 0-15,1 0 0,-1 0 0,13-27 16,1 14-16</inkml:trace>
</inkml:ink>
</file>

<file path=ppt/ink/ink2.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10:07.920"/>
    </inkml:context>
    <inkml:brush xml:id="br0">
      <inkml:brushProperty name="width" value="0.05292" units="cm"/>
      <inkml:brushProperty name="height" value="0.05292" units="cm"/>
      <inkml:brushProperty name="color" value="#0070C0"/>
    </inkml:brush>
  </inkml:definitions>
  <inkml:trace contextRef="#ctx0" brushRef="#br0">12316 1310 0,'0'-14'16,"0"41"15,0-1-15,0-12-16,-13-1 15,13 0-15,0 0 16,-13 1-16,13 12 15,0-13-15,-13 0 0,13 1 16</inkml:trace>
  <inkml:trace contextRef="#ctx0" brushRef="#br0" timeOffset="482.07">12277 1111 0,'-14'27'16,"14"-14"-16,14-13 0,-14 13 16,13-13-16,-13 13 15,13-13-15,0 14 0,1-14 0,-1 13 0,0-13 16,0 13-16,0 0 0,1-13 0,-1 14 15,-13-1-15,13-13 16,0 13-16,1-13 0,-14 13 0,0 0 16,13 1-16,-13-1 0,0 0 0,0 0 15,0 1-15,0-1 16,-13 0-16,13 14 0,0-14 0,-14 0 16,1 0-16,13 0 0,-13 14 0,0-14 15,-1 0-15,-12 27 16,13-27-16,13 1 0,-13-14 15,13 13-15,-14 0 0</inkml:trace>
  <inkml:trace contextRef="#ctx0" brushRef="#br0" timeOffset="1260.67">12700 1230 0,'0'40'32,"0"-27"-32,0 0 0,-13 1 15,13-1-15,0 0 0,0 40 16,-13-26-16,13-14 0,0 0 0,0 0 15,-14 0-15,14 1 0,0-1 16,0 0-16,-13 0 16,26-52 15,1-14-15,-1 26-16,-13-12 15,26-28-15,-13 41 16,-13 0-16,27-41 15,-14 54-15,14-27 16,-14 27 0,0 0-16,0 13 15,1 13 1,-14 0-16,13-13 0,0 40 16,-13-27-16,0 1 0,13-1 0,-13 13 15,0-12-15,0 12 0,13-13 0,-13 0 16,0 40-1,0-39-15,14-1 0,-14 0 16,0 0-16,0 1 0</inkml:trace>
  <inkml:trace contextRef="#ctx0" brushRef="#br0" timeOffset="1513.2">12647 1416 0,'27'-14'0,"12"1"16,-26 13-1,14-13-15,-1 0 0,-12 13 0,-1 0 16,0 0-16,0-14 16,14 14-16,-14 0 0,0-13 0</inkml:trace>
  <inkml:trace contextRef="#ctx0" brushRef="#br0" timeOffset="1912.19">13018 1244 0,'0'26'16,"0"0"0,0-12-16,0-1 15,0 13 1,0-12-16,0-1 15,0 0 1,13 0-16,0-26 31,-13 0-15,13 0-16,0-1 0,14-12 16,-14 26-1,0-13-15,1 13 16,-1 0-16,0 13 0,0 0 15,0-13 1,-13 13-16,14-13 16,-14 27-16,0-14 15,13 0 1</inkml:trace>
  <inkml:trace contextRef="#ctx0" brushRef="#br0" timeOffset="2357.21">13361 1270 0,'-13'0'0,"0"13"16,0-13-16,-14 27 16,27-14-1,-13 0-15,13 0 16,-13-13 0,13 14-16,0-1 0,13-13 15,14 0 1,-14 0-1,13-27 1,-26 14 0,13 0-1,1 13 1,-14 13 0,13 0-1,-13 1-15,13-1 0,0 0 16,1-13-1</inkml:trace>
  <inkml:trace contextRef="#ctx0" brushRef="#br0" timeOffset="3108.69">13547 1098 0,'-14'13'0,"14"27"16,0-27-16,-13 0 15,13 14-15,0-14 0,0 27 16,0-27-16,0 0 16,0 0-16,0 1 0,0-1 0,13-13 15,-13 13-15,14-13 0,-14 13 16,13-13-16,0 14 16,0-28-16,1 14 0,12 0 15,-26-13-15,26 0 16,-12 0-16,-1-1 15,0 1 1,-13 26 31,0 1-31,0-1-16,0 0 15,0 0-15,13 1 16,1-14-16,12-14 31,-13 14-15,-13-13-16,14 13 0,-14-13 15,13 13-15,0-13 16,0 26 0,-13 0-1,0 0 1,13 1-16,-13-1 0,0 0 0,14 0 0,-14 1 15,0-1-15,0 0 0,13 0 16,-13 0-16,0 1 0,0-1 16,0 0-16,0 0 0,-13 1 0,-1-1 15,14 0-15,-13-13 0,13 13 16,-13-13-16,0 14 0,0-14 16,-1 0-16,1 0 0,0 0 15,-14 0-15,14-14 16,0 14-1,0-13-15</inkml:trace>
  <inkml:trace contextRef="#ctx0" brushRef="#br0" timeOffset="3509.07">13996 1244 0,'-13'13'0,"-13"0"16,26 0-16,0 0 15,0 14 1,13-14-16,0 14 16,0-14-16,-13 0 15,14 0 1,-14 1-16,0-1 31,-27 0-31,14-13 16,0 0-16,0 0 0,-1 13 0,1-13 15,0 0-15,0 0 0,-1 0 16,-12 0 0,13-13-16</inkml:trace>
  <inkml:trace contextRef="#ctx0" brushRef="#br0" timeOffset="3725.06">14142 1296 0,'13'14'15,"-13"12"1,0-13-16,0 14 16,0-14-16,0 0 15,0 1-15,0-1 16,0 0-1</inkml:trace>
  <inkml:trace contextRef="#ctx0" brushRef="#br0" timeOffset="3879.99">14182 1191 0,'0'-14'0</inkml:trace>
  <inkml:trace contextRef="#ctx0" brushRef="#br0" timeOffset="4191.97">14340 1244 0,'-39'26'16,"39"-13"0,0 0-1,0 1-15,0-1 0,13 13 16,0-26-16,-13 14 15,0-1-15,13-13 0,-13 13 16,0 0 0,-13 1-1,-13 12 1,13-26-16,-14 13 16,14-13-16,0 0 15</inkml:trace>
  <inkml:trace contextRef="#ctx0" brushRef="#br0" timeOffset="4993.22">14922 1177 0,'-13'14'0,"0"12"16,13-13-16,0 1 16,0-1-16,0 0 0,0 0 15,0 0-15,13 14 16,0-27-16,14 13 16,-14-13-16,14 0 15,-1-26 1,-13 12-16,-13 1 0,14 0 15,-1-27-15,-13 27 16,0 0-16,-13 0 16,13-1-16,-40 1 15,27 0-15,-1 13 16,-12 13 0,-1-13-1,14 13 1,40 14-1,-27-14 1,13-13-16,0 13 0,0-13 0,1 14 16,-1-1-16,0 0 0,0 0 0,1 0 15,-1 1-15,0 12 16,0 1-16,0-1 0,14 53 16,-14-52-16,-13-1 0,13 1 0,-13-1 15,-13 14 1,13-14-16,-13-12 0,0 12 0,-1-13 15,14 14-15,-26-1 0,13-13 16,0-13-16,13 14 0,-14-14 16,14-27-1,14 1 1,-1 13-16,-13-1 16,13-12-16,13 13 0,-12-1 0,12-12 15,-13 13-15,14 0 0,-1-14 16,1 14-16,-14 0 0,0-1 15,14-12-15,-27 13 16,13-1-16</inkml:trace>
  <inkml:trace contextRef="#ctx0" brushRef="#br0" timeOffset="5395.15">15663 992 0,'0'13'15,"14"-13"1,-14 14-16,0-1 0,0 40 16,0-40-1,-14 0-15,14 14 0,0 26 16,0-40-16,0 13 0,0-12 15,-13-1-15,13 0 0,0 0 16,0 0 0</inkml:trace>
  <inkml:trace contextRef="#ctx0" brushRef="#br0" timeOffset="5716.55">15624 1032 0,'13'-13'0,"0"-1"16,0 14 0,1 0-16,-1 0 0,13 0 0,-13 0 15,14 0-15,-14 0 0,14 14 0,-1-1 16,-13 0-16,14-13 0,-14 13 15,13 1-15,-12-1 0,-14 0 0,13 0 16,-13 0-16,0 1 0,0-1 0,-13 0 16,-1 0-16,1 1 0,0-1 15,0 0-15,-14 14 16,14-27-16,-13 13 0,12-13 0,1 13 0,0-13 16,0 0-16,-1 0 15,1 0-15,0 0 16,13-13-16</inkml:trace>
  <inkml:trace contextRef="#ctx0" brushRef="#br0" timeOffset="6236.9">16153 1098 0,'-13'0'16,"-1"0"-16,1 0 0,0 13 15,0-13-15,-1 13 16,1 1-16,0 12 16,13-13-1,-13-13-15,13 14 0,0-1 16,13-13-16,13 13 16,-12-26-1,-1 13-15,0-13 0,0 13 16,1-14-16,-14 1 15,13 13-15,-13-13 0,13 13 0,0-13 16,0 26 15,-13 0-15,0 0-16,0 1 16,14-1-1,-14 0-15,13-13 0,-13 13 16,26-13-16,1 0 15,-14-13-15</inkml:trace>
  <inkml:trace contextRef="#ctx0" brushRef="#br0" timeOffset="6467.46">16444 1098 0,'53'-106'16,"-40"93"-16,-13 0 0,13-1 0,0 1 31,-13 0-15,-13 53 15,0-27-31,13 13 0,0-12 16,-13-1-16,13 13 0,0-12 0,0-1 15,0 0-15,0 0 0,0 0 0,0 14 16,13-27-16,-13 13 0,13 0 16,-13 1-16,13-14 0,1 13 15,-1-13-15,0 0 0,0 0 0,1 0 16,-1 0-16</inkml:trace>
  <inkml:trace contextRef="#ctx0" brushRef="#br0" timeOffset="6668.57">16338 1098 0,'13'-13'15,"0"0"1,27 13 0,-13-14-16,-14 14 0,13 0 0,1-13 0,-1 13 15,1 0-15,-1 0 0,1 0 16,-1-13-16,1 13 0</inkml:trace>
  <inkml:trace contextRef="#ctx0" brushRef="#br0" timeOffset="7064.31">16960 1032 0,'-13'-27'16,"-1"27"-1,1 14 1,0-14-16,0 0 0,13 13 16,-14-13-16,14 13 0,-13 0 15,0 14 1,26-14-16,-13 0 16,13-13-1,1 0-15,-1 0 16,0 0-16,0 0 15,1-13 1,-1 13-16,0 0 16,0 13-1,0 0 1,1-13 0,-1 14-16,0-14 0</inkml:trace>
  <inkml:trace contextRef="#ctx0" brushRef="#br0" timeOffset="7949.11">12237 2196 0,'26'-13'0,"-12"0"16,-1 13-16,27 0 16,-1 13-1,-26-13-15,-13 13 0,14-13 16,-14 13-16,0 14 16,-40-1-1,27-13-15,-14 14 16,14-27-16,0 13 0,0 0 15,-1-13 1,14 14-16,27-14 31,26-14-15,-27 14-16,-13-13 16,14 13-16,-14-13 0,0 13 15,1 0-15,-1-13 0</inkml:trace>
  <inkml:trace contextRef="#ctx0" brushRef="#br0" timeOffset="8243.15">12422 2024 0,'40'13'16,"-27"1"-16,40 12 16,-40-13-16,0 0 0,14 1 15,-14-1-15,0 13 0,-13-12 0,14-1 16,-14 0-16,0 0 0,0 0 0,0 14 16,-27-1-16,1 1 15,12-1-15,-12-12 0,13 12 16,-14-13-16,14-13 0,-13 27 0,-1-14 15,1-13-15,12 13 0,1-13 16,-13 13-16</inkml:trace>
  <inkml:trace contextRef="#ctx0" brushRef="#br0" timeOffset="9708.73">13361 2103 0,'-26'-13'0,"13"26"16,-14 1-16,14-14 0,-27 39 15,14-25-15,13-1 16,-1 0-16,1 0 0,0 0 0,0 1 15,13-1-15,-13 0 16,13 0-16,-14 1 0,14-1 0,0 0 16,0 0-16,14-13 15,-1 14-15,0-14 0,0 0 16,40 0 0,-40 0-16,14 0 0,-14-14 15,14 14-15,-14 0 0,13 0 16,-13-13-16</inkml:trace>
  <inkml:trace contextRef="#ctx0" brushRef="#br0" timeOffset="10043.98">13586 2170 0,'-13'0'0,"0"0"31,0 0-31,13 13 0,-14 0 15,14 0-15,0 0 16,0 1-16,14-1 16,-1-13-16,0 13 15,0-13 1,1 0-16,12-13 16,-13 13-16,0-13 15,-13-1 1,0-12-16,-13 13 15,13 0-15,-13-1 16,13 1 0,-13 13-1,0 0 1,-1 13-16</inkml:trace>
  <inkml:trace contextRef="#ctx0" brushRef="#br0" timeOffset="10293.6">13838 2051 0,'0'26'31,"-14"14"-15,14-27-16,0 0 15,-13 0-15,13 1 0,0-1 0,-13 0 16,13 0-16,-13 14 16,13-14-1,0 0-15</inkml:trace>
  <inkml:trace contextRef="#ctx0" brushRef="#br0" timeOffset="10537.49">13996 2064 0,'0'39'15,"-13"-25"1,13-1-16,0 0 15,0 0-15,-13 1 0,13-1 0,0 0 16,-13 0-16,0 14 16,26-14-1</inkml:trace>
  <inkml:trace contextRef="#ctx0" brushRef="#br0" timeOffset="10948.09">14116 2275 0,'13'-26'16,"0"26"-16,0-27 15,0 14-15,-13 0 16,14 13-16,-14-13 0,0 0 16,0-1-1,-14 14 16,-12 27-15,13-14-16,13 0 16,0 0-16,-13-13 15,13 14-15,0-1 0,13-13 16,-13 13-16,13 0 16,0-13-16,0 0 15,1 14-15,-1-14 0</inkml:trace>
  <inkml:trace contextRef="#ctx0" brushRef="#br0" timeOffset="11407.9">14459 2183 0,'-13'-13'31,"-13"26"-15,13 13-1,-1-26-15,14 13 0,-13-13 0,13 14 0,0-1 16,-13-13-16,13 13 16,0 0-16,13 1 0,0-14 15,-13 13-15,14-13 16,12 0-16,-13 0 0,0-13 16,1 13-16,25-14 15,-25 1-15,-1 0 0,0 0 16,53-40-1,-53 26-15,1 14 0,-1 0 16,0-14-16,-13 14 0,13 0 0,1 0 16,-14 0-1,13-1 1,-13 41 15,-13-14-31,13 0 0,-14 27 16,14-27-16,0 0 0,0 1 15,0-1-15,0 0 0,-13-13 16,26 26-16,-13-12 0,0-1 16,14 0-16,-1-13 31</inkml:trace>
  <inkml:trace contextRef="#ctx0" brushRef="#br0" timeOffset="11609.37">14618 2196 0,'27'-13'15,"26"0"1,-40 13-16,27-14 15,-27 14-15</inkml:trace>
  <inkml:trace contextRef="#ctx0" brushRef="#br0" timeOffset="11780.85">14883 2117 0,'13'0'31,"-13"26"-15,0-13-1,0 1-15,0-1 0,0 0 0,0 13 16,0-12 0,0-1-16</inkml:trace>
  <inkml:trace contextRef="#ctx0" brushRef="#br0" timeOffset="11912.09">14936 2051 0</inkml:trace>
  <inkml:trace contextRef="#ctx0" brushRef="#br0" timeOffset="12563.89">15108 2117 0,'0'0'0,"-14"13"0,1 0 15,13 0-15,-13 14 16,0-14-16,13 0 16,13 0-1,-13 1-15,13-14 0,0 0 16,14 0 0,-14 0-16,0-14 0,27 1 15,-40 0 1,13 0-16,1 0 0,-14-1 15,0 1 1,-14 0-16,1 0 16,0 13-16,0 0 15,-1 0-15,1 0 16,0 0 0,39 13 15,1-13-16,-14 0-15,0 13 0,1-13 16,-1 0-16,0 0 16,0 13-16,14 1 15,-14-14-15,-13 13 0,13-13 16,0 13 0,1-13-1,-1 0 1,13 0-1,-12 0 1,-1 0 0,13-13-1,-13 13-15,14 0 16,-14 0-16,14 0 16,-1 0-1</inkml:trace>
  <inkml:trace contextRef="#ctx0" brushRef="#br0" timeOffset="13205.46">15968 2077 0,'-27'13'16,"14"0"0,13 1-16,0-1 15,0 0 1,26 0 0,-12-13-16,-1 0 0,27 0 15,-27 0 1,0-13-16,27 0 15,-27 0-15,0-1 0,-13 1 16,13 13-16,-13-13 0,-13 0 16,13 0-1,-13-1-15,0 1 0,-1 13 16,1 0 0,0 13-1,26 1 1,14-1-1,-27 0-15,13 0 16,0 0-16,0-13 0,1 14 16,-1-1-16,0 0 0,0 14 0,-13-14 15,13 0-15,-13 0 0,14 0 16,-14 14-16,0-14 0,0 0 0,-14 14 16,14-14-16,-13 0 0,0 14 15,13-14-15,-13 0 0,0 0 0,13 1 16,-14-14-16,14 13 0,-13 0 15,40-39 17,-14 12-32,13 1 0,-13 13 15,40-39 1,-39 25-16,-1 1 0,27-13 16,-27 12-16,-13 1 0,13 0 15,-13 0 1</inkml:trace>
  <inkml:trace contextRef="#ctx0" brushRef="#br0" timeOffset="13540.71">16761 1879 0,'14'26'0,"-14"-13"16,-14 0-16,14 1 0,0-1 15,0 0-15,0 0 16,0 1-16,0-1 0,0 0 0,-13 0 0,13 1 16,0-1-16,0 0 15,0 0-15,0 0 16</inkml:trace>
  <inkml:trace contextRef="#ctx0" brushRef="#br0" timeOffset="13843.95">16761 1839 0,'14'-13'15,"-28"26"-15,41-26 0,-27-1 16,13 14-16,0 0 0,14 0 15,-14 14-15,0-14 0,0 13 0,1 0 16,12 0-16,-13 1 0,1-1 16,-14 13-16,13 14 15,-13-27-15,0 14 0,-13-14 0,-1 0 16,14 0-16,-13 1 0,0-1 16,0 0-16,-1 0 0,1-13 15,0 13-15,0-13 0,0 14 0,-1-14 0,1 0 16</inkml:trace>
  <inkml:trace contextRef="#ctx0" brushRef="#br0" timeOffset="14549.17">17277 1958 0,'-13'-13'16,"-13"26"-1,12-13-15,14 13 16,-13-13-16,-13 13 16,26 1-16,-14-14 0,14 13 15,-13-13-15,13 13 16,13-13 0,1 0-1,-1 0-15,0 0 0,0 0 16,1 0-1,-1 0 1,-13 13 0,0 1-1,13-14-15,-13 13 16,27-13 0,-1 0-16,-13-13 15,27-1 1,-27 1-16,0 0 0,1 0 0,-1-14 15,13 14-15,-13-27 0,14 14 16,-14-1-16,0 1 0,1 13 0,-1-1 16,-13-12-16,13 26 0,-13-13 0,13-1 15,-13 1-15,-13 26 32,0 40-17,0-39 1,13 12-16,0-13 0,-14 14 15,14-14-15,0 0 0,0 0 0,0 1 16,0-1-16,0 0 0,0 0 16,14 1-16,-1-14 0,0 13 0,0-13 15,1 0-15,-14 13 0,13-13 16,0-13-16,0 13 0</inkml:trace>
  <inkml:trace contextRef="#ctx0" brushRef="#br0" timeOffset="14773.51">17304 1852 0,'53'-13'0,"-40"13"0,13 0 15,-12 0-15,12-13 0,-13 13 16,14 0-16,-14 0 0,13 0 0,-12 0 16,12 0-16,-13 0 0,14 0 15,-14 0-15</inkml:trace>
  <inkml:trace contextRef="#ctx0" brushRef="#br0" timeOffset="15286.02">17965 1931 0,'0'0'0,"-13"0"16,0 14 0,0-14-16,-1 13 15,1 0-15,0 0 16,13 1-1,13-14 1,0 0-16,14 0 16,-14-14-16,27 1 31,-27 0-31,0 13 16,0-13-16,1 26 46,-14 0-30,13 0 0,0 1-16,0-14 15,1 0-15,-14 13 16</inkml:trace>
  <inkml:trace contextRef="#ctx0" brushRef="#br0" timeOffset="15619.97">18441 1879 0,'14'0'16,"12"0"-16,-13 0 16,1 0-16,12 0 0,-13 0 0,1 0 15,-1 0-15,26-14 16,-25 14-16,-1 0 0,13 0 15,-12 0-15,-1-13 16</inkml:trace>
  <inkml:trace contextRef="#ctx0" brushRef="#br0" timeOffset="15877.64">18600 1733 0,'13'13'0,"1"-13"0,-14 13 15,13-13-15,0 14 0,14 12 16,-14-13-16,0 1 16,0 25-16,14 14 15,-27-40-15,-14 1 16,14-1-16,-26 13 15,26-12-15,-26-1 16,12 0-16,1-13 0,0 13 0,0-13 16</inkml:trace>
  <inkml:trace contextRef="#ctx0" brushRef="#br0" timeOffset="17668.89">12396 2897 0,'26'0'15,"-13"0"-15,1 13 16,-14 1-16,0-1 15,-14 0 1,1 0-16,0 1 0,13-1 16,-13 0-1,26-13 1,0 13 0,0-13-16,1 13 15,12 1 1,-13-1-1,-13 0-15,-13 0 16,0-13-16,-27 27 16,27-27-16,0 0 15,-27 0 1,27 0-16,0 0 0</inkml:trace>
  <inkml:trace contextRef="#ctx0" brushRef="#br0" timeOffset="17940.14">12330 2686 0,'66'13'15,"-132"-26"-15,145 39 0,-66-13 0,14 0 16,-14 1-16,0-1 0,14 13 0,-1-12 15,-13 12-15,0-13 0,1 14 0,-14-1 16,13-13-16,-13 14 0,0-14 16,-13 14-16,-1-1 0,1 14 15,0-14-15,-13 1 0,-1-1 0,1 1 16,-1-14-16,1 13 0,-1 1 0,1-14 16,-1-13-16,14 13 15,0 0-15</inkml:trace>
  <inkml:trace contextRef="#ctx0" brushRef="#br0" timeOffset="23822.07">13123 2910 0,'0'-13'0,"-13"13"16,-13 0-1,-1 27 1,1-14-16,13 0 16,-1 14-16,1-14 0,-13 13 0,12-13 15,-25 40 1,25-39-16,1 25 15,0-39-15,13 14 0,0 12 16,0-13-16,13 0 16,0-13-1,-13 14-15,14-14 0,-1 0 0,0 0 16,0 0-16,1 0 0,39-14 16,-40 14-16,26-13 15</inkml:trace>
  <inkml:trace contextRef="#ctx0" brushRef="#br0" timeOffset="24185.11">13282 3016 0,'-13'0'16,"0"13"-16,-1 1 0,1-1 15,13 0-15,0 0 16,-13 1 0,26-1-16,-13 0 0,13 0 15,1-13 1,12 0 0,-13 0-16,1 0 15,-1-13-15,-13 0 16,13 13-16,-13-13 0,0-1 0,0 1 15,0 0-15,0 0 16,-13-1 0,13 1-16,-13 13 0,13-13 0,-14 13 0,1-13 15,-13 13 1,12 13 0,1-13-16</inkml:trace>
  <inkml:trace contextRef="#ctx0" brushRef="#br0" timeOffset="24431.12">13507 2858 0,'13'13'16,"-13"13"-1,-13-13-15,13 1 0,0-1 0,0 13 16,-13 1-16,13-14 0,-13 13 0,13-12 16,-14 12-16,14-13 0,0 1 15,-13-1-15,13 0 0,0 0 0,-13 1 16,13-1-16,0 0 16</inkml:trace>
  <inkml:trace contextRef="#ctx0" brushRef="#br0" timeOffset="24677.07">13652 2897 0,'-13'27'31,"0"-1"-16,13-13-15,-13-13 0,0 53 16,13-40-16,0 1 16,0-1-16,-14-13 0,14 13 0,0 0 15,0 1-15,0-1 16,0 0 0</inkml:trace>
  <inkml:trace contextRef="#ctx0" brushRef="#br0" timeOffset="25012.1">13719 3109 0,'13'-27'16,"-13"14"-16,13 0 16,-26 0-1,13-1 1,-13 28 0,-1 12-1,1-13-15,13 1 16,0-1-1,0 0 1,0 0-16,13-13 0,1 14 16,-1-14-16</inkml:trace>
  <inkml:trace contextRef="#ctx0" brushRef="#br0" timeOffset="25464.07">13970 3069 0,'-13'0'16,"0"13"0,-1-13-16,1 14 0,0-1 15,13 0 1,-13-13-16,13 13 0,0 1 16,0-1-1,13-13-15,13 13 16,-12-26-16,-1 13 0,0 0 15,13 0-15,-12-13 0,-1-1 0,13 14 16,-12-13-16,-1 0 0,13-14 16,-12 14-16,-1-13 0,13 12 15,-13-12-15,-13 13 0,14 0 0,-1-14 0,0 14 16,-13 0-16,13-1 16,-13 1-16,0 0 15,14 13 1,-28 26-1,-12 14 1,26-27-16,0 14 0,0-14 0,-13 13 16,13-12-16,0-1 0,0 0 15,0 0-15,0 1 0,0-1 0,13 0 16,-13 0-16,13-13 16,0 0-1,14 0-15,-14 0 0,0-13 0,1 0 16,-1 13-16</inkml:trace>
  <inkml:trace contextRef="#ctx0" brushRef="#br0" timeOffset="25641.14">14155 2977 0,'53'-14'16,"-40"14"-16</inkml:trace>
  <inkml:trace contextRef="#ctx0" brushRef="#br0" timeOffset="25832">14446 3003 0,'13'13'0,"1"0"16,-14 14-1,0-14-15,0 0 0,0 1 0,0-1 0,0 0 16,0 0-16,-14 1 16,14-1-16,-13 0 0,13 0 15,-13 0-15,0-13 16</inkml:trace>
  <inkml:trace contextRef="#ctx0" brushRef="#br0" timeOffset="26375.04">14883 2805 0,'-13'0'15,"-1"13"-15,14 0 0,-13-13 16,0 13-16,13 1 0,-13-1 0,13 13 16,-14-13-16,14 1 0,0-1 15,-13 0-15,13 0 0,0 14 16,0-14-16,13 0 0,-13 0 15,14-13-15,-14 14 0,13-14 0,0 0 16,0 0-16,27-14 16,-27 14-16,0-13 15,1 0-15,-1 0 0,0 0 0,-13-1 0,13 1 16,-13 0-16,0-14 16,0 14-16,0 0 0,-13 0 15,-13 0 1,12 13-16,-12 0 15,13 0-15,0 0 16,-1 0-16,1 0 0</inkml:trace>
  <inkml:trace contextRef="#ctx0" brushRef="#br0" timeOffset="26680.25">15002 2818 0,'40'13'0,"-27"-13"15,0 0-15,13 40 16,-12-40-16,-1 13 0,-13 0 0,0 0 16,13 1-16,-13-1 0,0 0 15,0 14 1,0-14-16,0 0 0,0 0 16,0-39 15,13-1-16,1 14 1,-1-13 0,0 26-16,-13-14 0,13 14 0,1-13 0,-1 0 15,13 0 1,-13 13-16,1-13 0,-1 13 16,0 0-16,0 0 0</inkml:trace>
  <inkml:trace contextRef="#ctx0" brushRef="#br0" timeOffset="27204.96">15425 2831 0,'-39'0'16,"78"0"-16,-92 13 16,40-13-16,0 0 0,0 14 0,-1-14 15,1 13-15,0-13 0,13 13 16,-13 0-16,-1 0 0,14 1 16,0-1-1,14-13-15,-1 13 16,27-13-1,-1 13 1,-25 1-16,-1-14 0,0 13 16,0 0-16,0 0 0,1 0 0,-14 1 15,13-1-15,-13 0 0,0 0 16,0 1-16,-13-1 16,13 0-16,-27 14 15,14-14-15,0-13 0,13 13 0,-13-13 16,-14 13-1,14-13-15,0-13 16,26 0-16,-13-14 16,13 27-1,-13-13-15,13 0 0,1 0 0,-1-1 0,0 1 16,0 0-16,27-14 16,-27 27-1,-13-13-15,13 13 0,1-13 0,-1 0 16</inkml:trace>
  <inkml:trace contextRef="#ctx0" brushRef="#br0" timeOffset="28025.3">15703 2831 0,'0'-13'0,"-13"13"0,0 13 16,-1-13-1,1 0-15,13 13 0,-40 27 16,27-40-16,0 13 16,13 0-16,-13 1 0,0-1 0,13 0 15,-14 0-15,14 1 16,0-1 0,0 0-16,14-13 15,-1 0-15,13-13 16,-13 13-16,1-13 15,-1-1-15,0 1 16,14-13 0,-27 12-16,13 1 15,0 0 1,0 26 78,0-13-79,1 13 1,-1-13 0,0 14-16,0-1 31,1 0-16,-1-13 1,-13 13 0,13-26 15,0 13-31,1 0 16,-1 0-16,0 0 15,0 0 1,0 0-16,1 0 0,-1 0 15,-13 13 1,13-13-16,0 0 0,1 0 31</inkml:trace>
  <inkml:trace contextRef="#ctx0" brushRef="#br0" timeOffset="28199.56">16073 2897 0,'14'0'15,"-28"27"17,1-14-17,13 0-15,0 0 0,0 1 16,-13-1 0,13 0-16</inkml:trace>
  <inkml:trace contextRef="#ctx0" brushRef="#br0" timeOffset="28343.85">16073 2805 0</inkml:trace>
  <inkml:trace contextRef="#ctx0" brushRef="#br0" timeOffset="28764.08">16325 2858 0,'-27'0'16,"14"0"-16,-13 0 15,26 13 1,-14-13-16,14 13 16,0 0-16,14 0 15,-1 27 1,0-40-16,-13 13 0,13 1 16,1 12-1,-14-13-15,0 0 0,-14 1 16,1-1-1,-13 0 1,12-13-16,-12 0 16</inkml:trace>
  <inkml:trace contextRef="#ctx0" brushRef="#br0" timeOffset="29082.98">16364 3016 0,'27'-13'0,"-14"13"16,0-13-16,1 0 0,39-1 15,-40 1-15,13 0 16,-13 0-16,1-1 0,-1 14 0,0-13 16,0 0-16,1 0 0,-14 0 15,-14 13 1,-12 13-1,13-13-15,13 13 16,-14-13-16,1 13 16,13 0-16,-13 1 0,13-1 0,0 0 15,0 14 1,13-27-16,0 13 16,14 0-16,-14-13 15,0 0-15,1 0 0,-1 0 16</inkml:trace>
  <inkml:trace contextRef="#ctx0" brushRef="#br0" timeOffset="29304.08">16920 2963 0,'13'27'15,"-13"-14"1,0 13-16,-26 14 16,26-27-1,-27 1-15,14-1 0,-13 0 0,-40 27 16,39-27-16,-13 0 0,1 0 16,12 1-16</inkml:trace>
  <inkml:trace contextRef="#ctx0" brushRef="#br0" timeOffset="32332.8">17264 2805 0,'0'26'31,"0"-13"-31,0 1 0,-13-1 15,13 0-15,0 0 0,0 0 16,-13 27 0,-1-27-16,14 1 0,0-1 15,0 0-15,-13-13 0,13 13 0,0 0 16,0-39 46,13 0-62,-13 12 16,0 1-16,14-13 0,12-27 16,-26 40-1,13-14-15,-13 14 0,14-14 0,-1 14 0,-13 0 16,13 0-16,-13-1 0,13-12 16,0 26-1,1-13-15,-1 26 16,0-13-1,0 26-15,-13-12 16,0-1-16,14 0 0,-14 0 0,0 1 16,0-1-16,0 0 15,0 0-15,0 1 0,0-1 0,0 0 16,0 0-16,0 0 0,0 1 16,0-1-1</inkml:trace>
  <inkml:trace contextRef="#ctx0" brushRef="#br0" timeOffset="32763.62">17238 2910 0,'26'0'16,"-13"0"-1,27-13 1,-14 13-1,-12 0-15,12 0 16,-13 0 0,1 0-16</inkml:trace>
  <inkml:trace contextRef="#ctx0" brushRef="#br0" timeOffset="33166">17568 2818 0,'-26'13'31,"26"0"-31,-13 14 16,13-14-16,-14 0 0,14 0 15,0 1-15,-13-1 16,13 0-1,0 0-15,0-52 47,13 25-47,-13 1 16,14 0-16,-14 0 16,13 13-16,-13-13 0,13 13 15,0-14-15,1 28 16,-1-1-1,0 0 1,-13 0 0,13 0-1,-13 1-15,13-1 16</inkml:trace>
  <inkml:trace contextRef="#ctx0" brushRef="#br0" timeOffset="33741.37">17820 2844 0,'-40'0'0,"27"14"16,0-14-16,-1 13 15,1 0-15,0-13 16,13 26 0,0-12-1,13-28 1,0 14 0,1 0-1,-1 14 1,-13-1-1,13-13 1,-13 13-16,13-13 16,27-13-1,-40 0 1,13 13-16,0-14 0,1 1 0,-1 0 16,0 0-16,0 0 0,-13-14 0,14 14 15,-1-14-15,0 1 0,0 13 16,-13-1-16,13 1 0,-13 0 0,0 0 15,14 0-15,-14-1 0,0 1 16,0 53 15,-14-14-15,14-13-16,-13 1 16,13-1-16,0 0 0,0 14 15,0-14-15,0 0 16,0 0-16,13-13 15,1 14-15</inkml:trace>
  <inkml:trace contextRef="#ctx0" brushRef="#br0" timeOffset="34120.19">18098 2818 0,'0'-13'0,"-27"26"31,14-13-15,13 13-16,-13-13 0,13 13 16,0 1-1,0-1 1,13-13-16,13 0 16,-12 0-16,-14-13 15,13 13-15,0 0 0,-13-14 0,13 14 16,0-13-16,1 13 15,-1 0-15,-13-13 16,13 26 0,0 0-16,-13 1 15,0-1-15,14 13 16,-14-13-16,0 1 16,0-1-16,0 0 0,0 0 15,-14-13-15,14 14 0,-13-1 16,0 0-1,0-13 1</inkml:trace>
  <inkml:trace contextRef="#ctx0" brushRef="#br0" timeOffset="34420.85">18362 2791 0,'-13'14'47,"13"-1"-31,0 0-16,0 0 15,0 14 1,0-14-1,-13 0 1,-1-13-16,1 13 0,0-13 16,0 14-1,-1-14-15</inkml:trace>
  <inkml:trace contextRef="#ctx0" brushRef="#br0" timeOffset="34591.6">18455 2831 0,'13'0'16,"-26"13"0,13 1-16,0-1 15,-14 0 1,14 0-16</inkml:trace>
  <inkml:trace contextRef="#ctx0" brushRef="#br0" timeOffset="34747.26">18534 2738 0,'0'0'0</inkml:trace>
  <inkml:trace contextRef="#ctx0" brushRef="#br0" timeOffset="35034.81">18680 2752 0,'-14'0'0,"1"13"15,13 0 1,0 0-16,0 14 16,0-14-1,0 14 1,0-14-16,-13 0 15,0 0 1,-1-13 0,1 0-1,13-13 1</inkml:trace>
  <inkml:trace contextRef="#ctx0" brushRef="#br0" timeOffset="35285.72">18997 2434 0,'-13'27'16,"13"-14"-16,-13 13 15,13 1-15,-14-1 0,14 14 0,-13 0 16,0-1-16,0 1 0,13-14 0,-14 14 15,1 0-15,0 0 0,-13 26 16,26-40-16,-14-13 0,14 1 16,-13-1-16,13 0 0,-13 0 15,13 0-15,0 1 16</inkml:trace>
  <inkml:trace contextRef="#ctx0" brushRef="#br0" timeOffset="35700.93">19156 2633 0,'0'13'0,"0"0"0,0 0 16,0 1-16,-13 12 15,13-13-15,0 0 0,-14 1 0,14-1 16,-13 27 0,0-40-16,13 13 15,-13 0-15</inkml:trace>
  <inkml:trace contextRef="#ctx0" brushRef="#br0" timeOffset="35861.51">19222 2487 0</inkml:trace>
  <inkml:trace contextRef="#ctx0" brushRef="#br0" timeOffset="36234.22">19288 2580 0,'0'39'15,"0"-78"-15,0 92 0,0-40 16,0 0-16,0 0 0,-13 1 16,13-1-16,0 0 0,0 0 15,0 0 1,26-26 15,-12 0-31,-1 0 16,0 13-16,0 0 15,1 0 1,-1 13 0,0-13-16,-13 13 0,0 0 15,0 1 1,13-1-16</inkml:trace>
  <inkml:trace contextRef="#ctx0" brushRef="#br0" timeOffset="36681.17">19698 2408 0,'0'26'31,"0"-13"-31,-13 1 16,13 39 0,-13-27-16,13 0 0,0 1 0,0-14 15,0 14-15,0-14 0,0 0 16,0 0-16,0 1 0,0-1 0,13 0 15,-13 0-15,13-13 0,0 13 16,1-13-16,25-13 16,-25 0-16,12-13 15,-13 26-15,-13-14 0,14 1 16,-1 0 0,-13 0-16,-13 39 31,13-13-16,-14 1-15,14 12 16,0-13-16,0 0 16,0 1-16,14-14 0,-1 13 15,0-13 1,0-13-16,0-1 16</inkml:trace>
  <inkml:trace contextRef="#ctx0" brushRef="#br0" timeOffset="36868.17">19553 2593 0,'-14'0'0,"41"-13"31,-14 13-31,0 0 0,1 0 0,-1-14 16,27 14-16,-27 0 15,0 0-15,27 0 16,-27 0-16,0 0 0</inkml:trace>
  <inkml:trace contextRef="#ctx0" brushRef="#br0" timeOffset="37342.78">20002 2606 0,'0'13'0,"0"1"0,0-41 0,14 67 0,-14-27 15,0 0-15,0 1 16,0 12-16,0-13 15,0 0-15,0 1 16,0-41 31,13 14-47,-13-13 0,13 26 16,-13-14-16,13 1 0,-13 0 15,14 0-15,-1-14 16,0 14-16</inkml:trace>
  <inkml:trace contextRef="#ctx0" brushRef="#br0" timeOffset="37736.61">20227 2487 0,'14'27'16,"-14"-14"-1,0 40 1,0-27-16,-14 1 0,14-1 0,0 1 15,-13 12-15,13-12 0,0-1 16,-13 1-16,13-1 0,0-13 0,-13 14 16,13-14-16,0 0 0,0 0 15,-14 1-15,14-1 0,0 0 16,14-39 15,-1-27-15,0 40-16,0-27 0,1 13 15,-1 1-15,0-1 0,14-25 16,-14 38-16,0 1 16,0 13-16,-13-13 0,13 13 0,1 0 0,-1 13 31,-13 0-15,-13 1-16,13-1 0,-14 0 15,1 0-15,0 14 16,0-27-16,13 13 15</inkml:trace>
  <inkml:trace contextRef="#ctx0" brushRef="#br0" timeOffset="38260.18">20466 2619 0,'0'0'0,"0"-13"0,13 40 31,0-1-16,0-13-15,-13 1 16,0-1-16,13 0 16,-13 13-1,14-52 17,-1 0-17,0 26-15,-13-14 16,13 1-16,1 0 15,-1 13-15,-13-13 0,13 13 16,0 0 0</inkml:trace>
  <inkml:trace contextRef="#ctx0" brushRef="#br0" timeOffset="38850.39">20651 2725 0,'26'0'0,"-26"-13"0,13 13 16,-13-13-16,14 13 0,-14-13 16,13 13-16,-13-14 0,13 1 15,-26 53 32,13-27-31,0 0-16,13 0 31,0-13-15,1 0-16,12 0 15,0-13 1,-12 0-16,-1 13 16,0 0 15,0 13-16,1-13-15,-14 13 0,13-13 16,13 14 0,-12-14-16,-1 0 0,0 0 15,13-14 1,-12 14-16,-1-13 0,0 0 16,0 0-16,1 0 0,-1-1 0,0 1 15,-13 0-15,13 0 16,1-14-16,-14 14 0,13 0 0,-13-1 15,13 1-15,-13-13 0,13 13 16,-26 26 15,13 26-15,0-25-16,0 39 16,0-40-16,0 0 15,0 0-15,0 1 0,0-1 16,0 0-16</inkml:trace>
  <inkml:trace contextRef="#ctx0" brushRef="#br0" timeOffset="38995.83">20942 2686 0,'13'-14'15,"27"14"1,-27 0-16,13-13 0,1 13 15,-1 0-15,1 0 0,-1 0 16,1-13-16,-1 13 0,1 0 0</inkml:trace>
  <inkml:trace contextRef="#ctx0" brushRef="#br0" timeOffset="39411.87">21603 2289 0,'0'26'0,"0"-13"0,0 14 0,-13-14 16,0 66-16,0-39 15,-14 13-15,14 0 0,0-13 0,-14-1 0,14 1 16,0 0-16,-1-1 15,1 1-15,-13-13 0,13 12 16,-1-12-16,14-14 0,-13 0 0,13 0 16,-13-13-16</inkml:trace>
  <inkml:trace contextRef="#ctx0" brushRef="#br0" timeOffset="39955.83">22027 2580 0,'0'26'31,"0"1"-31,-14-1 16,14-13-16,0 1 0,-13-1 15,13 13-15,0-13 0,-13 1 0,13 12 16,-13-13-16,13 1 0,0-1 0,-14 0 16,14 0-1,0 1-15</inkml:trace>
  <inkml:trace contextRef="#ctx0" brushRef="#br0" timeOffset="40269.14">21987 2553 0,'13'-26'0,"-13"13"16,13 13-16,1-14 16,12 14-1,0 14 1,-12-1-16,-1 0 0,0-13 0,-13 13 16,13 0-16,1 1 15,-14-1-15,0 0 16,-14-13-16,14 13 0,0 1 0,-13-14 15,13 13-15,-13-13 0,0 13 16,-1 0-16,1-13 0,0 14 16,0-14-16</inkml:trace>
  <inkml:trace contextRef="#ctx0" brushRef="#br0" timeOffset="40576.94">22185 2699 0,'27'53'0,"-27"-40"16,0 0-16,-13 14 15,13-14 1,0 0-1,0-39 17,26-14-17,-13 27-15,0-1 0,-13 1 16,14 0-16,-1 13 0,13-26 16,-12 26-16,-14-14 15,13 14-15,0 0 0,0 0 0</inkml:trace>
  <inkml:trace contextRef="#ctx0" brushRef="#br0" timeOffset="40901.32">22556 2738 0,'26'-26'0,"-13"13"16,1 0-1,-41 26 17,1 13-17,26-13-15,-14-13 0,14 14 16,0-1-16,-13-13 15,13 13-15,0 0 0,13 1 16,1-14 0,25 0-1,-25 0-15,-1 0 0</inkml:trace>
  <inkml:trace contextRef="#ctx0" brushRef="#br0" timeOffset="41165">22834 2672 0,'0'0'16,"-14"0"-16,1 27 15,13-14 1,0 0-16,13 0 16,-13 14-1,14-14-15,-14 0 0,0 1 0,0-1 16,0 0-16,-14 0 15,1 1 1,0-14-16,0 13 0,-1-13 16,1 0-16,0 0 0,-14 0 15,14 0 1</inkml:trace>
  <inkml:trace contextRef="#ctx0" brushRef="#br0" timeOffset="41938.19">22992 2858 0,'27'-27'0,"-14"27"16,-13-13-16,13 13 0,-13-13 15,13-1-15,1 14 0,-14-13 16,13 0-16,-13 0 16,13-1-1,-13 1 1,-26 13 0,26 13-1,-14 1 1,14-1-1,-13-13-15,13 13 16,0 0-16,0 1 31,13-1-15,1-13 0,-1 0-1,0 0 1,-13-13-16,27 13 15,-14 0 1,0-14 15,0 14-15,1 14 0,-1-1 30,0-13-14,0 0-17,0 0 1,1 0-16,-1 0 16,0-13-16</inkml:trace>
  <inkml:trace contextRef="#ctx0" brushRef="#br0" timeOffset="42142.35">23442 2566 0,'0'-13'0,"0"0"15,0 0 1,0 39 0,-13-13-1,13 1-15,0 12 0,0 1 16,-13-14-16,13 13 0,0-12 0,0-1 15,0 13-15,0-13 0,0 1 16,0-1-16,0 0 0,0 0 0,0 1 16,0 12-16</inkml:trace>
  <inkml:trace contextRef="#ctx0" brushRef="#br0" timeOffset="42339.96">23336 2791 0,'13'0'16,"1"-13"-16,-1 13 0,0 0 0,0 0 16,27-13-16,-27 13 15,1 0-15,12 0 0,-13 0 0,14-13 16,-14 13-16</inkml:trace>
  <inkml:trace contextRef="#ctx0" brushRef="#br0" timeOffset="43025.54">23799 2765 0,'0'0'0,"0"-13"15,-13 13 1,0 0 0,0 0-16,-1 13 0,-12 0 15,13 0 1,-1 1 0,1-14-1,13 13-15,0 0 16,13-13-1,14 0 1,-14-13 0,0 13-16,1 0 15,-1 0 1,-13 13-16,13-13 16,13 0-1,1 0 1,-14-13-16,0 13 15,1-13-15,-1 13 0,0-14 16,0 1-16,1 0 0,-1 0 0,0-14 16,0 14-16,0 0 0,1-14 0,-1 14 15,0 0-15,-13 0 0,13-1 16,1 1-16,-14 0 16,13 39-1,-13-12 1,0-1-16,-13 0 0,13 0 0,0 1 15,0 12-15,0-13 0,-14 0 16,14 1-16,0-1 0,0 0 16,-13 0-16,13 1 0,-13-1 15</inkml:trace>
  <inkml:trace contextRef="#ctx0" brushRef="#br0" timeOffset="43282.11">23958 2818 0,'-13'-13'15,"0"13"1,13-14-16,26 41 15,-52-67 1,39 27-16,0 13 16,0-13-16,0 13 0,1 0 15,-1 0-15,0-14 0,0 14 0,1 0 16,-1 0-16,13 0 16,-12 0-16,-1 0 15,-13 14-15,13-14 0,0 13 16,-13 0-1,13 0-15,-13 1 16,0-1-16,0 0 16</inkml:trace>
  <inkml:trace contextRef="#ctx0" brushRef="#br0" timeOffset="43406.27">24209 2659 0,'-13'0'0</inkml:trace>
  <inkml:trace contextRef="#ctx0" brushRef="#br0" timeOffset="43772.67">24289 2672 0,'0'14'0,"0"12"16,-13-13-16,13 0 16,13 1-1,-13-1-15,13-13 16,-13 13-16,13-13 0,0 0 15,1 0-15,-1 0 16,-13-13-16,13 13 0,-13-13 16,13 13-16,-13-14 0,0 1 15,0 0-15,0 0 0,0 0 16,0-1 0,-26 28 15,26-1-16,13 0-15,0-13 0,1 13 16,-1-13-16,0 0 16,0 0-16,14 0 0,-14 0 0,0 0 15</inkml:trace>
  <inkml:trace contextRef="#ctx0" brushRef="#br0" timeOffset="45556.47">14909 2368 0,'53'0'0,"0"0"16,-13 0-16,-1-13 16,14 13-16,0 0 0,0-13 15,0 13-15,0 0 0,0-14 0,0 14 0,0 0 16,0 0-16,0-13 16,26 13-16,-39 0 0,-14 0 15,-13 0-15,1-13 0,-1 13 16,0 0-16,-53 0 47,-13 13-32,40-13-15,-53 13 16,40-13-16,-1 0 0,1 14 0,13-14 16,-14 0-16,14 13 15,0-13-15,-1 0 0,14 13 0,-13-13 0,0 0 16,39 0 15,27 0-15,-39 0-16,12-13 0,-13 13 15,40 0-15,-40-13 16,14 13-16,-1 0 0,-13-14 0,14 14 16,-14 0-16</inkml:trace>
  <inkml:trace contextRef="#ctx0" brushRef="#br0" timeOffset="46317.84">15055 2461 0,'-27'0'16,"14"0"-16,0 0 0,0 0 15,-1 0-15,1 0 0,0 0 0,-14 13 16,14-13-16,-13 0 0,-14 13 15,-26-13-15,40 13 16,-14-13-16,0 14 0,0-1 0,1-13 16,-1 13-16,-26 13 15,26-12-15,1-14 0,12 13 0,1-13 16,-1 13-16,14-13 0,-13 13 16,12-13-16,-25 14 15,25-14-15,1 0 0,13 13 16,-13-13-16,0 0 15,-1 13-15,1-13 16,0 0 15</inkml:trace>
  <inkml:trace contextRef="#ctx0" brushRef="#br0" timeOffset="46711.85">14168 2514 0,'14'0'0,"-41"13"47,27 0-47,-13-13 0,-13 40 16,26-14-16,-14-13 15,1 1-15,0 25 0,0-25 16,13-1-16,0 0 0,-14 0 16,14 14-16,0-1 15,14-13 1,12 1 0,1-1-16,-1-13 0,-13 0 15,27 0-15,-27 0 16</inkml:trace>
  <inkml:trace contextRef="#ctx0" brushRef="#br0" timeOffset="50825.37">12938 3651 0,'13'0'16,"-52"13"0,39 1-1,-66 12 1,39-13-16,1 1 16,-1-1-16,27 0 0,-13-13 15,0 13-15,13 1 16,-14-14-16,28 13 15,-1 0-15,0 0 16,0-13 0,1 0-16,25 0 0,-25 0 0,-1 0 15,13 0-15,1 0 0,-14 0 16,0 0-16,0 0 16,1-13-16,-1 13 15,-13-13-15</inkml:trace>
  <inkml:trace contextRef="#ctx0" brushRef="#br0" timeOffset="51049">12951 3625 0,'-13'26'31,"0"-13"-15,13 27-16,-13-13 15,-1 12 1,1 14-16,13-26 16,-13 12-1,13-25 1,79-292-16</inkml:trace>
  <inkml:trace contextRef="#ctx0" brushRef="#br0" timeOffset="51326.14">12978 3519 0,'66'66'15,"-26"-13"-15,-40-27 16,13-12-16,-13 39 16,-13 39-16,-27-26 15,27-26-15,-40 13 16,-13 0-16,39-27 16,-26 14-16,40-27 15,-27 14-15</inkml:trace>
  <inkml:trace contextRef="#ctx0" brushRef="#br0" timeOffset="52276.92">13520 3744 0,'0'26'16,"0"-12"0,0-1-16,-13 13 0,13-13 15,-13 14-15,13-14 16,0 0 0,13-26 30,0 0-46,-13 0 0,13-1 16,1 1-16,-1 0 16,0 0-16,0 13 15,1 0 1,-14 13-16,13-13 16,-13 13-16,0 0 15,13 1 1,-13-1-16,13 0 31,0-26-15,-13 0-16,14 13 15,-1-14-15,0 14 16,14-13-16,-14 13 16,0 0-1,0 0-15,-13 13 0,14 1 16,-14-1-1,0 0-15,0 0 16,13 1-16,-13-1 16</inkml:trace>
  <inkml:trace contextRef="#ctx0" brushRef="#br0" timeOffset="52656.98">13917 3942 0,'13'-39'15,"1"25"-15,-1 1 16,-13 0-16,13 0 15,-13-1-15,0 1 16,0 0 0,0 0-1,-26 26 1,12 13 0,1-12-16,13-1 15,-13 0-15,26 0 16,0 14-1,1-27 1,-1 0-16,26 13 16,-12-13-1,-14 0-15,0 0 16</inkml:trace>
  <inkml:trace contextRef="#ctx0" brushRef="#br0" timeOffset="53428.14">14195 3823 0,'0'-13'0,"-13"13"15,-1 13 16,-12 14-15,13-14 0,0 0-16,13 0 15,-14 14-15,14-14 32,14 0-17,-1-13 1,13-26 15,-13-1-31,1 14 31,-14 0-31,0 26 63,13 0-48,-13 1 17,26-14 15,-26-14-47,14 14 15,-1 0-15,0 0 31,0 0-31,1 0 16,-14 14 0,13-14-1,-13 13 1,13-13 0,0 0 15,0 0-31,-13-13 15,14 13 1,-1 13 0,0-13-1,0 0-15,1 0 0,-1 0 16,13 13 0</inkml:trace>
  <inkml:trace contextRef="#ctx0" brushRef="#br0" timeOffset="54080.16">14989 3956 0,'-53'-93'16,"53"53"-1,0 27-15,13-40 16,-13 40-16,13-14 15,0 14-15,1 13 16,-14-13-16,13 26 31,-26 0-31,-1 1 16,-12 12-16,13-13 16,-1 1-16,1-1 0,-26 26 15,25-25-15,-12 12 16,-1-13-16,27 1 15,-13-14-15,53 13 32,-27-26-32,0 13 15,1 0-15,12 0 16,14 0-16,-27-14 0,27 14 16,-27-13-16,27 13 0,-27 0 15,0 0-15</inkml:trace>
  <inkml:trace contextRef="#ctx0" brushRef="#br0" timeOffset="55342.12">15505 3757 0,'0'-13'15,"13"39"1,-13-12 0,0-1-16,0 0 15,0 0-15,0 14 16,-13-14-1,13 0 1,26-26 15,-26 0-31,13-1 16,1 1-16,-1 0 16,0 0-16,13 13 31,-12 0-31,-1 13 15,0 0 1,-13 0 0,0 1-1,13-14 1,1-14 15,-1 14-15,0 0-16,13-13 15,-12 13 1,-1 0-16,0 13 16,0 1-1,1-1 1,-1 0-16,-13 0 16,13 1-16,-13-1 15,13-13 1,-13 13-16</inkml:trace>
  <inkml:trace contextRef="#ctx0" brushRef="#br0" timeOffset="55704.13">15941 3916 0,'27'-13'15,"-14"-1"-15,-13 1 0,13 0 16,0 0 0,-26-1 15,-13 28-16,12 12 1,1 1 0,13-1-1,13 1 1,1-14 0,-1-13-16,27 0 31</inkml:trace>
  <inkml:trace contextRef="#ctx0" brushRef="#br0" timeOffset="56283.88">16364 3664 0,'-13'40'47,"0"0"-31,13-27-16,0 0 0,0 14 15,0-1 1,0-13 0,0 1-16,-26-28 46,12 14-30,1-13-16,0 13 16,-14 13-1,14-13-15,-13 14 16,-1-1-16,27 0 16,-13 0-16,13 1 15,13-1 1,0-13-1,14 0-15,-1 0 16,-12-13-16,-1 13 0,0 0 0,27-14 16,-14 1-16,1 0 15,-14 0 1,0-1-16,0 14 16,1 0-16,-1 0 15,-13 14 1,0-1-1,0 0-15,0 0 16,0 1-16,13-14 16,-13 13-1</inkml:trace>
  <inkml:trace contextRef="#ctx0" brushRef="#br0" timeOffset="56430.2">16523 3704 0,'0'-13'16</inkml:trace>
  <inkml:trace contextRef="#ctx0" brushRef="#br0" timeOffset="56989.68">16761 3744 0,'-13'-13'0,"-13"26"31,12-13-31,1 13 16,-13 0-1,26 1-15,-13-1 16,-1 0-16,1 13 15,40-12 17,12-28-1,-39 1-31,13 0 16,1 0-16,-1 0 15,0-1 16,-26 41 16,13-14-47,0 0 16,13 0 0,-13 1 15,13-14-31,1 0 15,-1 0-15</inkml:trace>
  <inkml:trace contextRef="#ctx0" brushRef="#br0" timeOffset="57790.58">16867 3744 0,'13'26'63,"-13"-12"-63,0 12 31,-13-13 0,13 0-15,0 1 15,13-41 203,1 27-218,-1-13 0,0 13-16,0 0 0,1 0 15,-1 0 1,0 0-1,0 0-15,0 13 16,14-13 15,-14 13-15</inkml:trace>
  <inkml:trace contextRef="#ctx0" brushRef="#br0" timeOffset="58493.91">15941 4114 0,'0'0'15,"40"-13"1,-27 13-16,14 0 16,65-26-16,-52 26 15,105-27 1,1 1-16,-40 12 16,-80 14-16,1 0 15,12-13-15,-25 13 16,-1 0-16,13 0 15,-13 13 1</inkml:trace>
  <inkml:trace contextRef="#ctx0" brushRef="#br0" timeOffset="58764.33">15822 4273 0,'-13'13'16,"39"-13"0,1 0-16,92-26 15,26-1 1,-92 27-16,80-26 16,-81 26-16,41-13 15,13-1-15,-80 14 16,-12-13-16,12 13 0,27 0 15,-40-13 1</inkml:trace>
  <inkml:trace contextRef="#ctx0" brushRef="#br0" timeOffset="60313.07">17158 3519 0,'80'-13'0,"-67"-1"15,0 14-15,0 0 0,1 0 16,25 0-16,-26 0 15,1 0-15,-1 14 16,-13-1 0,13 13-16,-13 1 15,0 13-15,0-27 16,13 13-16,-13 14 0,0 26 16,0-26-16,0-1 0,0 1 0,0 26 15,0-39-15,0 39 16,0-40-16,0 41 15,0-28-15,0 1 16,0-27 0,-13 0-16,13 1 0,-40 12 15,14-26-15,13 13 0,-14-13 16,1 0-16,-1 0 16,-65 13-16,39-26 15</inkml:trace>
  <inkml:trace contextRef="#ctx0" brushRef="#br0" timeOffset="61313.86">13110 3413 0,'-13'-13'15,"13"0"-15,-27 13 16,14 0-16,-13 0 0,13 0 16,-1 0-16,-12 13 15,-27-13-15,26 13 0,-12-13 16,-1 13-16,-13 1 0,-13 12 16,26 0-1,27-12-15,-13 12 0,-1 1 16,1-1-16,26-13 15,-14 27 1,14 26-16,-13-39 0,13-1 16,0 14-16,0-1 0,0 1 15,0 0-15,-13-14 0,13 40 16,0-13-16,-13-26 16,13-1-16,0 14 0,0-27 15,0 14-15,0-1 16,0-13-16,0 1 0,0-1 15,0 0-15,13 0 16,13 0-16,-12 1 16,12-14-1,14 13-15,0-13 16,-27 0-16,13 0 0,1 0 16,-1 0-16,14 0 15</inkml:trace>
  <inkml:trace contextRef="#ctx0" brushRef="#br0" timeOffset="63033.94">12528 3876 0,'-53'-13'16,"27"13"-16,-27-13 0,0 13 16,-79 0-1,79 0-15,-40 0 16,40 0-16,13 0 0,-13 0 15,1 0-15,-15 0 0,28 0 16,12 0-16,1 0 0,-14 0 16,27 13-16,0-13 0,-1 0 15,1 13-15,0-13 0</inkml:trace>
  <inkml:trace contextRef="#ctx0" brushRef="#br0" timeOffset="63883.19">13904 4128 0,'106'0'16,"-53"-14"-16,0 14 16,-27 0-16,0-13 0,1 13 15,39 0-15,-13-13 16,-13 13-16,-14 0 15,-13 0-15,14 0 16,-1 0-16,1 0 16</inkml:trace>
  <inkml:trace contextRef="#ctx0" brushRef="#br0" timeOffset="65732.85">14102 4220 0,'27'0'15,"-14"0"1,13 0-16,14-13 16,-13 13-1,-14 0-15,13 0 16,-12 0-16,-1 0 0,13 0 15</inkml:trace>
  <inkml:trace contextRef="#ctx0" brushRef="#br0" timeOffset="80141.21">4789 8136 0,'-40'0'15,"40"13"1,0 27 0,13-27-1,-13 0-15,14 1 0,12-1 31,-13-26-31,1 13 16,-14-14-16,13 1 0,-13 0 0,0 0 16,13-1-16,-26 1 15,13 0-15,0 0 0,0-1 0,-13 1 16,-1-13-16,-12 13 16,13 13-1,-1-14-15,-25 28 16,39-1-1,-13-13-15,13 13 0,13 13 16,0 1 0,0-27-16,14 13 15,-1-26 1,-13 13-16,1-13 0,-1-14 16,0 14-1,-13 0-15,0 0 31,-13 13-31,0 0 16,-1 13 0,14 0-16,0 0 15,-26-13 63,13 13-78,-1 1 32,1-14-17</inkml:trace>
  <inkml:trace contextRef="#ctx0" brushRef="#br0" timeOffset="81958.57">5027 8189 0,'106'13'0,"-13"-13"16,-54 0-1,67 13-15,53-13 16,-80 0-16,1 14 0,65-1 16,27 0-16,-79 0 15,79 0-15,-67 1 16,94-1-16,-80 0 16,251 14-16,-264-27 15,146 13-15,-120-13 16,172 13-16,-92 0 15,13 1-15,-119-14 16,-14 13-16,1-13 0,79 13 16,0 0-16,-14 0 15,1 1-15,-40-1 16,-53 0 0,-13-13-16,53 0 0,-13 13 15,-1-13-15,-65 0 16,65 14-16,-39-14 15,-13 0-15,-14 0 16,1-14 0,-1 14-1,1 0-15,-14 0 16,0-13-16,1 0 47,-1 13-16,-13-13-15,13-1-1,-13-12 1,0 13-16,13-27 16,-13 14-1,13-27 1,-13 13-16,14-26 15,-14 26 1,0 14-16,0-14 0,13 14 16,-13-1-1,0 1-15,0 12 16,-13 14 31</inkml:trace>
  <inkml:trace contextRef="#ctx0" brushRef="#br0" timeOffset="82278.07">10226 7951 0,'-13'13'16,"-14"0"-16,1 14 16,-14-1-1,14 1-15,-1-1 16,-39 27-1,53-27 1,-13-12 0,12-14-16,14 13 15</inkml:trace>
  <inkml:trace contextRef="#ctx0" brushRef="#br0" timeOffset="82572.08">10147 7977 0,'13'0'16,"0"-13"-1,14 26 1,-14 0-16,-13 1 16,13-1-16,-13 0 15,13 14 1,-13-1-16,14-13 16,-1 0-1</inkml:trace>
  <inkml:trace contextRef="#ctx0" brushRef="#br0" timeOffset="89785.14">10041 8493 0,'26'0'16,"1"0"15,-14 0-31,14 0 0,-14 0 16,13 0-16,1 0 15,-1 0-15,14 0 0,0 0 0,79 0 16,-66 0-16,-1 0 0,15 13 15,-1-13-15,13 0 0,67 0 16,-67 0-16,0 14 0,1-14 0,-1 0 16,93 13-16,-93-13 15,107 13-15,-80-13 0,-14 0 16,107 13-16,-67 0 16,-26-13-16,26 0 0,-13 14 15,93-14-15,-80 13 16,-13-13-16,-13 13 0,0-13 0,-14 13 0,41-13 15,-28 14-15,-12-14 0,13 13 16,0-13-16,-14 13 0,14-13 0,-13 13 16,13-13-16,26 14 0,66-1 15,-105-13-15,13 0 16,-14 13-16,1-13 0,13 0 0,66 13 16,-80-13-16,1 13 0,-14-13 15,14 0-15,-14 0 0,1 14 16,52-14-16,-79 0 15,13 0-15,-13 0 0,0 0 0,0 0 0,-14 0 16,14 0-16,0 0 0,-13 0 16,13 0-16,-13 0 0,-14 0 0,14-14 15,13 14-15,-27 0 16,1 0-16,-14 0 0,13 0 16,-12-13-16,-1 13 0,0 0 0,13 0 15,-12 0-15,-1 0 16,0 0-16,0-13 15,1 13-15,-1 0 16,0-13 15,0 13 1,-13-13-17,14-1 1,-1 1-1,0 0-15,-13 0 16,26-27-16,1 13 0,-14 1 0,14 0 16,-14-14-16,13 13 15,14-39-15,-14 40 0,1-14 16,26-13-16,-40 27 0,13-1 16,1-12-16,-14 25 15,0 1-15,14-13 0,-14 12 16,0-12-16,1 26 15,-14-13-15,13 0 32</inkml:trace>
  <inkml:trace contextRef="#ctx0" brushRef="#br0" timeOffset="90146.01">17238 8030 0,'-40'0'0,"13"13"32,14 1-32,-13-1 0,-14 13 15,0 1-15,14-14 16,-1 13-16,14-12 0,-26-1 15,-1 27 1,40-27-16,-27-13 0,27 13 0,-13-13 16</inkml:trace>
  <inkml:trace contextRef="#ctx0" brushRef="#br0" timeOffset="90384.03">17092 8070 0,'27'-13'0,"-1"13"15,-13 0-15,14 0 0,-14 0 16,0 0-16,0 0 0,14 0 16,-14 13-16,0-13 0,1 0 0,-1 13 15,0-13-15,0 13 0,14 14 16,-27-1-16,13 1 15,-13-14-15,0 13 16,-13 14-16,13-27 0,0 0 16,-14 14-16</inkml:trace>
  <inkml:trace contextRef="#ctx0" brushRef="#br0" timeOffset="97221.37">1574 2950 0,'0'27'31,"0"-14"-31,0 0 0,0 0 16,14 0-16,-14 14 0,0-14 15,0 14-15,0-14 0,0 13 16,0-12-16,0-1 0,0 0 0,0 13 0,0-12 16,0-1-16,0 0 0,0 0 15,0 1-15,0-1 16,-14 0-16</inkml:trace>
  <inkml:trace contextRef="#ctx0" brushRef="#br0" timeOffset="97591.71">1495 3043 0,'40'-53'16,"-40"40"-16,13-1 0,0 14 0,0 0 15,1-13-15,-1 13 0,13 0 0,-13 13 16,14-13-16,-14 14 0,0-14 15,14 13-15,-14 0 0,0 0 0,0 14 16,14-1-16,-27-13 16,0 1-16,0 12 0,0-13 15,-13 14-15,13-14 0,-14 13 0,1-12 16,0-1-16,0 13 0,0-12 0,-1-1 16,-12-13-16,13 13 0,-1 0 15,1-13-15,0 0 0,13 14 16,-13-14-16,0 0 0</inkml:trace>
  <inkml:trace contextRef="#ctx0" brushRef="#br0" timeOffset="98454.13">1958 3096 0,'-13'-14'15,"-1"14"-15,1 0 16,0 14-1,0-14-15,13 13 0,-13 0 16,13 0-16,-14 1 16,14-1-16,-13 13 0,13-13 15,0 1 1,13-14-16,-13 13 0,14-13 16,12 0-1,-13-13-15,0-1 16,14-12-1,-14 13 1,0 13-16,1 0 31,-14 13-31,13 0 16,13 14 0,-12-14-1,-1-13 1,13 0-16,-26-13 15,13 13-15,1 0 0,-1-14 0,0-12 16,0 13-16,1-14 16,-1-12-16,0-1 15,0 13-15,-13 1 0,13 13 0,-13 0 16,0-1-16,0 1 16,14-13-16,-14 12 15,0 41 16,0-14-31,0 0 0,0 27 16,13-14-16,-13 1 16,13 26-1,0-40-15,1 0 0,-1 1 16,0-1-16,27 0 16,-27-13-1,13-13-15</inkml:trace>
  <inkml:trace contextRef="#ctx0" brushRef="#br0" timeOffset="98706.25">2024 3096 0,'27'-14'16,"-14"14"-16,13-13 0,-13 13 15,1-13-15,12 13 0,1-13 16,-1 13-16,-13-14 0,0 14 16,27-13-16,-27 13 15,14 0-15,-14 0 0,0-13 0,1 13 16</inkml:trace>
  <inkml:trace contextRef="#ctx0" brushRef="#br0" timeOffset="99178">2672 2963 0,'-13'-13'16,"0"13"-1,-14 13-15,14-13 16,13 14-16,-13-14 0,13 13 15,-13-13-15,-1 13 0,14 0 16,-13 0-16,13 1 16,0-1-1,0 0-15,13-13 16,1 0 0,-1 0-16,0-13 0,0 13 15,-13-13-15,14 13 16,-14-14-16,13 14 0,0-13 15,0 13 1,1 13 0,-1 1-1,-13-1-15,13-13 16,-13 13-16,13-13 0,0 0 16</inkml:trace>
  <inkml:trace contextRef="#ctx0" brushRef="#br0" timeOffset="99395.72">3029 2910 0,'14'14'15,"-1"12"16,-13-13-31,0 1 0,0-1 16,0 0 0,0 0-16</inkml:trace>
  <inkml:trace contextRef="#ctx0" brushRef="#br0" timeOffset="99554.07">3029 2805 0,'-13'-14'0</inkml:trace>
  <inkml:trace contextRef="#ctx0" brushRef="#br0" timeOffset="99880.96">3268 2831 0,'-14'0'16,"1"13"-1,13 1 1,0-1-16,13 0 16,1 0-16,-1 14 15,0-27 1,-13 13 0,0 0-1,0 0-15,-13 1 16,-14-1-16,1 0 15,13-13-15,13 13 0,-14 0 16,-12-13-16,26 14 16</inkml:trace>
  <inkml:trace contextRef="#ctx0" brushRef="#br0" timeOffset="100342.26">3797 2580 0,'13'53'16,"-13"-40"0,0 0-16,0 14 15,0 12-15,0-26 0,0 27 16,0 0-16,0-27 16,0 0-16,0 14 0,13-14 15,-13 13-15,0-12 16</inkml:trace>
  <inkml:trace contextRef="#ctx0" brushRef="#br0" timeOffset="100623.7">3717 2818 0,'0'-13'0,"27"13"16,-14 0-16,0-14 0,14 14 15,-14-13-15,13 13 16,1-13-16,13 0 15,-27 13-15,27-14 16,-27 1-16,0 0 0</inkml:trace>
  <inkml:trace contextRef="#ctx0" brushRef="#br0" timeOffset="100985.74">4022 2527 0,'-14'0'31,"14"13"-15,-13 0-16,13 0 0,0 1 15,-13 39-15,13-27 16,0 1-16,0-14 16,0 26-16,0-12 15,0-1-15,13-12 16,-13-1-16,13-13 15,14-278 1,-40 265-16,26 304 0,0-304 16,0 13-1,1 0-15,-1 0 16,0 0-16,0 13 16,1 0-1,-1-13-15,0 13 16,0-13-1,0 0-15</inkml:trace>
  <inkml:trace contextRef="#ctx0" brushRef="#br0" timeOffset="101273.51">4339 2699 0,'-13'-40'16,"0"40"-16,13 159 16,-14-291-1,14 145-15,0 0 0,0 13 16,0-12-1,40-67-15,-66 119 0,39-53 0,0 0 16,14-13-16,-1 14 16,-13-14-16,14 0 15</inkml:trace>
  <inkml:trace contextRef="#ctx0" brushRef="#br0" timeOffset="101972.06">4882 2606 0,'13'40'31,"-13"-27"-15,0 0-1,0 1-15,0-1 0,13 0 16,-13 0-16,13-26 47,0 13-47,-13-13 0,14 0 15,12-14 1,-13 27 0,1-13-16,-1 13 15,0 13 1,0-13-16,-13 13 0,14-13 0,-1 14 16,-13-1-1,39 0 1,-25-13-1</inkml:trace>
  <inkml:trace contextRef="#ctx0" brushRef="#br0" timeOffset="102354.16">5318 2725 0,'13'-26'16,"-26"65"-16,26-91 0,-13 38 0,-13 67 16,26-119-16,-26 53 0,13 0 31,-13-1-16,0 14-15,-1 27 32,1-14-32,13 14 15,0-14 1,27 26 15,-14-39-31,13 0 0,-12 0 16,-1 0-16,13 0 15,-12 0-15</inkml:trace>
  <inkml:trace contextRef="#ctx0" brushRef="#br0" timeOffset="102876.31">5543 2633 0,'0'-14'0,"-13"28"62,13-1-46,0 0-16,13-13 0,-13 13 15,13 1 1,0-14 15,1-14-15,-1 14-16,-13-13 16,13 0-16,0 13 31,1 0-16,-1 0-15,0 13 32,14-26-17,-14 0 1,0 13 0,-13-14-16,13 1 15,-13-13-15,0 12 31</inkml:trace>
  <inkml:trace contextRef="#ctx0" brushRef="#br0" timeOffset="103608.33">6191 2315 0,'0'-13'0,"-26"39"0,13 14 16,-1 0-1,1-27-15,13 13 16,-13-12-16,13-1 0,0 0 0,0 0 16,0 1-16,0-1 0,0 0 0,13 0 15,-13 0-15,13 1 16,1-28 15,-1 1-15,0 0-16,0 13 15,-13-13-15,13 0 16,1 13-16,12 13 16,-13 0-1,-13 0 1,14-13-16,-14 27 16,13-14-16,-13 0 15,0 0 1,13-13-1</inkml:trace>
  <inkml:trace contextRef="#ctx0" brushRef="#br0" timeOffset="103911.9">6456 2474 0,'0'13'15,"0"-26"-15,-27 39 31,27-12-31,14 12 16,-14-13-16,13 0 16,13 1-1,1-14 1,-1-14 0,-13 1-16,-13 0 15,0 0-15,0 0 0,-13-1 16,13 1-1,-13 13-15,13-13 0,-13 13 16,13-13-16,-13 13 0,-1 0 16,1 0-16,0 0 15,0 0-15</inkml:trace>
  <inkml:trace contextRef="#ctx0" brushRef="#br0" timeOffset="104121.93">6562 2342 0,'26'13'31,"-26"0"-15,13 0-16,-13 0 0,14 14 16,-14-14-16,13 0 0,-13 14 15,13-1-15,-13 1 16,-93-199-16,186 383 0,-172-435 0,158 475 15,-79-225-15,0 1 16</inkml:trace>
  <inkml:trace contextRef="#ctx0" brushRef="#br0" timeOffset="104595.46">6945 2315 0,'0'27'0,"-13"-14"15,13 13-15,0-13 16,13 14-16,-13-1 15,0-12-15,0-1 16,0 0-16,14 0 16,-41-13 46,14 0-62,0 0 0,-1 0 16,-12 14-16,13-1 15,-1-13-15,1 13 0,0 0 16,0 0-16,0-13 0,13 14 0,-14-1 16,14 0-1,0 0 1,14-13-16,-1 14 16,0-14-16,0-14 0,14 14 15,-14 0-15,0-13 0,14 13 16,-14-13-16</inkml:trace>
  <inkml:trace contextRef="#ctx0" brushRef="#br0" timeOffset="106018.97">7302 2249 0,'0'-13'0,"0"39"32,-13-26-17,13 13-15,0 1 16,0 25-16,0-25 0,0 12 15,-13-13-15,13 14 0,-13-1 0,13-13 16,0 14-16,-13-1 0,13-12 16,0 25-16,-14-26 0,14 14 15</inkml:trace>
  <inkml:trace contextRef="#ctx0" brushRef="#br0" timeOffset="106158.34">7263 2725 0,'0'0'32</inkml:trace>
  <inkml:trace contextRef="#ctx0" brushRef="#br0" timeOffset="106412.84">7527 2249 0,'0'26'31,"-13"-12"-31,13-1 0,0 27 15,0-27-15,-13 0 0,13 40 16,-13-27 0,13 1-16,0-14 0,-14 14 0,14-14 15,-13 26-15,0-12 16,13-14-16</inkml:trace>
  <inkml:trace contextRef="#ctx0" brushRef="#br0" timeOffset="106519.73">7488 2738 0,'13'0'16</inkml:trace>
  <inkml:trace contextRef="#ctx0" brushRef="#br0" timeOffset="111324.83">2712 3387 0,'26'-14'0,"1"1"16,52 0-16,14 0 15,13 0 1,-27-1-16,146-25 15,-40 12-15,53 1 16,40-14 0,-93 14-16,-13-1 15,133 1 1,-160 12 0,-52 14-1,-80 0-15</inkml:trace>
  <inkml:trace contextRef="#ctx0" brushRef="#br0" timeOffset="111784.77">5199 2990 0,'238'-53'0,"-158"40"16,-28 13-16,41-14 15,39 14 1,-65 0-16,-41 0 16,53 0-16,-65 0 15,38 0 1</inkml:trace>
  <inkml:trace contextRef="#ctx0" brushRef="#br0" timeOffset="112273.02">4075 3400 0,'26'-13'0,"-13"-1"0,53 1 16,1 0-1,-15 0-15,94-14 16,-106 27-16,118-26 15,-78 13-15,-1-1 16,-13 1 0,0 0-1</inkml:trace>
  <inkml:trace contextRef="#ctx0" brushRef="#br0" timeOffset="112521">5450 3188 0,'186'-26'15,"-147"26"-15,41-13 16,-54 13-16,14 0 16,0 0-16,-27 0 15</inkml:trace>
  <inkml:trace contextRef="#ctx0" brushRef="#br0" timeOffset="134936.62">6403 3532 0,'-13'0'15,"26"0"-15,13-13 32,199-80 15</inkml:trace>
  <inkml:trace contextRef="#ctx0" brushRef="#br0" timeOffset="135571.6">6548 3149 0,'-13'-14'0,"0"54"15,13-27 1,-13 0-16,13 14 15,0-14-15,0 14 0,0 26 0,-13-27 16,13 0-16,0 1 0,0-1 16,0 1-16,0-14 0,0 27 15,0-14-15,0-13 0,0 14 16,0-14-16,0 0 0,0 1 16,0-1-16,13 0 15</inkml:trace>
  <inkml:trace contextRef="#ctx0" brushRef="#br0" timeOffset="136102.99">6720 3413 0,'0'-13'0,"0"39"47,0-12-47,14 12 16,-14-13 0,13 0-16,0-13 0,0 0 15,1 0 1,-1-13-16,0 13 15,-13-13-15,0 0 0,13 13 16,-13-13-16,0-1 16,13 1-16,-13 0 15,14 39 17,-14 1-17,0-14 1,13-13-1,-13 13-15</inkml:trace>
  <inkml:trace contextRef="#ctx0" brushRef="#br0" timeOffset="136416.76">7025 3413 0,'0'-13'0,"0"0"16,-27 26 15,27 0-16,0 0-15,-13 1 0,0 12 16,13-13 0,0 0-16,0 1 0,13-1 15,0-13-15,0 0 16</inkml:trace>
  <inkml:trace contextRef="#ctx0" brushRef="#br0" timeOffset="136651.6">7289 3215 0,'-13'0'0,"26"0"16,-52 26-1,39-13-15,0 1 0,0-1 16,0 0-16,0 14 0,0-14 15,0 13-15,0-13 0,0 1 16,0-1-16,0 0 0,13 0 0,-13 1 16,0-1-16,0 0 15,13 0-15</inkml:trace>
  <inkml:trace contextRef="#ctx0" brushRef="#br0" timeOffset="136964.94">7607 3149 0,'0'26'31,"0"-13"-31,0 14 0,0-14 16,0 0-16,0 27 0,0 0 15,0-1-15,0-26 16,0 1-16</inkml:trace>
  <inkml:trace contextRef="#ctx0" brushRef="#br0" timeOffset="137144.01">7633 3532 0,'0'0'31,"0"-13"16</inkml:trace>
  <inkml:trace contextRef="#ctx0" brushRef="#br0" timeOffset="137357.2">7805 3175 0,'0'26'16,"0"27"-1,13 14 16,-13-54-31,0 13 0</inkml:trace>
  <inkml:trace contextRef="#ctx0" brushRef="#br0" timeOffset="137496.06">7898 3506 0,'0'-14'31,"0"28"-31</inkml:trace>
  <inkml:trace contextRef="#ctx0" brushRef="#br0" timeOffset="138261.03">6998 3440 0,'0'-14'47,"13"14"-31,1 0 0,-1 14-1,0-14-15,-13 13 16,-13 13-1,0-13 1,-1 1 0,1 12-16</inkml:trace>
  <inkml:trace contextRef="#ctx0" brushRef="#br0" timeOffset="139522.82">7038 3532 0,'0'13'78,"13"1"-62,0-14-16,1 0 16,-1 0-16,0 0 15,0 0-15</inkml:trace>
  <inkml:trace contextRef="#ctx0" brushRef="#br0" timeOffset="143913.78">9194 2222 0,'-13'-13'15,"0"26"-15,13 1 0,-13-1 0,13 0 16,-14 14-16,14-14 0,-13 13 0,0 1 15,13-1-15,-13-13 0,13 14 16,0-14-16,-14 0 0,14 1 16,0-1-16,0 0 0,0 0 0,0 1 15,14-14 1,-1 0-16,0 0 16,0-14-16,1 14 15,-1 0-15,0 0 16,0 0-16,-13 14 15,14-1-15,-14 0 16,13 0-16,-13 0 0,0 1 16,13-1-16,-13 0 0,0 0 15,13 1-15</inkml:trace>
  <inkml:trace contextRef="#ctx0" brushRef="#br0" timeOffset="144236.87">9393 2434 0,'-14'0'32,"14"13"-32,0 1 15,0-1-15,0 0 16,0 0-16,0 1 15,14-14-15,-1 0 16,0 0 0,0 0-16,-13-14 15,14 14-15,-14-13 0,0 0 16,0 0-16,0-1 16,-14 14-1,14-13-15,-13 13 0,0 0 16,0 0-16,-1 0 15,1 0-15</inkml:trace>
  <inkml:trace contextRef="#ctx0" brushRef="#br0" timeOffset="144441.9">9512 2249 0,'13'26'16,"-13"-12"-16,0-1 16,0 0-16,0 0 15,0 27-15,0-27 0,0 0 0,0 1 16,0 12-16,0-13 0,0 1 0,0-1 16,0 0-16,0 0 15</inkml:trace>
  <inkml:trace contextRef="#ctx0" brushRef="#br0" timeOffset="144829.93">9776 2262 0,'-13'27'31,"13"-14"-15,0 0-16,0 27 16,0-27-1,13 0 1,-13 0-16,-13-13 31,0 0 0,0 14-31,-1-14 0,1 13 16,0 0 0,0 14-1,0-27-15,13 13 0,0 0 16,0 0 0,13-13-16,13 0 31</inkml:trace>
  <inkml:trace contextRef="#ctx0" brushRef="#br0" timeOffset="145254.04">10081 2196 0,'-27'13'0,"14"-13"0,13 13 15,0 1-15,13-1 16,0 0-16,1 14 16,-1-14-16,0 0 0,0 0 15,-13 1-15,14-1 0,-1 0 16,-13 0-16,13-13 0,-13 27 16,0-14-16,-13 0 15,0 0-15,-1 1 16,1-14-16,0 13 0,0-13 15,-14 13-15,14-13 16,0 0-16,-1 0 16</inkml:trace>
  <inkml:trace contextRef="#ctx0" brushRef="#br0" timeOffset="145435.64">10213 2328 0,'13'0'0,"-13"27"16,0-14-1,0 0-15,0 0 16,0 1-16,0-1 16,0 0-16</inkml:trace>
  <inkml:trace contextRef="#ctx0" brushRef="#br0" timeOffset="145616.69">10226 2222 0,'0'0'0</inkml:trace>
  <inkml:trace contextRef="#ctx0" brushRef="#br0" timeOffset="146197.93">10319 2262 0,'-27'13'16,"14"-13"-16,13 14 0,-13-14 15,0 13-15,13 0 0,-14 0 16,1 27 0,13-27-16,0 0 15,27 14 1,12-1-1,1-39 1,-27 13-16,0 0 16,1 0-16,-1-13 0,0 13 15,-13-13-15,13 13 0,1-14 0,-1 1 16,-13 0-16,13 0 16,-13 0-1,13 13-15,-13-14 16,0 41 15,14-14-15,-14 0-16,0 0 15,0 1-15,0-1 16,13 0 0</inkml:trace>
  <inkml:trace contextRef="#ctx0" brushRef="#br0" timeOffset="146360.87">10451 2249 0,'0'-13'0</inkml:trace>
  <inkml:trace contextRef="#ctx0" brushRef="#br0" timeOffset="146699.68">10544 2302 0,'0'0'16,"0"13"-16,0 0 16,0 14 15,13-14-15,-13 0-1,13-26 16,0 13-31,1-13 16,-1 13-16,0 0 16,13 0-1,-12 0 1,-1 13-16,0-13 16,0 0-1,1 0-15</inkml:trace>
  <inkml:trace contextRef="#ctx0" brushRef="#br0" timeOffset="146952.94">10848 2315 0,'0'-13'0,"0"0"15,-13 26 17,13 0-17,13 0 1,27-13 0,-27 0-1,0 0-15</inkml:trace>
  <inkml:trace contextRef="#ctx0" brushRef="#br0" timeOffset="149950.07">6562 4088 0,'0'26'63,"0"-12"-48,-14-1-15,14 13 32,0-13-32,0 1 0,0-1 15,14-13-15,-14 13 16,13-13-1,13 0 1,-12 0 0,-1-13-16,0 26 15,0-13 1,1 0-16,-1 13 16,0-13-1,13-13 1,-26 0-16,14 0 15,-1-1-15,-13-12 16,0 13-16,13 0 0,-13-1 16,0 1-16,0 0 15,0 0-15,0-1 0,0 1 16,13 13-16,-13 13 31</inkml:trace>
  <inkml:trace contextRef="#ctx0" brushRef="#br0" timeOffset="150235.51">6906 4128 0,'0'-14'0,"0"1"0,0 40 0,0-67 31,-14 53-15,1 0-1,13 14 1,-13-14-16,26 13 31,0-12-31,14-14 16,-14-14-1,0 14-15</inkml:trace>
  <inkml:trace contextRef="#ctx0" brushRef="#br0" timeOffset="150715.65">7117 4088 0,'0'-13'16,"-13"13"-1,0 0-15,39 13 0,-65-26 0,25 26 16,1 0-16,0-13 15,0 13-15,13 1 16,-14-14-16,14 13 16,0 0-16,14-13 31,12 0-15,-13-13-1,1 26 1,-1-13-1,0 0 1,14 0 0,-14 0-1,-13-13-15,13 13 0,-13-13 0,13 13 16,0-14-16,1 1 0,-1 0 16,-13 0-16,13 13 0,-13-14 15,13-12-15,1 13 16,-14-1-16,13 1 15,-13 40 32,-13 12-31,13-25 0,0-1-16,0 0 0,0 0 15,0 1-15,0-1 16,0 0-16</inkml:trace>
  <inkml:trace contextRef="#ctx0" brushRef="#br0" timeOffset="151011.78">7461 3876 0,'-13'27'31,"0"-14"-31,13 0 0,0 0 16,0 1-16,0-1 0,0 0 0,-13 0 0,13 0 15,0 1-15,0-1 16,0 0-16,-14 0 0,14 1 0,14-1 16</inkml:trace>
  <inkml:trace contextRef="#ctx0" brushRef="#br0" timeOffset="151284.69">7554 3889 0,'0'-13'16,"-13"40"15,13-14-31,-14 0 16,14 0-16,0 1 0,0 12 15,0-13-15,0 0 0,0 1 16,0-1-16,0 0 0,0 0 15,14-13-15,-14 14 16,13-14-16,0 0 16,0 0-1,1 0-15,-1-14 16</inkml:trace>
  <inkml:trace contextRef="#ctx0" brushRef="#br0" timeOffset="151450.4">7395 3995 0,'13'-13'0,"1"13"0,-1-13 0,13 13 16,-13-13-16,1 13 15,12-14-15,-13 14 0,1-13 0</inkml:trace>
  <inkml:trace contextRef="#ctx0" brushRef="#br0" timeOffset="151623.87">7766 3770 0,'0'14'16,"0"-28"-1,-14 54-15,14-27 16,0 0-16,0 14 15,0-14-15,0 0 0,0 27 16,0-27-16,0 1 0</inkml:trace>
  <inkml:trace contextRef="#ctx0" brushRef="#br0" timeOffset="151781.68">7766 4154 0</inkml:trace>
  <inkml:trace contextRef="#ctx0" brushRef="#br0" timeOffset="152012.85">7977 3691 0,'0'-13'16,"0"39"15,0-13-31,0 14 0,0-14 16,0 14-16,0-14 0,0 0 0,0 13 15,0 1-15,0-14 0,0 40 16,0-40-16,0 14 0,0-14 16,13 13-16,-13-12 0</inkml:trace>
  <inkml:trace contextRef="#ctx0" brushRef="#br0" timeOffset="152148.91">8070 4167 0</inkml:trace>
  <inkml:trace contextRef="#ctx0" brushRef="#br0" timeOffset="152410.82">6998 4485 0,'66'-27'16,"14"1"-16,-41 13 0,67-27 15,66-13 1,-106 40-16,-13-14 0,0 14 16,-13 13-16,53-26 0,-54 26 15,-12 0-15,-14 0 0,0 0 0,0 0 16</inkml:trace>
  <inkml:trace contextRef="#ctx0" brushRef="#br0" timeOffset="152618.04">7025 4577 0,'-14'0'0,"120"-26"16,-53-1-16,13 14 16,53-27-16,-52 14 15,12 13-15,-13-14 0,80 1 16,-80-1-16,0 14 0,0-13 15,-13 26-15,-13-14 0,-1 1 16,41 0-16</inkml:trace>
  <inkml:trace contextRef="#ctx0" brushRef="#br0" timeOffset="186471.26">9499 10504 0,'-14'-13'15,"54"26"48,-27-13-47,0 0-16,1 0 15,-1 0-15,0 0 0,14 0 16,-14 0-16,13 0 0,1 0 0,-1 0 15,1 0-15,-1 0 0,14 0 16,-14 0-16,14 0 0,0 0 0,-14 0 16,27 0-16,0 0 0,-13 0 15,13 0-15,-14 0 0,14 0 0,0 0 16,0 0-16,0 13 0,0-13 0,39 0 16,-39 0-16,0 0 15,0 0-15,-13 0 0,13 13 0,0-13 16,0 0-16,0 0 0,-1 0 15,1 0-15,0 0 0,0 0 16,53 0-16,-53 0 0,-13 0 0,13 0 16,-14-13-16,14 13 0,93 0 15,-120 0 1,1 0-16,-1 0 0,1 0 0,-1 0 16,0 0-16,-12 0 0,-1 0 15,13 0-15,-12 0 0,-1 0 16,0 0-16,0 0 0,0 0 15,14 0 1,-14 0 0,0 0-16,1 0 31,-1 0 0,0 0 16,-39 0 47</inkml:trace>
  <inkml:trace contextRef="#ctx0" brushRef="#br0" timeOffset="187419.98">14248 10438 0,'13'0'47,"0"0"-47,40-13 16,27 13-1,-54-14-15,14 14 0,-14 0 0,1 0 16,12 0-16,-12 0 0,-1-13 0,14 13 16,-27 0-16,14 0 0,-1 0 15,14 0-15,-27 0 0,0 0 16,0 0-16,1 0 0,-1 0 0,13 0 31,-12 0-15,-1 0-1</inkml:trace>
  <inkml:trace contextRef="#ctx0" brushRef="#br0" timeOffset="188347.15">16960 10530 0,'26'0'16,"27"0"-1,-26 0-15,-14 0 16,27 0-16,-14 0 0,14 0 15,-1 0-15,1 0 0,66 0 16,-66 0-16,12 0 0,41 0 16,-66 0-16,12 0 15,1 0-15,-14 0 0,1 0 0,13 0 16,-14 0-16,-13 0 0,0 0 0,1 0 16,-1 14-16,0-14 15,0 0-15</inkml:trace>
  <inkml:trace contextRef="#ctx0" brushRef="#br0" timeOffset="189729.02">3056 11470 0,'-13'0'0,"39"-14"31,-13 14-15,14 0-16,-1 0 0,1 0 15,12 0-15,1 0 0,13 14 0,53-14 16,-53 0-16,13 0 16,-13 13-16,0-13 0,13 0 0,0 0 15,0 0-15,-13 0 0,13 0 0,-13 0 16,0 0-16,0 0 0,0 0 15,0 0-15,-13 0 0,12 0 0,-12 0 16,-13 0-16,-1 0 0,1 0 0,-1 0 16,-13-13-16,0 13 15,1 0-15,-1 0 0,0 0 0,0 0 0,1 0 16,-1 0 15</inkml:trace>
  <inkml:trace contextRef="#ctx0" brushRef="#br0" timeOffset="193744.76">16933 11536 0,'27'0'32,"-14"0"-32,27 13 15,-14-13-15,1 0 0,12 13 16,14-13-16,-13 0 0,13 14 16,-13-14-16,12 0 0,15 13 0,38 0 15,-52-13-15,0 0 0,0 13 16,13-13-16,-13 0 0,0 13 15,-13-13-15,13 0 0,0 14 0,53-14 16,-54 0-16,41 13 16,-40-13-16,0 0 0,0 0 15,53 0-15,-53 0 0,-14 13 16,14-13-16,0 0 0,-13 0 16,66 13-16,-54-13 0,1 0 15,-13 14-15,13-14 16,0 0-16,-13 13 0,13-13 0,-14 0 0,14 0 15,0 13-15,-13-13 0,13 0 0,0 0 16,-1 13-16,1-13 0,-13 0 16,13 0-16,40 14 0,-40-14 15,-27 0-15,14 0 0,-14 13 0,14-13 16,-14 0-16,14 0 0,-14 0 16,14 0-16,-13 0 0,12 0 15,-12 0-15,12 0 0,-12 0 0,13 0 0,-14 0 16,14-13-16,-14 13 0,14 0 15,-14 0-15,1 0 0,-1 0 16,1 0-16,-1-14 0,1 14 0,-14 0 16,13 0-16,1 0 0,-14 0 15,40-13-15,-40 13 0,14 0 16,-14 0-16,13-13 0,-13 13 0,14 0 16,-1 0-16,1 0 15,-14 0-15,14-13 0,-1 13 0,0 0 0,14 0 16,-13 0-16,-1 0 0,1 0 0,12 0 15,-12 0-15,-1 0 16,1 0-16,12 0 0,14 0 16,-26 0-16,39 0 0,-40 0 0,1 13 15,-1-13-15,1 0 16,-14 0-16,13 0 0,1 13 16,-1-13-16,-13 0 0,1 0 0,-1 0 15,0 0-15,0 0 16,1 0-1,-1 13-15,0-13 32,0 0-17,-52-13 63,25 13-62</inkml:trace>
  <inkml:trace contextRef="#ctx0" brushRef="#br0" timeOffset="197707.74">3876 12700 0,'-13'0'0,"39"0"62,1 13-46,-14-13-16,0 0 0,1 0 0,-1 0 16,0 0-16,0 0 0,40 0 15,-26 0-15,-1 0 16,1 0-16,12 0 0,1 0 0,0 13 16,12-13-16,1 0 0,0 0 0,53-13 15,-53 13-15,0 0 16,0 0-16,0 0 0,0 0 0,0 0 15,13 0-15,-13 0 0,13 0 16,-13 0-16,79 0 0,-66 13 16,0-13-16,-13 0 0,0 0 0,13 0 15,0-13-15,-13 26 0,14-13 16,-1 0-16,-13 0 0,13 0 0,-13 0 16,13 0-16,13 0 0,-26 0 15,13 0-15,-13 0 0,0 0 0,0 0 16,0 0-16,0 0 0,0 0 0,0 0 15,0 0-15,0 0 0,-14 14 16,1-14-16,0 0 0,12 0 16,-12 0-16,-13 0 0,78 0 15,-78 0-15,13 0 0,26 0 16,-27 0-16,-12 0 0,-1 0 16,1 0-16,12 0 0,-25 0 0,12 0 15,1 0-15,-1 0 0,-13 0 16,27 0-16,-27 0 0,0 0 15,14-14-15,-14 28 0,0-28 0,1 14 16,-1 0-16,0 0 16,0 0-16,1 0 15,-1 0-15,0 0 16,0 0 31,0 0-16</inkml:trace>
  <inkml:trace contextRef="#ctx0" brushRef="#br0" timeOffset="34949.48">13322 3294 0,'0'-13'0,"-13"13"16,39 13 15,0-13-15,-12 0-16,52 13 15,-26-13 1,-14 0-16,0 0 0,67 14 15,-67-14-15,120 13 16,-106-13-16,-1 13 16,14-13-16,80 0 15,-94 0-15,107 13 16,-106-13-16,12 0 16,1 13-16,0-13 0,-13 0 0,105 0 15,-92 14-15,66-14 16,-79 0-1,79 0 1,-79 0-16,0 0 0,-1 0 0,1 0 0,26-14 16,-26 14-1,-14 0-15,14 0 0,0 0 0,-14 0 0,1 0 16,65-13 0,-65 13-16,-1 0 0,27 0 15,-40 0-15,0 0 16,1 0-16,12 0 15,-13-13-15,1 13 16,-1 0-16,0 0 16,-53 0 31</inkml:trace>
  <inkml:trace contextRef="#ctx0" brushRef="#br0" timeOffset="36032.49">14764 3307 0,'-27'0'0,"14"0"16,0 14-1,-14-14-15,1 13 16,13 0-16,-14-13 16,14 13-16,0-13 0,0 13 15,-27-13-15,13 14 16,14-14-16,-13 13 0,-1-13 0,-26 13 15,14-13-15,12 0 0,-12 0 16,-1 13-16,-53-13 16,40 0-16,14 0 0,-14 0 0,13-13 15,0 13-15,-66 0 16,80 0-16,-14-13 16,14 13-16,-1 0 0,-12 0 0,-54-13 15,67 13-15,-40-14 16,26 14-16,0-13 15,14 13-15,-27 0 0,13-13 0,-92 0 16,92 13 0,0-13-16,14 13 0,-14 0 0,-66-14 15,80 1 1,-27 13-16,27 0 0,-14-13 0,13 13 16,-65-13-16,65 13 15,1 0-15,-14-14 0,14 14 0,-1 0 16,-39 0-16,40 0 15,-40-13-15,39 13 16,-13 0-16,14 13 0,0-13 0,-1 0 16,1 0-16,-27 0 15,13 14-15,14-14 0,-1 0 16,-52 13-16,52 0 16,-12 0-16,12-13 0,-13 14 15,1-1-15,-1 0 0,-66 40 16,67-27-16,-14-12 0,13 12 15,-13 0-15,-93 41 16,67-1 0,39-40-16,-13 14 0,14-14 0,-1 14 0,-39 26 15,39-26 1,0 0-16,1-1 0,-1 1 0,0 0 16,-66 79-16,80-80 15,0 1-15,-67 79 16,67-79-16,-67 79 15,80-93-15,-14 14 16,1 0-16,-1-14 0,-52 93 16,52-79-16,1-14 0,0 1 15,-1 13-15,1-14 0,-54 67 16,54-67-16,-1 1 16,14-1-16,-40 14 15,40-27-15,0 0 16,-1-13-1,1 13-15,0-26 32,13 0-17</inkml:trace>
  <inkml:trace contextRef="#ctx0" brushRef="#br0" timeOffset="36356.47">9816 4934 0,'-26'27'16,"26"-14"-16,-14 14 15,1-14-15,13 0 0,-13 14 16,13-14-16,-13 0 0,13 13 0,0-12 16,-14 25-1,14-25-15,14-1 0,-14 0 0,13 0 0,0 1 16,14 12 0,-1-26-16,14 13 15,-14-13-15,-13 0 0,14 0 0,-14 0 16,14 0-16,12-13 15,-26 13-15</inkml:trace>
  <inkml:trace contextRef="#ctx0" brushRef="#br0" timeOffset="37092.16">8850 5569 0,'-53'-13'15,"14"13"1,25 0-16,-12 13 0,13-13 0,-14 0 15,-26 27 1,40-14-16,0-13 0,-14 40 16,27-27-16,0 0 15,14 27 1,-1-27-16,0 14 0,0-14 0,1 0 16,-1 0-16,0 1 0,14 12 15,-14-13-15,13 27 16,-13-27-16,-13 0 15,0 1 1,0-1-16,-13-13 0,0 13 0,0-13 16,-40 27-16,40-27 15,-1 13-15,1-13 0,-40 0 16,40 0-16,-27 13 16,27-26-1,0 13 1</inkml:trace>
  <inkml:trace contextRef="#ctx0" brushRef="#br0" timeOffset="37627.24">8850 5662 0,'0'27'15,"0"-14"-15,0 0 16,0 0-16,0 0 0,0 1 16,0 39-1,0-40-15,0 0 0,0 14 0,14-14 0,-14 13 16,0-13 0,13 1-16,0-1 0,0 0 15,0-13-15,1 0 16,12-13-1,-13 13-15,1-13 0,-1-1 0,0-12 16,0 13-16,1-14 0,-14 1 0,13 13 16,0-14-16,-13-26 15,0 27-15,0 13 16,0-1-16,-13 1 0,13 0 0,-13 13 0,13-13 16,-14 13-16,1-14 15,0 1-15,0 13 16,-1 0-1,1 13-15,13 1 16,0-1-16,0 0 0,13 27 16,-13-27-1,14 13-15,-1 1 16,0-1-16,0-12 16,1 12-16,-14-13 0,13 1 15,0-1-15,-13 0 0,13 0 16,0 0-16,-13 1 0,14-14 15,-14 13 1</inkml:trace>
  <inkml:trace contextRef="#ctx0" brushRef="#br0" timeOffset="37932.56">9260 5662 0,'0'-13'15,"0"0"-15,0 52 32,-13 1-17,13-27-15,0 0 16,-13 54 0,13-54-16,0 27 15,13-14-15,-13-13 0,0 0 0,13 1 16,1-1-16,-14 0 0,39 0 15,-25-13-15,-1 0 0,0 0 16,0 0-16,40-13 16,-26 13-16,-14-13 0,0 13 15,0-13-15,1 13 0,-1-14 0,0 14 16,13-26 0</inkml:trace>
  <inkml:trace contextRef="#ctx0" brushRef="#br0" timeOffset="43224.79">9882 5543 0,'-13'0'0,"26"13"16,0-13-1,1 0-15,-14 13 0,13-13 0,0 0 0,53 0 16,-39 0 0,-1 0-16,1 0 0,12 0 15,-12 0-15,12 0 0,1 0 0,-13 0 0,12 0 16,27 0 0,-39 0-16,-1 0 0,-12 0 0,39 0 15,-40 0 1</inkml:trace>
  <inkml:trace contextRef="#ctx0" brushRef="#br0" timeOffset="43544.78">10411 5358 0,'40'0'16,"0"26"-1,-27-26-15,13 14 0,-12-1 0,25 26 16,-25-25-16,12 39 15,-26-27-15,0-13 16,0 0-16,0 14 0,-13 13 16,0-27-16,-14 27 15,14-40-15,0 13 0,-1-13 16,1 13-16</inkml:trace>
  <inkml:trace contextRef="#ctx0" brushRef="#br0" timeOffset="44508.41">10464 5517 0,'14'0'0,"-1"0"0,13 0 16,-13 0-1,14 13-15,52 13 16,-39-26-16,79 40 15,-66-14-15,13-12 16,0-1-16,0 0 0,0 0 16,14 1-16,171 25 15,-158-26-15,-1-13 0,28 27 0,-28-27 16,226 40 0,-199-27-16,0 0 0,-13-13 0,-14 13 15,120 1-15,-120-14 16,14 13-16,0-13 0,-13 0 0,13 0 15,211 0-15,-224 0 16,12-13-16,-12 13 16,0-14-16,-1 1 0,-12 13 0,12-13 0,-12 0 15,12-1-15,-12 1 0,65-27 16,-65 14-16,-14 13 0,0-14 16,-13 14-16,132-66 15,-132 52-15,0-12 0,79-41 16,-79 41-1,-13 12-15,-1-13 0,14 14 0,66-67 16,-79 54-16,13 12 16,-13-13-16,13 14 0,-14 0 15,1-14-15,13 0 0,0 14 16,-14-14-16,14 0 0,93-66 16,-93 80-16,0-14 0,0 14 15,52-40-15,-65 39 0,13 1 16,0-1-16,0 1 0,0-1 15,0-12-15,-14 12 0,14 1 0,106-54 16,-106 54 0,0 0-16,-13-1 0,13 1 0,-14-1 15,1 14-15,0-13 0,-1-1 16,1 1-16,-14 12 0,14-12 0,-13 13 16,-1-14-16,0 14 0,1 0 0,-14 0 15,0-1-15,1 14 0,12-26 16,-13 26-16,1-13 15,-1-1-15,0 1 0,0 13 16,-13-13-16,13 13 16,1-13-1,-1-1-15,-13 1 16,13 0 0,0 13-16,-13-13 15,14 13-15,-14-13 0,13 13 16,0-14-16,0 1 15,1 13-15,-1-13 16,0 13-16,0-13 0,0-1 16,14 1-16,-14 13 15,0-13-15,1 13 0,12-13 16,-13-1-16,1 14 0,-1-13 16,0 13-16,13-13 15,-12 13 1,-1-13-1,0 13 1</inkml:trace>
  <inkml:trace contextRef="#ctx0" brushRef="#br0" timeOffset="44822.89">17886 3585 0,'79'-13'16,"-39"26"-1,0 14-15,-27-27 0,0 13 16,-13 0-16,13 0 0,-13 0 0,14 14 16,-28 26-1,1-27-15,-27 27 0,14-26 16,-1-1-16,1 1 0,-14-1 0,-52 40 16,52-39-1</inkml:trace>
  <inkml:trace contextRef="#ctx0" brushRef="#br0" timeOffset="50937.46">22476 3056 0,'93'0'0,"-67"0"0,27-13 16,0 13-16,0 0 0,106 13 15,-80-13-15,1 0 0,-1 0 16,0 0-16,1 13 0,158-13 16,-172 0-16,40 13 15,-66-13-15,-14 0 0,0 0 16,1 0-16,-14 0 0,0 0 0,1 0 16</inkml:trace>
  <inkml:trace contextRef="#ctx0" brushRef="#br0" timeOffset="51194.04">22992 3215 0,'186'-14'0,"-134"14"0,1 0 0,53 0 16,0 0-16,-53 0 15,-13 14-15,13-14 0,-14 0 0,14 0 16,-40 0-16,14 0 16,-1 13-1</inkml:trace>
  <inkml:trace contextRef="#ctx0" brushRef="#br0" timeOffset="51708.71">23693 3572 0,'27'-13'16,"-14"26"-16,-13 0 0,0 14 15,0-14 1,0 13-16,0-13 0,0 14 0,-13 52 16,13-65-16,0 12 15,0 0-15,-13 27 16,13-26-16,0-14 0,-14 14 16,14-14-16,-13 0 15,0-13-15</inkml:trace>
  <inkml:trace contextRef="#ctx0" brushRef="#br0" timeOffset="52004.68">23627 3850 0,'-13'0'15,"13"26"1,13 14-1,1-27-15,-14 0 16,26 14 0,-13-14-16,0-13 0,1 0 0,12 0 15,-13 0-15,1 0 16,25-13 0,1 0-16,-27-1 0,0 1 0,14 0 15,-14 0 1,0 13-16,1 0 0,-14 13 31</inkml:trace>
  <inkml:trace contextRef="#ctx0" brushRef="#br0" timeOffset="52500.41">23283 4313 0,'40'13'31,"-27"-13"-31,0 0 0,14 0 0,-1-13 16,1 13-16,13-14 16,-27 14-16,0 0 0,27-26 15,-27 26-15,0-13 16,0 13-1,-13-13-15,-13 52 32,13-26-32,-26 14 15,-1-1-15,14 1 0,0-1 16,0 1-16,-1-14 0,1 13 0,13-12 0,-13 12 16,0-13-16,13 1 0,-14 25 15,1-39 1,13 14-16,0-1 0,13-13 15,-13 13-15,14 0 16</inkml:trace>
  <inkml:trace contextRef="#ctx0" brushRef="#br0" timeOffset="52900.41">23733 4498 0,'-13'-27'16,"0"27"-1,-1 0 1,-12 27-16,13-27 16,0 13-16,13 0 15,-14 1 1,28-1-1,12-13-15,-13 0 16,0-13-16,1 13 0,25-27 16,-25 27-16,12-13 15,-13 0 1,0 13-16,-13 13 31,0 0-31,-13 0 16,13 1-16,-13-1 15,13 0-15,-13 0 16,13 1-16,0-1 0,0 0 16</inkml:trace>
  <inkml:trace contextRef="#ctx0" brushRef="#br0" timeOffset="53316.78">24051 4260 0,'0'-13'16,"-14"39"-16,1-26 0,0 40 15,0-27-15,-1 0 16,14 0-16,-13 1 15,13-1-15,-13 0 16,26 0 0,0-13-1,14 0 1,-14 0 0,14 14-16,-14-14 15,-13 13-15,13 0 16,-13 0-16,-13 0 15,0 14 1,-1-14-16,14 0 0,-13 1 0,0-1 16,0-13-16,-27 26 15,27-26-15,0 14 16,-1-14-16,1 0 16</inkml:trace>
  <inkml:trace contextRef="#ctx0" brushRef="#br0" timeOffset="53577.56">24368 4194 0,'0'0'0,"-13"26"31,0 1-31,13-1 16,-14-13-16,1 14 0,0-14 0,0 13 16,0 1-16,-1-1 0,-12 27 15,13-40-15,13 1 16,-27 25-16,27-25 16,0-1-16</inkml:trace>
  <inkml:trace contextRef="#ctx0" brushRef="#br0" timeOffset="53872.01">24381 4524 0,'40'-39'16,"-80"78"-16,93-78 0,-39 25 0,-14 1 15,13 0-15,-13 0 16,0 0 0,-13 26-1,-27-13 1,27 13-16,-1 0 0,1-13 0,0 13 16,13 1-16,-13-1 15,26 0 1,-13 0-16,13-13 0,14 14 15,-14-14-15,27 13 16</inkml:trace>
  <inkml:trace contextRef="#ctx0" brushRef="#br0" timeOffset="54445.66">24672 4524 0,'27'-26'0,"-14"13"16,-26-1-1,0 28 1,-14-14 0,14 13-1,0-13-15,13 13 16,-14 0-16,14 1 31,14-14-15,-14 13-16,13-13 15,0 0-15,0-13 0,14 13 16,-14-14 0,14 14-16,-27-13 15,13 13-15,0 0 16,0 13 31,0 1-32,1-14 1,-1 0 0,13 0-1,-12 0-15,-1 0 0,0-14 0,0 14 16,1 0 0,-1-13-16,0 13 15,0 0-15,0 0 31,1 13-15,-1-13 0,0 0-16,0 0 15,1 0 1,-14 14-16,13-14 0</inkml:trace>
  <inkml:trace contextRef="#ctx0" brushRef="#br0" timeOffset="54716.58">23839 4710 0,'26'-14'16,"-52"28"-16,66-28 15,-14 1-15,27 13 0,-13-13 16,132 0-16,-106-1 16,-13 14-16,0-13 0,66 13 15,39 0 1,-105 0-16,0 0 16,-39 13-1</inkml:trace>
  <inkml:trace contextRef="#ctx0" brushRef="#br0" timeOffset="54931.58">24090 4815 0,'40'-13'16,"-14"13"-16,-12 0 0,25 0 0,1-13 0,0 13 15,13-13-15,-14 13 0,1-14 0,0 14 16,-14 0-16,27-13 16,-26 13-16,-14 0 0,0-13 15,0 13-15,0 0 0,1 0 16,-1 0 0</inkml:trace>
  <inkml:trace contextRef="#ctx0" brushRef="#br0" timeOffset="60859.37">17767 3347 0,'92'0'0,"-65"0"0,79 0 15,0 0 1,-40-13-16,0 13 16,13 0-16,1 0 0,-1-13 0,0 13 15,14 0-15,-1-14 0,14 14 16,-13-13-16,238 0 16,-239 13-16,14-13 0,-13 13 0,-1 0 15,94 0-15,-107 0 16,146 0-16,-159 0 15,-13 0-15,0 0 0,0 0 0,13 0 16,-40 0-16,1 13 16,-1-13-16,-13 0 0,14 0 15,-14 0-15,27 0 16,-27 0-16,14 0 16,-14 0-1,0 0 1,0 0-1,0 0 1,1 0 31,-1 0-31,0 0-16,0 0 15,1 0-15,-1 0 16,0-13-16,0 13 0,0 0 0,1 0 15,-1 0-15,13-14 0,-12 14 16,39-26 0,-27 13-16,0-14 0,54-26 15,-27 0-15,26-26 16,-52 53 0,12-41-16,-12 41 0,-14-14 0,13 14 15,-12-1-15,12-12 0,-13 12 16,1 1-16,-1-1 0,0 1 0,0-1 15,27-26 1,-40 27-16,13 13 0,0-27 16,1 27-16,-14 0 0,13-1 15,-13 1-15,0 0 0,13-14 16,-13 14-16,0 0 16,0 0-16,0-14 15,-13 14 1,0 0-16,-1 0 15,1 13-15,0-14 0,0 1 16,-1 13-16,1-13 0,-13 13 0,-1-13 16,1-1-16,-1 14 0,-12-13 15,-1 0-15,14 13 0,-14-13 16,0 0-16,-26-1 0,26 14 16,1-13-16,12 13 0,-12-13 0,-14 13 15,-80-13 1,80 13-16,14 0 0,-14 0 15,0-14-15,0 14 0,13 0 0,-13 0 16,-79-13 0,106 13-16,-27 0 0,13 0 0,-53-13 15,40 13-15,14 0 0,-14 0 16,-79-13 0,105 13-16,-13 0 0,14 0 0,-80 0 15,80 0-15,-14 0 16,-53 0-1,54 0-15,12 0 0,-12 0 0,-1 13 16,0-13-16,1 0 0,12 0 16,1 13-16,-14-13 0,13 0 0,1 0 15,-14 13-15,14-13 0,-1 0 0,1 14 16,-27-14-16,27 13 16,12-13-16,-12 0 0,-1 0 0,1 13 15,-1-13-15,1 0 0,0 13 16,-1-13-16,1 0 0,-1 14 0,-12-14 15,-41 13 1,54-13-16,-1 0 0,1 0 0,-14 13 16,14-13-16,-1 0 0,14 0 15,-53 13 1,0-13 0,52 0-16,1 0 0,-13 13 0,13-13 15,-14 0-15,14 0 0,-14 0 0,14 14 16,-66-1-1,39-13-15,-26 13 16,53 0-16,-1-13 16,-12 0-16,13 0 0,-14 14 0,14-14 15,-13 13-15,12-13 16,1 0-16,-13 13 0,12-13 0,1 13 16,-13-13-16,13 0 0,-1 14 0,-12-14 15,-1 13-15,14 0 16,0-13-16,0 0 0,-1 13 0,-38 0 15,38-13-15,1 14 16,0-14-16,-27 13 16,27 0-16,0 0 0,0-13 0,-14 14 15,14-1-15,0-13 0,-1 13 16,-12 0-16,-1 14 16,14-27-16,-13 13 0,13 0 0,-1 0 15,1 1-15,0-14 0,0 13 0,-1 0 16,1 0-16,0 1 0,0-1 15,-14 27-15,14-27 16,0 0-16,13 0 0,-13 14 0,-1-14 16,14 0-16,-13 27 15,0-27-15,0 14 0,13-1 16,-14 14 0,14-27-16,0 13 0,0-12 0,0-1 15,14 40 1,-1-40-16,-13 0 0,13 0 0,14 1 0,-14 12 15,40 1 1,-27-1-16,1-13 0,12 0 0,27 14 16,-39-14-16,13 0 0,-14 1 15,14-1-15,-14 0 0,14-13 16,105 27 0,-105-27-16,-13 0 0,12 0 0,27 13 15,-39-13-15,-1 0 16,1 0-16,-1 0 0,1 0 0,52 0 15,-66 0-15,14 13 16,-1-13-16,-13 0 0,40 0 16,-39 0-16,-1 0 15,27 13-15,-27-13 16,0 0-16,0 0 16,14 0-16,-14 13 15,0-13-15,0 0 16,-13 14-1</inkml:trace>
  <inkml:trace contextRef="#ctx0" brushRef="#br0" timeOffset="61611.91">19394 3612 0,'0'-14'0,"-13"41"0,13-14 15,0 13-15,-27 41 16,27-41-16,-13 1 16,13-1-16,-13-13 0,13 14 0,-13-1 0,13 1 15,0 12 1,-14-25-16,14 12 0,0-13 0,0 0 15,0 1-15,-13-1 0</inkml:trace>
  <inkml:trace contextRef="#ctx0" brushRef="#br0" timeOffset="61916.62">19235 3929 0,'-13'-13'15,"0"26"17,13 0-32,0 1 15,0-1-15,0 13 16,0-13-16,13-13 16,-13 14-16,13-14 0,14 13 15,-1-13 1,-13 0-16,1-13 15,-1 13-15,0-14 0,0 14 16,1-13-16,-1 13 16,0-13-16,0 13 15,-13 13 1</inkml:trace>
  <inkml:trace contextRef="#ctx0" brushRef="#br0" timeOffset="63020.12">19129 4392 0,'0'-13'0,"-13"53"31,-13-1-15,26-26-16,-14 14 16,14-14-16,-26 40 15,26-40-15,0 1 0,0-1 16,0 0-16,0 0 16,13 0-16,14 1 15,-14-1-15,13-13 16,-12 0-16,-1 0 0,0 0 15,40 0 1,-40 0-16,0 0 0,1-13 16</inkml:trace>
  <inkml:trace contextRef="#ctx0" brushRef="#br0" timeOffset="63183.85">19143 4577 0,'13'0'0,"0"-13"0,0 13 0,1 0 16,38 0-1,-38-13-15,39 13 16,-40 0-16,13-13 0,-12 13 16</inkml:trace>
  <inkml:trace contextRef="#ctx0" brushRef="#br0" timeOffset="63477.27">19248 4445 0,'40'13'0,"-106"-39"16,92 39-16,-65-26 0,65 0 31,14 13-15,-27 0-16,14-14 0,26 14 15,-27 0-15,0-13 16,54 13-1,-54-13-15,-13 13 0,14 0 16,-14 0-16,0 0 0,1 13 16,-14 0-16,-14 1 15,14-1-15,-13 0 0,0 13 16,0 1-16,-1-14 16,1 0-16,13 14 0,-13-14 0,0 14 15,0-14-15,-1 0 0,1 0 16,0 0-16,13 1 0,-13-1 0</inkml:trace>
  <inkml:trace contextRef="#ctx0" brushRef="#br0" timeOffset="63660.35">19407 4577 0,'0'-13'0,"13"13"16,1-13-16,12 26 15,-13-13-15,1 0 16,-1 0-16,13 13 16,27-13-1,-40 0-15,14 0 0,-14 0 0</inkml:trace>
  <inkml:trace contextRef="#ctx0" brushRef="#br0" timeOffset="64255.6">19989 4419 0,'0'-14'0,"-13"14"0,26 14 0,-39-28 31,-1 28-31,14-1 16,13 0-16,-13-13 0,13 13 15,-13 27-15,-1-27 16,14 0-16,14 14 16,-1-14-16,0 0 15,14-13 1,-14 0-16,0-13 0,0 13 0,0 0 16,1-13-16,12 13 15,-26-13-15,27-1 16,-14 28 15,0-1-15,0-13-1,27 0 1,-14-13-16,-12 13 16,-1-14-16,13 14 0,-12-13 15,39-27-15,-40 27 16,0-13-16,0 13 0,0-1 0,1 1 15,-14 0 1,13 0-16,-26 26 31,-1 13-15,14-12-16,-13-1 0,13 0 0,0 0 16,0 0-16,13 1 15,1 12-15,-1-13 16,40 1-1,-40-14-15,0 0 0,1 0 0,-1 0 16</inkml:trace>
  <inkml:trace contextRef="#ctx0" brushRef="#br0" timeOffset="64538.75">19315 4776 0,'79'-14'0,"-26"14"15,198-39 1,-105 12-16,-14 14 15,-53 0-15,-12 13 0,-1 0 16,-13 0-16,-14 0 0,1 0 0,-14 0 16,1 0-16,-14 0 15</inkml:trace>
  <inkml:trace contextRef="#ctx0" brushRef="#br0" timeOffset="64728.35">19341 4855 0,'27'0'31,"52"0"-15,-39-13-16,12 13 0,1 0 0,0-13 15,119-14 1,-119 14-16,-13 13 0,13-13 15,0-1-15</inkml:trace>
  <inkml:trace contextRef="#ctx0" brushRef="#br0" timeOffset="65011.5">20651 4432 0,'53'0'31,"-40"0"-31,13 0 0,-12 13 0,52-13 15,-40 0-15,-13 0 16,14 0-16,-14-13 0,0 13 16</inkml:trace>
  <inkml:trace contextRef="#ctx0" brushRef="#br0" timeOffset="65247.66">20809 4299 0,'27'-13'16,"-14"26"0,40 1-1,-40-1-15,1 0 0,-1 0 0,0 1 16,-13-1-16,13 0 0,-13 14 16,0-14-16,0 13 15,-13-13-15,13 1 16,-13 12-1,13-13 1</inkml:trace>
  <inkml:trace contextRef="#ctx0" brushRef="#br0" timeOffset="65668.16">21233 4220 0,'26'0'0,"-13"27"15,1-1 1,-14 14-16,0-27 16,-14 27-1,1-27-15,13 0 0,-13 0 0,13 1 0,-13-14 16,0 13-1,-1 0 1,67-39 0,-40 12-1,27-12-15,-27 26 0,14-13 16,-14-1-16,0-12 0,1 13 16,-1-1-16,0 1 0,0 0 0,-13 0 15,13-27 1,-13 27-16,-13 0 0,0-1 15,0 14 1,0 0-16,-14 0 0,14 0 16,0 0-16,-1 0 15,1 14-15</inkml:trace>
  <inkml:trace contextRef="#ctx0" brushRef="#br0" timeOffset="65992.37">21603 4154 0,'13'0'0,"-39"13"31,0 14-15,12-14-16,1 0 16,13 14-16,-13-27 0,13 39 15,0-26-15,13 27 16,0-40-16,-13 13 15,14-13-15,-1 14 0,0-14 16,27 0 0,-40-14-16,13 14 0,0 0 0,-13-13 0,13 13 15,1-26 1,-14 12-16,0 1 16,-14 0-16,14 0 0,-13 0 15,-13-1 1,12 14-1,1 0-15</inkml:trace>
  <inkml:trace contextRef="#ctx0" brushRef="#br0" timeOffset="66164.79">22013 4154 0,'-26'53'0,"13"-27"16,-1-12-16,-12-1 0,0 13 0,-1 1 0,14-14 15,-14 13-15,14-12 0,0-1 16</inkml:trace>
  <inkml:trace contextRef="#ctx0" brushRef="#br0" timeOffset="66330.55">21815 4247 0,'0'-14'16,"13"14"-1</inkml:trace>
  <inkml:trace contextRef="#ctx0" brushRef="#br0" timeOffset="66469.77">22079 4260 0,'0'0'0,"14"-13"0,-1 13 47</inkml:trace>
  <inkml:trace contextRef="#ctx0" brushRef="#br0" timeOffset="66903.89">21458 4591 0,'-14'39'31,"14"-12"-16,0 12 1,0-25 0,0-1-16</inkml:trace>
  <inkml:trace contextRef="#ctx0" brushRef="#br0" timeOffset="67161.6">21537 4551 0,'66'0'0,"-53"0"0,14 26 15,-27-12-15,13-1 16,-26 13-1,0-13-15,-1 1 0,1-1 0,-40 13 16,40-12 0,0-1-16,0-13 0,-1 13 0,1-13 15,0 13 1</inkml:trace>
  <inkml:trace contextRef="#ctx0" brushRef="#br0" timeOffset="67540.66">21828 4617 0,'-13'-13'15,"0"26"17,13 0-32,0 14 15,0-14-15,0 0 0,0 14 16,0-14-16,-14 13 15,14-13 1,-13-13-16,13 14 0,-13-1 0,0-13 16,0 13-1,-1-13-15,1 13 0,0-13 0,0 14 16,-1-14-16</inkml:trace>
  <inkml:trace contextRef="#ctx0" brushRef="#br0" timeOffset="68080.51">21484 4934 0,'93'-13'16,"-67"0"-1,14 13-15,13-13 0,-13 13 16,12-13-16,-12-1 0,79-12 15,-79 13-15,0-14 0,-1 14 16,-12 0-16,-1-14 0,14 14 0,13-53 16,-40 39-1,0 1-15,-13 13 0,0-67 16,0 41-16,-13 12 16,0-12-16,0-1 0,-27-66 15,27 53-15,-54-92 16,41 92-16,0 13 15,-14 0-15,13 14 0,1-1 0,0 14 16,-41-27-16,41 40 16,-1-13-16,1 13 0,-14 0 0,-79 13 15,80-13-15,-1 14 16,-119 65 0,106-39-16,0-14 0,14 14 0,-14 0 15,13-1-15,-13 1 0,13 0 0,1-1 16,-54 94-1,67-94-15,-1 1 0,27 0 16,-13-1-16,13-12 0,13 52 16,14-52-16,-1 12 0,14 1 15,13-14-15,-14 14 0,28-13 0,52 12 16,-67-25-16,15 12 16,78 0-1,-118-12-15,12-14 0,-12 13 0</inkml:trace>
  <inkml:trace contextRef="#ctx0" brushRef="#br0" timeOffset="68286.49">21921 5080 0</inkml:trace>
  <inkml:trace contextRef="#ctx0" brushRef="#br0" timeOffset="70292.62">21286 5199 0,'0'-13'0,"13"0"16,13 13-1,-12 13-15,12 0 16,-13 0 0,-13 1-16,0 12 15,-13 0 1,0-26-16,0 14 0,-1-1 0,1 0 15,-13 0 1,26 1-16,-14-14 0,14 13 0,-13 0 16,26-13-1,14 0 1,-14 0-16,14 0 0,-14 0 0,13 0 16,-12-13-16,25 13 15,-26-13-15,1 13 0,25-14 16,-25 14-1,-1 0 1,0 0-16,-13 14 16,13-14-16,14 0 15,-14 0 1,0 0-16,0 0 16,1 0-16,-1-14 15,-13 1 1,0-13-1,-13 26 1,-1-14 0,1 1-1</inkml:trace>
  <inkml:trace contextRef="#ctx0" brushRef="#br0" timeOffset="70451.69">21749 5226 0,'26'0'0,"-26"13"16,0 0-1,-13 0-15,13 0 16,-13 1-16,13-1 16,-13-13-16,-1 13 0,14 0 15,-13-13-15</inkml:trace>
  <inkml:trace contextRef="#ctx0" brushRef="#br0" timeOffset="70560.54">21736 5318 0</inkml:trace>
  <inkml:trace contextRef="#ctx0" brushRef="#br0" timeOffset="71119.66">21114 5345 0,'-53'-14'0,"13"1"16,27 13 0,0 0-16,-1 0 0,-12 0 15,13 13-15,0-13 0,-1 0 0,1 0 0,0 0 16,0 14-16,-14-14 15,14 13 1</inkml:trace>
  <inkml:trace contextRef="#ctx0" brushRef="#br0" timeOffset="71378.96">20889 5186 0,'-27'0'16,"14"0"-16,0 13 0,-14 0 16,1 1-16,13-1 0,-14 0 15,1 13-15,13-12 0,-1-1 16,1 0-16,13 0 0,-13 1 0,13-1 16,0 0-16,13 0 0,-13 1 0,13-1 15,1 0-15,-1 0 0,40 14 16,-27-27-16,1 13 15,12-13-15,-25 13 0,12-13 16,-13 0-16</inkml:trace>
  <inkml:trace contextRef="#ctx0" brushRef="#br0" timeOffset="72168.89">18640 5292 0,'13'0'0,"-26"26"15,0-13-15,13 1 16,-14-1-16,14 0 0,0 27 15,14-27-15,-14 0 16,13 0-16,27 1 16,-27-14-16,26-14 15,-25 1 1,-1 13-16,0-13 0,-13 0 0,13 0 16,-13-1-16,0-25 15,0 25-15,-13-12 16,13 13-16,-13 13 0,0-14 15,-1 14-15,1 0 16,-13 0-16,13 14 16,-14-1-1,14 0-15</inkml:trace>
  <inkml:trace contextRef="#ctx0" brushRef="#br0" timeOffset="72540.87">18944 5292 0,'-26'13'15,"12"0"1,14 0 0,-13 14-1,0-14-15,13 0 16,13 1-1,14-14-15,-14 0 16,0 0-16,0 0 16,14 0-1,-14 0 1,-13 13 0,13 0-16,14-13 15,-14 0-15,0 0 0,0 0 16,1 0-16,-1 0 15,27-26-15,-27 26 16,0 0-16,0-14 0,1 14 0,-1-13 16,0 13-16,0-13 15,0 0-15,1-1 16</inkml:trace>
  <inkml:trace contextRef="#ctx0" brushRef="#br0" timeOffset="72740.35">19368 5226 0,'0'0'0,"0"-14"16,-14 41 15,1 12-15,0-25-16,0-1 16,-1 13-16,14-12 0,-13-1 0,0 13 15,0-12-15,-1-1 16,1 26-1,0-39-15,13 14 0,-13-14 0</inkml:trace>
  <inkml:trace contextRef="#ctx0" brushRef="#br0" timeOffset="73002.45">19169 5477 0,'13'-27'16,"-26"54"-16,40-67 0,-14 27 16,0 0-16,0 13 0,0-13 15,1-1-15,-1 14 0,40-26 16,-27 13-1,-12-1 1,-1 14 0,0 0-16,0 14 15,-13-1-15,0 0 16,0 14 0,0-14-16,0 0 0,0 0 15,0 0-15,-13-13 0,13 14 16,0-1-16,-13 0 0,0 0 0,-1 1 15</inkml:trace>
  <inkml:trace contextRef="#ctx0" brushRef="#br0" timeOffset="73185.12">19526 5331 0,'13'-13'0,"-26"40"16,0-1 0,13-13-16,-26 27 15,26-27-15,-14-13 16,14 13-16,-13 1 0,13-1 16</inkml:trace>
  <inkml:trace contextRef="#ctx0" brushRef="#br0" timeOffset="74119.74">19989 5146 0,'-13'27'16,"0"-14"-1,13 0-15,-13 0 0,13 1 0,-14 12 16,1-13-16,13 0 0,0 27 15,0-27 1,-13 1 0,0-14-1,-14 13 1,14-13-16,0 0 0,-27 13 16,27-13-16,-27 13 15,40 1 1,-13-14-16,13 13 0,13-13 15,0 13 1,14-13-16,-14 0 0,27-13 16,-14 13-16,1 0 0,12-13 15,-12 13 1,-14 0-16,13 0 16,-12 0-1,-1 13 1,-13 0-16,13-13 0,-13 13 15</inkml:trace>
  <inkml:trace contextRef="#ctx0" brushRef="#br0" timeOffset="74636.79">19169 5649 0,'-26'13'0,"52"0"0,1 1 16,-1-14-1,14 0-15,-1 13 0,14-13 0,0 0 16,13 0-16,-13 0 0,93 0 16,-80 0-16,0-13 0,40-1 15,-53 1-15,0 0 0,-14 0 16,1-1-16,0 1 15,-1-13-15,1 12 0,0-12 0,52-40 16,-52 39-16,-13 1 16,-14 0-16,13-14 0,-12 13 0,12-92 15,-26 93 1,0-27-16,0 13 0,-26 1 0,-27-54 16,13 66-16,-119-65 15,93 65-15,0 1 16,-14 13-16,-12-1 0,-1 14 0,1-13 15,-14 13-15,-251 40 16,238-14-16,13 1 0,13-1 16,-13 14-16,27 0 0,-80 66 15,106-67-15,0 1 0,0 13 16,14 0-16,12 0 0,1 26 16,13-39-16,26-1 0,0 1 0,14 13 15,105 53 1,-79-66-16,13-27 0,0 13 0,0-13 15,0 1-15,14-14 0,65 13 16,-79-13-16,-13-13 16</inkml:trace>
  <inkml:trace contextRef="#ctx0" brushRef="#br0" timeOffset="80779.64">24051 4762 0,'26'-13'0,"1"13"0,-1 0 0,-13 0 0,14 0 16,-14 0-16,13 0 15,1-13-15,-1 13 0</inkml:trace>
  <inkml:trace contextRef="#ctx0" brushRef="#br0" timeOffset="82668.66">23839 5133 0,'13'-27'0,"0"27"15,-13 14 1,0-1-16,0 27 16,-13 39-1,0-53 1,13 1-16,-13-1 0,-1 41 15,1-41-15,13-13 0,-13 0 16,13 1-16,0-1 0,0 13 16,0-12-16,0-1 15,0 0 1</inkml:trace>
  <inkml:trace contextRef="#ctx0" brushRef="#br0" timeOffset="82975.72">23958 5106 0,'26'-13'0,"-52"26"0,66-26 0,-1 26 15,-12 1 17,-27-1-32,13-13 0,-13 26 0,0 1 15,-13-14 1,13 0-16,-13 1 0,-1-1 16,1 0-16,0 0 0,0-13 0,-1 13 15,1 1-15,-13-14 0,26 13 16,-13-13-16,-1 0 0</inkml:trace>
  <inkml:trace contextRef="#ctx0" brushRef="#br0" timeOffset="83199.41">24156 5212 0,'0'-13'0,"0"40"15,0-14-15,-13 13 16,0-13-16,13 1 16,-13-1-16,0 13 0,-1-12 0,1-1 15,13 13-15,-13-12 0,0-1 0,-1 13 16,14-13 0,-13 1-1,13-1-15</inkml:trace>
  <inkml:trace contextRef="#ctx0" brushRef="#br0" timeOffset="83684.52">24170 5199 0,'0'-13'0,"0"26"0,13-26 15,-13 0-15,13 13 0,0 0 16,1 13-16,-1-13 15,-13 13-15,0 0 16,0 1-16,0-1 16,-27 0-1,27 0-15,-13-13 0,0 27 16,26-1 0,0 1-1,-13-14-15,14 13 31,-28-12-31,14-1 0,-13 0 16,13 0-16,-13-13 0,0 13 16,-1 1-16,1-14 0,0 13 15,0-13-15,0 0 16</inkml:trace>
  <inkml:trace contextRef="#ctx0" brushRef="#br0" timeOffset="84361.08">24421 5186 0,'13'-13'0,"27"13"16,-27 0-1,0 0-15,14 0 0,-14 0 0,0 0 0,1 0 16,12 0-16,-13 0 0,0 0 16,1 0-16,-1 0 15,0 0 1,-13 13-16,-13 0 16,-14 27-1,27-27-15,-13 0 0,0 0 16,0 1-16,0-1 0,13 0 15,-14 0-15,1-13 0,0 14 0,13-1 16,-13-13-16,13 13 0,-14-13 16,14 13-16,14-13 15,12 0 1,-13 0-16,1 0 16,-1 0-16,0 0 0,0 0 15,0 0-15,1 0 0,-1 0 0,0 0 16,0 0-16,1 14 15</inkml:trace>
  <inkml:trace contextRef="#ctx0" brushRef="#br0" timeOffset="84633.43">23984 5675 0,'40'0'32,"-27"0"-17,54 0 1,-41 0-16,0 14 0,41-14 15,-28 0-15,-12 0 0,12 13 16,-12-13-16,13 0 0,-14 0 0,1 0 16</inkml:trace>
  <inkml:trace contextRef="#ctx0" brushRef="#br0" timeOffset="85460.24">23958 5808 0,'53'13'0,"-40"-13"16,14 0-16,-1 0 0,1 0 0,12 0 16,1 0-16,-14 0 0,14 0 0,13 0 15,-13 0-15,-14 0 16</inkml:trace>
  <inkml:trace contextRef="#ctx0" brushRef="#br0" timeOffset="87071.24">23125 4617 0,'13'-13'16,"0"13"-16,14-13 15,-14 13-15,0 0 0,0 0 0,0 0 16,27-14-16,-27 14 0,14-13 16,-14 13-16,0 0 15</inkml:trace>
  <inkml:trace contextRef="#ctx0" brushRef="#br0" timeOffset="87285.85">23310 4445 0,'39'26'16,"-39"-12"-16,14-1 0,-1 0 15,-13 0-15,0 1 0,0-1 0,0 0 16,0 0-16,0 1 0,-13-1 16,13 0-16,-14 0 0,1 14 0,-13-1 15,13-13-15</inkml:trace>
  <inkml:trace contextRef="#ctx0" brushRef="#br0" timeOffset="91436.12">23429 4696 0,'-40'-26'0,"27"26"16,0 0-16,-14 0 0,1 13 0,-1 0 16,-105 40-1,79-26-15,13 12 0,-12 1 0,12 0 16,-53 66 0,80-67-16,0-12 0,0 12 0,-1 1 15,14-13-15,0-1 0,0 1 16,14 12-16,-1-12 0,13-1 0,-13 14 15,27-14-15,0 1 0,105 39 16,-92-40-16,0-12 16,-13-1-16,13 0 0,-14 0 0,1 0 15,0 1-15,0-14 0,-14 13 0,14 0 16,-27-13 0,0 0-16,0 13 0</inkml:trace>
  <inkml:trace contextRef="#ctx0" brushRef="#br0" timeOffset="91769.34">23402 5556 0,'-13'0'0,"0"13"0,-27 1 15,14-1-15,-1 13 0,-39 27 16,-13 40 0,52-67-16,1 14 0,-1 0 15,14-14-15,0 14 0,0 0 0,13-14 16,0 0-16,0 14 0,13-13 0,13 12 16,-12-12-16,12-1 0,1 1 15,12-1-15,-12 1 0,52-1 16,-39-13-16,-1 1 0,1-1 0,0-13 15,0 13-15,-14-13 0,14 0 16,-14 0-16,1 0 0,-1 13 16,-13-13-16,1 0 0</inkml:trace>
  <inkml:trace contextRef="#ctx0" brushRef="#br0" timeOffset="92159.91">23588 6138 0,'79'106'16,"-66"-53"-1,-13-26-15,0-1 0,0 0 16,0 1-16,-13-14 0,13 14 0,-13-14 15,0 13-15,-1-12 0,-12-1 0,13 0 16,-1 0-16,-12 0 0,13 1 16,-1-14-16,1 0 0,0 0 0,0 0 15,0 0-15</inkml:trace>
  <inkml:trace contextRef="#ctx0" brushRef="#br0" timeOffset="92713.35">23680 5278 0,'-26'14'16,"26"-1"0,13 0-16,-13 14 31,13-27-31,-13 13 16,0 0-16,13 0 15,-13 1-15,14-14 16,-1 26-16,0-13 0,-13 0 15,27 14-15,-27-14 16,13 0-16,-13 1 0,13-1 0,-13 13 16,13-13-16,-13 1 0,0-1 0,0 13 15,-13 1-15,0-14 0,13 14 16,-27-1-16,1 0 0,-1 1 0,14-1 16,-26-12-16,12 12 0,1-13 0,-1 14 15,14-1-15,-14-13 16</inkml:trace>
</inkml:ink>
</file>

<file path=ppt/ink/ink20.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5:50:59.691"/>
    </inkml:context>
    <inkml:brush xml:id="br0">
      <inkml:brushProperty name="width" value="0.05292" units="cm"/>
      <inkml:brushProperty name="height" value="0.05292" units="cm"/>
      <inkml:brushProperty name="color" value="#0070C0"/>
    </inkml:brush>
  </inkml:definitions>
  <inkml:trace contextRef="#ctx0" brushRef="#br0">19420 489 0,'-13'14'16,"0"-14"-16,13 13 15,-26 27 1,26-27-16,-14 0 0,14 14 0,-13-14 15,13 26 1,-13-25-16,13 12 0,0-13 0,0 1 0,0-1 16,0 0-16,0 0 0,0 1 15,13-1-15,-13 0 0,13 0 0,-13 0 16,14-13-16,12 14 16,14-14-1,-1-14 1,-25 14-16,-1-13 0,0 0 0,13 0 15,1-53 1,-14 52-16,0-12 0,-13-1 0,0-25 16,-13 25-1,13 1-15,-13-1 0,0 14 0,13-14 0,-14 14 16,1 0-16,0 0 0,-27-14 16,40 14-16,-13 13 15,0 0-15,0 0 0,-1 0 16,1 0-1,13 13-15,0 1 0,-13-1 16,13 0-16,0 0 0,13 0 0,-13 14 16,0-14-16,0 0 0,13 14 15,1 39-15,-1-53 16,0 14-16,-13-14 0,13 13 0,1-12 16,-14 12-16,13-13 0,0 1 15,13 38-15,-26-38 16,14-1-16,-14 0 0,13 0 0,0 1 15,-13-1-15,13-13 0,-13 13 16,0 0-16,14-13 0,-14 13 0,13-13 16,0 14-1</inkml:trace>
  <inkml:trace contextRef="#ctx0" brushRef="#br0" timeOffset="801.12">19711 609 0,'-13'26'0,"13"-13"0,-13 0 16,13 40 0,0-39-16,0-1 0,0 0 0,13 0 0,-13 1 15,13 25 1,1-39-16,-14 13 0,26 1 16,-13-14-16,1 0 15,12 0-15,-13-14 16,1 14-16,-1-13 15,-13-13-15,13-1 0,-13 14 16,13 0-16,-13 0 0,0-14 16,0 14-16,13 0 0,-13-1 0,0 1 15,0 0-15,0 0 16</inkml:trace>
  <inkml:trace contextRef="#ctx0" brushRef="#br0" timeOffset="1240.99">20122 609 0,'-14'0'15,"1"13"-15,0 0 0,0-13 0,13 13 16,-27 0-16,27 1 16,-13-1-16,13 0 0,-13 0 15,13 1 1,13-1-16,0-13 15,0-13 1,1 13 0,-1-27-1,0 27-15,-13-13 0,13 13 16,-13-13-16,14 13 16,-14 13-1,0 0 1,13 14-1,-13-14-15,0 0 16,13 0 0</inkml:trace>
  <inkml:trace contextRef="#ctx0" brushRef="#br0" timeOffset="1603.96">20280 648 0,'-13'13'16,"13"1"0,0-1-1,0 0-15,-13 14 16,13-14-1,13-13 1,0 0 0,1-13-1,-1 13-15,0 0 16,13-14 0,-12 14-16,-14 14 15,13-14-15,0 13 16,-13 0-16,13 0 15,-13 1 1</inkml:trace>
  <inkml:trace contextRef="#ctx0" brushRef="#br0" timeOffset="1851.97">20611 463 0,'13'-26'16,"-13"52"-1,14 14 1,-14-14-16,0-13 0,0 1 16,0 12-16,13 27 15,-13-40-15,0 14 0,0-14 16,0 0-16,0 0 0,13-13 0,-13 14 15,0 12 1,13-13-16</inkml:trace>
  <inkml:trace contextRef="#ctx0" brushRef="#br0" timeOffset="2066.94">20558 661 0,'0'-13'16,"40"13"-1,13-13 1,13 0 0,-53 13-16,53-13 15,-39 13-15,-14 0 16,0 0-16,0 0 0</inkml:trace>
  <inkml:trace contextRef="#ctx0" brushRef="#br0" timeOffset="3060.05">19381 1918 0,'-13'27'15,"-1"-1"1,14-13-16,0 1 15,0-1-15,0 0 0,0 0 0,0 1 16,0-1-16,0 0 0,14 0 0,-1 0 16,-13 1-16,13-1 15,0-13-15,0 0 0,27 0 16,-27 0-16,1 0 0,12-13 16,-13-1-16,0 1 15,1 0-15,-1-13 0,-13-1 0,13 1 0,-13-14 16,0 0-16,0 1 0,0-1 0,-13 13 15,13-12-15,-13 25 16,-1-12-16,14 13 0,-13-14 0,0 14 16,13 0-16,-13 13 0,0-13 0,-1 13 15,1 0 1,0 0-16,13 13 0,0 0 0,-13 0 16,13 1-16,0-1 0,13 40 15,-13-27-15,13 14 0,-13 0 16,13-14-16,1 14 0,-1-14 0,-13 14 15,13-14-15,0 1 0,0-1 16,1 1-16,-1-14 0,-13 13 0,13-12 16,0-1-16,1 0 0,-14 0 15,13 0-15,-13 1 0,0-1 0,13-13 16,-13 13-16,13 0 16</inkml:trace>
  <inkml:trace contextRef="#ctx0" brushRef="#br0" timeOffset="3484.13">19791 1945 0,'-13'13'31,"13"13"-15,-14-12-16,14-1 0,0 0 15,0 0-15,0 14 16,14-14-16,-14 0 16,26 0-1,1-13 1,-1-13-16,-13 13 15,0-13-15,1 0 0,12-14 16,-13 14-16,14-13 16,-14 12-1,0 28 17,-13 12-17,13-26-15,-13 13 0,0 1 0,0-1 16,14 13-1,-14-13-15,13-13 0,0 14 32</inkml:trace>
  <inkml:trace contextRef="#ctx0" brushRef="#br0" timeOffset="4226.32">20280 1945 0,'-26'0'16,"13"0"-1,-1 0-15,1 0 16,0 0-16,0 13 0,-1 0 16,1-13-16,0 13 15,13 1-15,-13-14 0,13 13 16,0 0-16,13 0 15,0-13 1,14 0 0,-14 0-16,13-13 15,-12 13-15,-1 0 16,0-13 0,0 26-1,1 0 1,-1-13-1,0 0-15,0 0 16,14 0 0,-14 0-16,0-13 0,0 13 15,1 0-15,-1-13 0,0 0 0,0 13 16,14-40 0,-14 13-16,-13 14 0,13-26 15,0 12-15,1 1 0,-14 12 0,13-12 16,-13 13-16,0-1 0,13 1 15,-13 0-15,0 0 0,0 0 16,0 26 15,-13 40-15,0-40-16,13 0 0,0 14 16,-14-14-16,14 13 0,0-12 0,0 25 15,0-26-15,0 1 16,14-1-16,-1 0 15,-13 0-15,13-13 0,0 0 16,1 0-16,-1 0 0,0 0 0,0 0 16,1 0-16,-14-13 0,13 13 15,0 0-15,0 0 16,0 0 0,1 13-1,-14 1 1,0 12-1,0-13-15</inkml:trace>
  <inkml:trace contextRef="#ctx0" brushRef="#br0" timeOffset="4423.97">20809 1786 0,'0'-13'0,"0"-1"16</inkml:trace>
  <inkml:trace contextRef="#ctx0" brushRef="#br0" timeOffset="4768.08">20862 1733 0,'0'-13'0,"0"52"16,-13-12-1,13-14-15,0 14 16,-13-14-16,13 13 0,0 1 0,-13-1 15,13-13-15,0 14 0,-14-14 0,14 14 16,0-14-16,0 0 0,0 0 16,-13 1-16,13-1 0,0 0 15,0 13 1</inkml:trace>
  <inkml:trace contextRef="#ctx0" brushRef="#br0" timeOffset="4996.22">20743 2011 0,'0'-13'15,"27"-1"1,-14 14-16,0 0 0,0 0 15,14-13 1,-14 13-16,0 0 0,1 0 0,-1 0 16,0 0-16</inkml:trace>
  <inkml:trace contextRef="#ctx0" brushRef="#br0" timeOffset="5490.33">21008 1892 0,'-27'0'31,"14"13"-15,13 0-16,-13-13 15,13 13-15,-13 1 16,13-1-16,13-13 31,0 0-15,0 0-16,1 0 16,-14 13-1,13-13 1,-13 13-16,13-13 0,-13 14 15,0-1 1,13 0-16,1-13 16</inkml:trace>
  <inkml:trace contextRef="#ctx0" brushRef="#br0" timeOffset="5684.57">21246 1839 0,'0'-27'0,"13"14"16,-26 66 15,13-40-31,0 1 0,-13-1 16,13 40 0,-13-27-16,13-13 0,0 1 0,-14-1 0,14 0 15,0 0-15,0 1 16</inkml:trace>
  <inkml:trace contextRef="#ctx0" brushRef="#br0" timeOffset="5944.31">21180 2077 0,'26'-26'16,"-12"12"-16,12 1 15,-13 13-15,0-13 16,1 13-16,-1 0 16,0 0-1,0 0 1,-13 13 0,14-13-1,-1 0-15</inkml:trace>
  <inkml:trace contextRef="#ctx0" brushRef="#br0" timeOffset="6089.89">21392 2024 0,'13'0'16,"0"0"-1,-13 13 17,0 1-17,0-1-15,0 0 16</inkml:trace>
  <inkml:trace contextRef="#ctx0" brushRef="#br0" timeOffset="6224.97">21458 1931 0,'-14'-13'16,"1"0"-16</inkml:trace>
  <inkml:trace contextRef="#ctx0" brushRef="#br0" timeOffset="6752.97">21577 701 0,'13'-26'0,"0"26"0,0-14 0,14 1 0,-1 0 16,14 0-16,0 0 0,-1-14 16,14 1-16,0-1 0,0 14 0,-13-14 15,13 1-15,-14 13 0,1 0 16,0-14-16,0 14 0,-1 0 0,-12 13 15,-14-14-15,13 14 0,-12-13 16,-1 13-16,-13-13 0,13 13 0,0 0 16</inkml:trace>
  <inkml:trace contextRef="#ctx0" brushRef="#br0" timeOffset="6995.14">21722 675 0,'14'13'0,"25"13"16,-12-12-16,12 12 0,-12-13 15,13 14-15,65 26 16,-65-40-16,-14 13 0,107 27 15,-107-40 1,27-13 0,-40 14-16,1-14 0,-1 13 0</inkml:trace>
  <inkml:trace contextRef="#ctx0" brushRef="#br0" timeOffset="7508.4">22953 93 0,'0'-14'16,"0"41"15,0-14-31,0 14 0,0-14 0,0 13 16,-14 1-1,14-14-15,0 13 0,0-12 0,-13-1 0,13 40 16,0-40-16,0 0 16,0 0-16,0 1 15,0-1-15</inkml:trace>
  <inkml:trace contextRef="#ctx0" brushRef="#br0" timeOffset="7867.94">22926 212 0,'0'-14'0,"0"1"0,13 0 16,14 0-1,-27 0-15,13 13 16,27 13 0,-27-13-16,13 13 0,-12-13 0,-1 13 15,13 0-15,-12 1 0,-1-1 16,0 0-16,-13 0 0,13 1 16,-13-1-16,0 0 0,0 0 15,-13 1-15,0-1 0,0 0 0,13 0 16,-53 0-1,39 1-15,1-1 0,0-13 0,0 13 16,0-13-16,-1 0 16,1 13-16</inkml:trace>
  <inkml:trace contextRef="#ctx0" brushRef="#br0" timeOffset="8221.37">23336 344 0,'0'-13'16,"0"0"-16,0-1 15,0 1-15,-13 13 32,0 0-32,0 13 15,-1 1-15,14-1 16,0 13 0,0-13-16,14-13 15,-1 14-15,0-1 16,0-13-16,0 0 15,1 0-15,-1 13 0,13-13 0,-12 0 16,-1 0-16</inkml:trace>
  <inkml:trace contextRef="#ctx0" brushRef="#br0" timeOffset="8474.57">23574 291 0,'-13'-26'16,"0"26"-16,0 0 31,13 13-31,0 0 0,13 0 16,-13 1-1,0 12-15,13-26 0,-13 13 16,0 0-16,0 1 16,-13-1-16,13 0 15,-27 0 1,14 1-16,0-14 0,0 0 15,-14 13 1</inkml:trace>
  <inkml:trace contextRef="#ctx0" brushRef="#br0" timeOffset="9183.62">23879 212 0,'-27'13'15,"1"13"1,26-12-16,-14-14 0,1 26 16,13-13-16,0 1 15,0-1 1,13-13-16,-13 13 0,14-13 0,-1 13 16,0-13-16,0 13 0,14-13 15,-14 0-15,0 14 16</inkml:trace>
  <inkml:trace contextRef="#ctx0" brushRef="#br0" timeOffset="11501.02">23098 767 0,'-13'40'0,"13"-27"16,-13 27-1,-1-14-15,14-12 0,0-1 0,-13 0 0,13 13 16,0-12-1,0 12-15,0-13 16,0 1 0,0-1-16,13-13 0,-13 13 15,14-13 1,-1 0 0,0 0-1,0-13-15,1 13 16,-1 0-16,-13-13 15,13 13-15,0-14 16,1 14-16,-1-13 31,0 13 47,-39 13 204,12-13-282</inkml:trace>
  <inkml:trace contextRef="#ctx0" brushRef="#br0" timeOffset="11857.19">23323 900 0,'-26'13'15,"12"0"-15,1 0 0,0 0 16,0-13-16,-1 14 0,14-1 15,-13 0-15,13 0 0,-13 1 0,13-1 16,0 0 0,13 0-16,0-13 15,1 0 1,-1 0-16,0-13 0,0 13 0,1-13 16,-1-14-1,-13 14-15,13 0 16,-26-14-1,0 27-15,-1-13 32</inkml:trace>
  <inkml:trace contextRef="#ctx0" brushRef="#br0" timeOffset="12169.49">23416 900 0,'0'13'0,"0"-26"0,13 26 0,-13 0 16,0 0-1,0 0 1,0 1 0,13-1-1,0-13 16,1 0-15,-1 0-16,0 0 0,0 0 31,0 13-15,1-13-16,-1 13 16</inkml:trace>
  <inkml:trace contextRef="#ctx0" brushRef="#br0" timeOffset="12361.12">23720 833 0,'0'0'0,"13"0"0,-13-13 16,0 40 15,0 12-15,-13-25-16,13-1 0,0 0 0,0 13 15,-27 1 1,27-1-16,0-12 0,-13-14 16</inkml:trace>
  <inkml:trace contextRef="#ctx0" brushRef="#br0" timeOffset="12657.98">23627 1032 0,'0'0'0,"0"-13"0,14 13 0,-1 0 16,0-14-16,0 14 0,0 0 15,1 0-15,-1-13 0,0 13 16,0 0-16,1-13 0,12 13 0,-13 0 16,0-13-16,1 13 0,-1 0 0,0 0 15,0 0-15,1-14 16,-1 14-16,0 0 15,0 14 1,-13-1-16,0 0 16,0 0-16,-13 14 15,0-27 1,13 13-16</inkml:trace>
  <inkml:trace contextRef="#ctx0" brushRef="#br0" timeOffset="12804.71">24024 873 0,'0'-26'0</inkml:trace>
  <inkml:trace contextRef="#ctx0" brushRef="#br0" timeOffset="13364.22">22172 1918 0,'27'-13'16,"25"-13"0,-25 12-16,92-25 15,-79 25-15,13 14 0,-14-13 16,1 0-16,-14 0 0,1 13 15,-1-14-15,-12 14 0,12 0 16,0 0 0,-12 0-16</inkml:trace>
  <inkml:trace contextRef="#ctx0" brushRef="#br0" timeOffset="13609.04">22251 1852 0,'0'0'0,"0"13"0,14 1 15,-1-14-15,-13 13 0,13 0 16,0 0-16,1 0 0,-1 14 0,0-14 16,0 0-16,14 1 0,-1 12 15,1-13-15,-14 1 0,13-1 16,-12 0-16,-1 0 0,0 0 0,0-13 15,0 14-15,1-14 0,-1 13 0,0 0 32</inkml:trace>
  <inkml:trace contextRef="#ctx0" brushRef="#br0" timeOffset="13869.34">22172 1958 0,'27'40'0,"-14"-27"16,40 53-1,-40-40-15,0 1 0,14-1 0,-14 14 0,13 13 16,1-13-1,-14-14-15,0-13 0,0 40 16,1-40-16,-1-13 16,-13 14-16,13-14 0</inkml:trace>
  <inkml:trace contextRef="#ctx0" brushRef="#br0" timeOffset="14578.06">23072 1535 0,'0'26'32,"0"-13"-32,0 1 15,-14 12-15,14-13 16,0 14 0,0-14-1,14-13 1,-1 0-1,0-27 1,0 27 0,1-13-16,-1 26 31,0 1-15,0-1-1,14 0 1,-14 0-16,0-13 15,14-13 1,-1 13-16,-13-13 16,1 0-16,-1-1 0,0 1 15,0 0-15,14-40 16,-27 40 0,13 0-16,-13-1 0,-13 54 46</inkml:trace>
  <inkml:trace contextRef="#ctx0" brushRef="#br0" timeOffset="15006.49">23310 1984 0,'-13'-13'0,"-1"40"15,1-27 1,13 13-16,-13-13 0,0 40 15,-1-27 1,14 0-16,14 0 16,-14 0-16,13-13 0,0 14 15,14-14 1,-14 0-16,0-14 0,27 1 16,-27 13-16,0-13 15,0 0-15,-13 0 0,14-1 0,-14-12 16,0 13-1,0-1-15,-14-12 0,14 13 16,-13-1-16,0 1 0,0 13 0,-1 0 16,1 0-16,-13 0 0,-1 13 15</inkml:trace>
  <inkml:trace contextRef="#ctx0" brushRef="#br0" timeOffset="15417.51">23191 2315 0,'-13'27'31,"-14"12"-16,14-26 1,0 1-16,13-1 0,-14 13 16,1-12-16,13-1 0,-13 0 0,0 0 15,13 1-15,-14-1 16,14 0-16</inkml:trace>
  <inkml:trace contextRef="#ctx0" brushRef="#br0" timeOffset="15834.33">23230 2328 0,'40'0'16,"-27"0"-16,1 14 16,-14-1-1,0 0 1,0 0-1,0 0-15,0 1 16,13-1 0,0-13-16,-13 13 0,0 0 0,0 1 15,0 12 1,-13-13-16,0 1 16,-27 12-16,13-26 15,14 13-15,0-13 0,0 13 0,-14-13 16,14 0-16,0 0 0,-14-13 15</inkml:trace>
  <inkml:trace contextRef="#ctx0" brushRef="#br0" timeOffset="17203.93">23204 2342 0,'13'0'0,"14"0"16,-14 13-1,0-13 1,-13 13-16,0 0 16,0 0-1,-13 1 1,0-1-1,-1-13-15</inkml:trace>
  <inkml:trace contextRef="#ctx0" brushRef="#br0" timeOffset="19271.93">1535 4313 0,'-14'-14'0,"41"14"31,-14 0-31,53 14 32,-26-14-32,0 0 0,12-14 0,120 14 15,-119 0-15,0 0 16,0-13-16,0 13 0,0 0 0,0 0 15,0 0-15,53-13 16,-67 13-16,-12 0 0,-14 0 16,14 0-16,-14 0 0,0 0 0,0 0 15,0 13 1</inkml:trace>
  <inkml:trace contextRef="#ctx0" brushRef="#br0" timeOffset="19525.09">1865 4405 0,'80'0'16,"-67"0"-16,27 0 15,-14 0-15,14-13 0,92 13 16,40-13-1,-79 0 1,-14 13 0,-53 0-16,14 13 15,-27-13-15,1 0 0,-1 0 16</inkml:trace>
  <inkml:trace contextRef="#ctx0" brushRef="#br0" timeOffset="20271.25">1759 5464 0,'133'0'0,"-80"0"15,0 0-15,0 0 0,-1-14 16,1 14-16,13 0 0,-13 0 0,0 0 15,106 0 1,-106 0-16,0 0 0,-13 0 0,65 0 16,-91 0-16,12 0 15,-13 0-15,1 14 0,-1-14 0</inkml:trace>
  <inkml:trace contextRef="#ctx0" brushRef="#br0" timeOffset="20509.03">1905 5596 0,'0'0'0,"26"0"16,41 0-16,-41 0 16,27 0-16,-13 0 0,13 0 15,-1 0-15,15 0 0,-14-13 0,-1 13 16,1 0-16,0 0 0,0 0 15,27 0-15,-41-14 0,54 14 16,-67 0 0,-12 14-16,-1-14 0,0 0 0,0 0 15,1 0-15</inkml:trace>
  <inkml:trace contextRef="#ctx0" brushRef="#br0" timeOffset="32544.7">17727 4299 0,'27'14'0,"-14"-14"32,0 0-17,0 0 16,27 0-15,-27 0-16,40-14 16,-40 14-16,1 0 15,-1 0-15,13 0 0,-13 0 0,14 0 0,-1 0 16,1 0-16,65 0 16,-52 0-16,-13 0 15,12 0-15,1 0 0,-14 0 0,14 0 0,0 0 16,-14 0-16,80 0 15,-66 14-15,-14-14 16,1 0-16,12 0 0,-12 0 0,-1 0 16,1 0-16,-1 0 0,54 0 15,-54 0 1,0 0-16,1 0 0,-14 0 0,14 0 0,-1 0 16,1 0-16,-1 0 0,53 0 15,-39 0 1,-13 0-16,-14 0 0,0 0 15,13 0-15,-12 0 0,-1 0 0,0 0 16,0 0-16,14 0 16,-14 0-1,0 0-15,1 0 16,-1 0-16,0-14 31,0 28 0,0-14 16</inkml:trace>
  <inkml:trace contextRef="#ctx0" brushRef="#br0" timeOffset="34188.03">20677 4299 0,'13'0'0,"1"0"0,-1 0 16,13 0-1,-12 0-15,25 0 16,-26 0-16,1 0 16,-1 0-16,0 0 0,27 0 15,-27 0-15,14 0 0,-14 0 16,13 0-16,1 0 0,-1 0 15,1 0-15,-1 0 0,-13 0 0,27 0 16,-27 0-16,14 0 0,-1 0 16,1 0-16,12 0 0,-12 0 0,-1 0 15,1 0-15,-1 0 0,1 0 0,-1 0 16,0 0-16,1 0 0,-14 0 16,14 0-16,-1 0 0,-13 0 0,14 0 15,-1 0-15,1 0 0,-14 0 0,13 0 16,1 0-16,-14 0 0,14 0 15,-14 0-15,0 0 0,13 0 0,-12 14 16,-1-14-16,0 0 0,0 0 16,1 0-16,-1 0 0,13-14 15,-12 14-15,-1 0 0,0 0 16,0 0-16,0 0 0,1 0 16,-1 0-16,13 0 15,-12 0-15,12 0 0,-13 0 0,0 0 16,1 0-16,-1 0 0,0 0 0,0 14 15,1-14-15,-1 0 16,13 0-16,-12 0 16,-1 0-16,0-14 15,0 14-15,0 0 16,1 0-16,-1 0 16,0 0-16,0 0 0,1 0 0,-1 0 15,0 0-15,0 0 0,14 0 16,-14 0-16,0 0 0,14 0 0,-14 0 15,0 0-15,14 0 0,-14 0 0,0 0 16,13 0-16,-12 0 0,12 0 16,-13 14-16,1-14 0,12 0 0,-13 0 15,1 0-15,12 0 0,-13 0 0,14 0 16,-14 0-16,0 0 16,14 0-16,-14 13 0,0-13 0,14 0 15,-14 0-15,13 0 0,-13 0 0,14 0 16,-1 0-16,-12 0 0,12 0 0,1 0 15,-1 13-15,-13-13 0,14 0 16,-1 0-16,-13 0 0,14 0 0,-14 0 16,14 0-16,-14 0 0,13 0 15,-13 0-15,1 0 0,-1 13 0,0-13 16,14 0-16,-14 0 0,0 0 16,0 0-16,0 0 0,1 0 0,-1 0 15,0 0-15,0 0 0,14 0 0,-14 0 16,0 0-16,1 0 0,-1 0 15,13 0-15,-13 0 0,1 0 0,-1 0 16,0 0-16,14 14 0,-14-14 0,0 0 16,0 0-16,1 0 15,-1 0-15,0 0 0,0 0 16,0 0-16,1 0 16,-1 0-16,0 0 15,0 0 1,1 0-1,-1 0 1</inkml:trace>
  <inkml:trace contextRef="#ctx0" brushRef="#br0" timeOffset="42604.17">19434 4273 0,'13'0'78,"40"0"-62,-40 0-16,27 0 0,-14 0 15,1 0-15,12 0 0,1-13 16,-14 26-16,14-13 0,-13 0 0</inkml:trace>
  <inkml:trace contextRef="#ctx0" brushRef="#br0" timeOffset="43868.76">19606 4207 0,'53'26'0,"-40"-26"16,0 0-16,13 0 0,-12 14 15,12-14-15,-13 0 0,40 0 16,-26 13-16,-1-13 0,1 0 0,-1 0 16,1 0-16,-1 13 0,14-13 15,-14 0-15,1 0 0,12 13 16,-12-13-16,-1 0 0,14 0 0,-14 0 15,1 13-15,13-13 0,-14 0 0,0 0 16,1 0-16,-1 14 0,1-14 16,-1 0-16,1 0 0,-14 0 0,13 13 15,-12-13-15,12 0 0,-13 0 16,1 0-16,-1 0 0,0 13 0,0-13 16,1 0-16,-1 0 0,0 0 0,0 0 15,0 0-15,1 0 16,-1 0-16,0 0 0,14 13 15,-14-13 1,0 0 0,0 0-1,0 0-15,1 0 16,-1 0 0,0 0 30,0 0 1,-13-13 0</inkml:trace>
  <inkml:trace contextRef="#ctx0" brushRef="#br0" timeOffset="46373.18">15769 7183 0,'13'0'0,"-13"14"16,0-1-16,14-13 0,-14 13 0,0 0 15,0 1-15,0-1 0,0 0 16,0 13-16,-14-12 0,14-1 0,0 13 16,0-12-16,-13-1 0,13 0 0,0 0 15,0 1-15,-13-1 0,13 0 16,0 0-16,0 0 0,-13-13 15,13 14-15,0-1 16</inkml:trace>
  <inkml:trace contextRef="#ctx0" brushRef="#br0" timeOffset="46975.61">15835 7157 0,'-26'0'16,"13"0"-1,-1 13-15,1-13 0,0 13 16,0 1-16,-1-14 0,1 13 0,0 0 16,0 0-16,0-13 0,-1 14 0,1-1 15,0 0-15,-14-13 0,27 13 16,-13 0-16,0 1 0,0-14 0,13 13 16,-13-13-16,-1 0 0,14 13 0,-13-13 15,13 13-15,-13-13 16</inkml:trace>
  <inkml:trace contextRef="#ctx0" brushRef="#br0" timeOffset="47272.15">15769 7157 0,'13'-13'16,"1"26"0,12 0-1,-13-13-15,1 13 16,-1-13-16,0 14 0,0-1 0,14 0 15,-1 14 1,-13-14-16,1-13 0,-1 13 0,0-13 16,-13 13-16,13-13 0,1 13 15,-1-13-15,-13 14 16,13-14-16</inkml:trace>
  <inkml:trace contextRef="#ctx0" brushRef="#br0" timeOffset="48208.35">16444 7157 0,'13'13'31,"-13"27"-15,0-27-1,0 0-15,-13 1 0,13-1 16,0 13-16,0-13 0,0 1 16,-13-1-16,13 13 0,0-12 0,0-1 15,-14 0-15,14 0 0,0 1 16,-13 12-16,13-13 16,0 0-1,0 1 1,-13-1-1</inkml:trace>
  <inkml:trace contextRef="#ctx0" brushRef="#br0" timeOffset="48835.93">16351 7369 0,'0'26'31,"0"-13"-31,0 1 16,0-1-16,13 13 16,-13-13-16,0 1 15,14-1-15,-14 0 16,0 0-16,13 1 16,-13-1-1,13-26 1,27-1-1,-27 1 1,0 13-16,1-13 0,-1 13 0,0-13 16,0-1-16,0 1 15,1 13-15,-1-13 0,0 13 16,0-13-16,1 13 0,-1-13 16,0-1-1,0 14 1,1 0-16</inkml:trace>
  <inkml:trace contextRef="#ctx0" brushRef="#br0" timeOffset="49776.8">15690 6760 0,'-27'0'0,"14"0"16,0 0-16,-14 13 16,14-13-16,0 14 0,0-14 15,0 13-15,-1-13 16,14 13-16,0 0 15,0 0 1,14-13-16,-14 14 16,13-14-16,0 13 0,0-13 15,14 13-15,-14 0 0,0-13 16,-13 14-16,13-14 16,-13 13-16,0 0 15,0 0-15,-13-13 16,13 14-16,-13-14 0,0 13 15,-1 0-15,1-13 0,0 0 16,0 13-16,0-13 0,-1 0 16,1 0-16,0 13 15,0-13-15,-1-13 0,1 26 16</inkml:trace>
  <inkml:trace contextRef="#ctx0" brushRef="#br0" timeOffset="50510.32">15901 6773 0,'0'14'16,"0"25"-1,-13-26-15,13 1 0,0-1 0,-13 0 16,13 0-16,0 1 15,-13-1-15,13 0 0,-13 0 16,13 1-16,0-1 0,0 0 31</inkml:trace>
  <inkml:trace contextRef="#ctx0" brushRef="#br0" timeOffset="51209.39">16748 6760 0,'-13'-13'0,"0"13"16,-14 13-1,14-13-15,-13 13 16,12-13 0,1 0-16,13 14 15,-13-14-15,0 13 0,13 0 16,0 0 15,0 0-31,13-13 0,-13 14 0,13-14 16,-13 13-16,13-13 0,-13 13 15,14-13-15,-14 13 0,13 1 16,-13-1 0,-13 0-1,-14 0 1,14-13-16,0 14 16,-1-14-16,1 0 0,0 0 15,0 13 1,-1-13-16</inkml:trace>
  <inkml:trace contextRef="#ctx0" brushRef="#br0" timeOffset="52227.88">16920 6787 0,'53'-14'0,"13"14"16,-53 0-16,14-13 16,-14 13-16,14 0 0,-1 0 0,-13 0 15,0 0-15,14-13 0,-14 13 0,0 0 16,1 0-16,-1 0 15,0 0-15</inkml:trace>
  <inkml:trace contextRef="#ctx0" brushRef="#br0" timeOffset="52484.38">17158 6747 0,'-13'13'0,"0"0"16,13 1 0,-13-1-16,13 0 15,-14 0-15,14 0 0,0 1 0,-26 39 16,13-27 0,-1-13-1,14 1-15,-13-1 0,13 0 16,-13 0-1,0 0 1</inkml:trace>
  <inkml:trace contextRef="#ctx0" brushRef="#br0" timeOffset="54761.04">15703 8083 0,'0'13'140,"-13"14"-124,0-14-16,-1 0 16,14 0-16,-13 1 15,13-1-15,-13 0 0,13 0 0,-27 14 16,27-14-16,-13 0 15,0 0 1,13 1-16,-13-14 0,13 13 16</inkml:trace>
  <inkml:trace contextRef="#ctx0" brushRef="#br0" timeOffset="55393.54">15716 8070 0,'-13'0'16,"0"0"-1,0 13-15,-1 0 16,-12 0 0,-1 1-1,14-1-15,0 0 16,0-13-16,0 13 0,-1 1 15,1-1 1,0-13 0</inkml:trace>
  <inkml:trace contextRef="#ctx0" brushRef="#br0" timeOffset="55793.34">15677 8083 0,'13'0'15,"0"0"-15,0 0 16,0 13-1,-13 0-15,14-13 0,-1 14 16,0-1-16,0 0 16,1-13-16,-14 13 15,13 1-15,0-1 16,0 0 0</inkml:trace>
  <inkml:trace contextRef="#ctx0" brushRef="#br0" timeOffset="56904.13">16404 8017 0,'0'-13'0,"-13"39"31,13-13-15,0 1-16,-13 12 15,-1-13-15,1 14 0,13-14 16,-13 0-16,13 0 0,-13 1 15,13-1-15,0 0 0,-13 0 0,13 1 16,-14-1-16,14 0 0,-13 0 16,13 0-1</inkml:trace>
  <inkml:trace contextRef="#ctx0" brushRef="#br0" timeOffset="57433.57">16391 8017 0,'-40'13'31,"27"0"-16,0-13-15,0 27 16,-14-14 0,14 0-16,0 0 15,-1-13-15,1 14 0,0-14 16,13 13-16,-13-13 0,13 13 16,-14-13-16</inkml:trace>
  <inkml:trace contextRef="#ctx0" brushRef="#br0" timeOffset="57977.37">16404 8004 0,'27'26'32,"-14"-13"-32,0 1 0,0-1 15,-13 0-15,14-13 0,-1 26 16,0-26-16,0 14 16,0 12-1,1-13 16,-1 1-31</inkml:trace>
  <inkml:trace contextRef="#ctx0" brushRef="#br0" timeOffset="60501.57">15769 7977 0,'0'-13'15,"0"39"16,-13-12-15,13-1-16,-13 13 0,-14 14 16,14 0-16,0-14 15,-14 27-15,14-26 0,-13 12 16,-1 14 0,27-40-16,-13 1 0,13 12 15,-13-26-15,13 13 0,0 1 16,-13-14-1,26-27 17,0 14-32,13-27 15,1-13-15,-1-13 16,-12 40-16,-1-1 0,13-26 16,1 14-16,-14-1 15,-13 27-15,13-1 16,-13-12-16,-13 52 31,13 1-15,-13-14-16,-1 14 0,-12 12 15,13-12-15,-27 39 16,27-40-16,-14 27 16,14-40-16,0 14 0,0-1 0,0-12 15,13-1-15,-14 0 16,41-39-1,-27 12 1,13 1-16,0 0 16,0-27-16,14 14 0,13-40 15,-14 13-15,-13 26 0,0 14 16,1 0-16,-1-14 16,-13 14-16,0 0 15,-13 53 1,13-27-1,-14 13-15,1 1 0,-13-1 0,13 1 0,-14 39 16,14-40-16,-14 14 16,14-14-16,0-12 0,13-1 15,-13 13-15,0-26 0,13 14 16,0-1 0,0-40-1,13 27-15,-13-13 16,13-13-16,0 12 0,0-12 15,-13 13-15,14-14 0,-1 1 16,0-14-16,14 14 0,-14-14 0,13 0 16,-26 14-1,13 13-15,1-14 0,-14 14 16,-14 53 15,1-1-31,-13 1 16,13-14-16,-1 1 0,-12 26 15,26-40-15,-27 27 16,27-27-16,-13 0 16,40-39 15,-14 12-31,13-38 16,1-1-16,12-14 15,-25 28-15,12-14 16,1 26-16,-14 1 15,-13 13-15,-13 39 32,13-13-32,-27 40 15,-13 13-15,14-39 16,0 39-16,-14-13 16,27-13-16,-1-27 15,14 0-15,14-39 31,-1 12-31,13-38 16,-12 25-16,25-39 16,-12 0-16,-1 26 15,-26 27-15,13-14 16,-26 54 15,0-14-31,-27 53 0,27-39 16,0-1-16,-27 40 15,14-13-15,12-26 16,1-1 0,13-13-16,-13 1 15,26-41 1,14 1 0,-27 12-16,13-12 0,0-14 15,14 14 1,-14-1-16,-13 14 0,13 0 15,-13 0-15,-13 39 32,0-13-32,-1 1 15</inkml:trace>
  <inkml:trace contextRef="#ctx0" brushRef="#br0" timeOffset="61060.03">15438 8321 0,'27'27'16,"-27"-14"-16,13 0 15,-13 0-15,13 1 16,-13 12-16,14-26 0,-14 26 16,13-12-1,-13-1-15,0 0 0,13-13 16,-13 13 0,0 1-1,13-14 1,1-14-1,12 1-15,-13 0 16,0 13-16,14-13 0,-1-14 16,1 27-16,-1-26 15,1 26-15,-1-13 16,1-1-16,-14 1 16,0 13-16,0-13 15</inkml:trace>
  <inkml:trace contextRef="#ctx0" brushRef="#br0" timeOffset="63602.56">17436 7025 0,'66'-14'15,"-53"14"-15,1 0 0,12 14 16,-26-1-16,13 27 15,-13-14-15,0 1 0,-26 52 16,13-39-16,-14-1 16,1 41-16,12-54 0,1 14 15,0-1-15,0 1 16,13-27-16,-13 1 0,13-1 16,13 0-16,-13 0 0,13-13 15,0 0-15,0 0 16,1 0-16,12 0 0,1-13 15,12 0-15,-25 0 16,-1-1-16,0 1 16,0 0-16,0 0 15,1 13-15,-14 13 16,0 0 0,0 0-16,-14 40 0,14-26 15,-13 12-15,0 41 0,0-40 16,0-1-16,-1 1 15,14 0-15,-13 26 0,0 0 16,13-40-16,-13 1 16,13-1-16,-14 14 0,14 0 15,-13-27-15,13 0 0,-13 14 16,-14-1-16,14 0 16,0-26-1,0 14-15,-40-14 0,26 0 16,1 0-16,0 0 15,12-14-15,1 14 16,-13 0-16</inkml:trace>
  <inkml:trace contextRef="#ctx0" brushRef="#br0" timeOffset="65209.12">20016 7117 0,'-27'-13'0,"14"13"15,-13 0-15,-1 13 16,14-13-1,0 0-15,-1 0 16,14 14-16,-13-14 16,13 13-16,0 0 15,0 0-15,13 0 16,-13 1-16,14-14 0,-1 26 16,0-26-16,0 27 15,1-14-15,-1 0 16,0 13-16,0-12 15,-13-1-15,0 0 16,0 0-16,0 1 16,-13-14-16,13 13 0,-13-13 15,0 13-15,-1 0 0,1-13 16,0 0-16,0 14 0,-14-14 16,14 0-16,-13 0 15,12 13-15,1-13 16,0 0-16,0-13 0</inkml:trace>
  <inkml:trace contextRef="#ctx0" brushRef="#br0" timeOffset="65497.78">20201 7091 0,'13'0'15,"-13"13"1,0 0-16,0 14 16,0-14-16,-13 27 15,13-27-15,0 0 0,-13 27 16,-1-27-16,14 27 15,-13-27-15,13 0 0,0 0 16,-13 1-16,13-1 0,0 0 16,13 0-16</inkml:trace>
  <inkml:trace contextRef="#ctx0" brushRef="#br0" timeOffset="65869.02">20452 7342 0,'14'-26'0,"-1"26"16,-13-14-16,13 1 0,-13 0 31,0 0-31,0 0 16,-13 13-1,-27 13 17,40 0-32,-13 0 0,13 0 15,-13 1-15,13-1 16,13 0-1,0 0-15,0-13 16,1 14-16,-1-14 16,0 0-16,0 0 0</inkml:trace>
  <inkml:trace contextRef="#ctx0" brushRef="#br0" timeOffset="66214.03">20651 7382 0,'0'-13'0,"13"-1"16,13-12 0,-12 26-16,12-27 15,-26 1 1,13 26-16,-13-13 15,14 0-15,-41 13 47,14 13-47,13 0 16,-13 0-16,13 0 16,-14 1-16,14-1 0,14 0 15,-14 14 1,13-27-16,0 0 15,0 0-15</inkml:trace>
  <inkml:trace contextRef="#ctx0" brushRef="#br0" timeOffset="66726.19">21114 7038 0,'0'0'16,"-13"26"-16,-1 1 15,1-14-15,0 27 16,-14 26-16,14-26 16,-13-14-16,12 14 0,-12 26 15,0-13 1,12 0-16,-12-14 15,-1-12-15,14-1 16,13-12-16,-13-1 0,13 0 16,0-26 15,13 0-31,0-14 0,14-13 16,-1 1-16,14-14 15,13-40 1,-13 67-16,-14-1 15,1 14-15,-14 0 16,0 13-16,0 0 0,0 13 16,-13 0-1,-13 0 1,0 14-16,13-14 16,-26 0-16,-1 1 15,1-1-15,26 0 0,-27 0 16,14-13-1,0 0 1</inkml:trace>
  <inkml:trace contextRef="#ctx0" brushRef="#br0" timeOffset="66949.22">21365 7250 0,'66'0'0,"-53"-14"16,1 14-16,-1 0 0,0 0 15,0 0 1,14 0-16</inkml:trace>
  <inkml:trace contextRef="#ctx0" brushRef="#br0" timeOffset="67198.05">21511 7078 0,'26'0'0,"-13"0"16,14 26 0,-14-13-16,0-13 15,0 27-15,1-14 16,-14 13-16,0-12 16,-14-1-16,1 13 0,0 1 15,-27-1-15,27-13 16,0 1-16,0-1 15</inkml:trace>
  <inkml:trace contextRef="#ctx0" brushRef="#br0" timeOffset="67831.42">22159 7078 0,'13'-14'16,"-13"28"-16,13 25 15,-13-25 1,-13-1-16,13 13 16,0 1-1,-13-14-15,13 0 0,-13 0 16</inkml:trace>
  <inkml:trace contextRef="#ctx0" brushRef="#br0" timeOffset="67997.05">22159 6906 0</inkml:trace>
  <inkml:trace contextRef="#ctx0" brushRef="#br0" timeOffset="68400.24">22251 7091 0,'0'13'0,"0"0"16,0 1-16,0-1 0,0 13 31,0-13-15,0 1-1,27-28 1,-1 1 15,-12 13-31,-1 0 16,0 0-1,0 0-15,1 13 16,-14 1-16,0-1 16,0 0-1,0 0-15,13 1 16</inkml:trace>
  <inkml:trace contextRef="#ctx0" brushRef="#br0" timeOffset="68891.66">22886 6919 0,'-13'26'15,"0"-12"-15,13 12 16,-13-13-16,0 14 16,-1 39-16,1-26 15,0-14 1,13-13-16,0 14 0,0-14 16,0 0-16,0 0 15,0-52 16,-13 25-15,-1 14-16,-12-13 16,-1 13-1,14 0-15,-26 13 16,25-13-16,-12 14 0,-1-1 16,14 0-1,0 14-15,26-1 31,0-26-31,40 13 16,-13-13 0,-27 0-16,27 0 15,-14 0-15,1-13 0,-1 13 16</inkml:trace>
  <inkml:trace contextRef="#ctx0" brushRef="#br0" timeOffset="69241.11">23085 7223 0,'40'-53'15,"-27"40"-15,-40 13 47,14 13-47,0 0 16,0-13-16,-1 27 16,-12-1-16,26-12 15,-13 12-15,26 0 16,0-12-1,0-14-15,14 13 16,-14-13-16,0 0 0,1 0 16</inkml:trace>
  <inkml:trace contextRef="#ctx0" brushRef="#br0" timeOffset="69721.87">23455 6985 0,'0'-13'16,"0"26"-16,-13-13 15,0 26 1,-14 14-16,14-13 16,0-1-16,-14 40 0,1-26 15,13-14-15,-27 54 0,14-41 16,12-12-16,-38 39 15,-1 0-15,53-39 16,-27-1-16,14-13 16,13 1-16,-13-14 15,13 13-15,13-40 32,13 1-32,1-1 15,-14 1-15,40-27 16,0-13-16,0 13 15,26-13-15,-26 39 16,-40 27 0,14 0-1,-27 14-15,0 12 16,-13-26 0,-1 26-16,1-12 0,-13-1 15,-14 0-15,13 0 16,-25 1-16,12-14 15,13 0-15</inkml:trace>
  <inkml:trace contextRef="#ctx0" brushRef="#br0" timeOffset="70818.28">20201 8070 0,'-27'0'0,"1"0"15,13 0-15,0 0 16,-1 0-16,1 0 16,13 13-16,-13-13 0,0 13 15,-1 0-15,14 1 16,0-1-1,14 0-15,-14 0 0,13 1 16,0-1 0,0 0-16,1 0 15,-1 1-15,0-1 16,-13 0-16,13 0 0,-13 0 16,0 14-1,-13-1-15,0-26 16,13 14-16,-13-14 15,-1 13-15,1-13 16,0 0-16,0 13 16,-1-13-16,1 0 15,0 0-15,0 0 16,-1 0-16,1 0 16,0 0-1</inkml:trace>
  <inkml:trace contextRef="#ctx0" brushRef="#br0" timeOffset="71445.28">20518 8083 0,'14'-13'0,"-1"26"47,-13 0-47,-13 0 15,13 1-15,0-1 0,0 27 16,0-27-16,0 0 0,-14 14 15,14-14-15,0 13 16,14 1 0,-14-14-16,13 13 0,13-12 15,-12-14 1,-1 0-16,13 0 0,-12 0 16,-1 0-1,0-14-15</inkml:trace>
  <inkml:trace contextRef="#ctx0" brushRef="#br0" timeOffset="71923.32">20399 8242 0,'-13'-13'0,"26"-1"32,1 14-17,-1-13-15,13 13 16,-12 0-16,-1 0 0,26 0 15,14-13-15,-13 13 16,-27 0-16,1 0 16,-1 0-16,0 0 0,27 0 15,-27 0 1,0 0 0,0 0-1,-357 53-15,688-93 16,-344 53-16,0 1 15,0 12 1,14-26 0,-14 13-16,13-13 15,0 0 1,13 0-16,-12-13 16,-1 0-16,13 0 15,-12-1 1,-1 1-1,0 26 1,-13 1 0,0-1-16,-13 0 15,13 0-15,0 0 16,-13 1-16,13-1 16,0 0-16</inkml:trace>
  <inkml:trace contextRef="#ctx0" brushRef="#br0" timeOffset="72360.97">21312 8004 0,'0'-14'15,"-26"94"16,-1-41-15,27-12-16,-13-14 0,0 14 16,13-14-16,-13 13 15,13-12-15,0-1 16,0 0-16,92-264 16,-211 489 15,119-251-31,-13 13 0,0 0 15,-1-14 1,-12 28-16,13-14 16,-14 13-16,14-13 0,0 13 15,0 0 1,-1 0-16,1 1 16,13-1-1,13 0-15,1-13 16,-1 0-16,13 13 15,1-13-15,-14 0 0,13 0 16,-12 0 0,-1 0-16</inkml:trace>
  <inkml:trace contextRef="#ctx0" brushRef="#br0" timeOffset="73073.3">21392 8189 0,'0'13'15,"-14"0"17,28 1-1,-1-1 0,0-13-15,0 13-1,0-13 1,1 0 0,-1 0-16,0 0 15,0 0-15,1-13 16,-1 13-16,0 0 16,0-13-16,1 13 0,-1-14 15,13 1 1,-13 0-1,1 0-15,-1 26 47,-13 0-31,0 0-16,-13 14 16,13-14-16,0 0 0,-14 14 15,1 26-15,0-27 16,-13-13-16,-14 40 15,13-26-15,1-1 16,-1-13-16,27 1 16,-13-1-16,0-13 15,39-27 1,-12 14-16,-1 0 16,13-14-16,1 1 15,26-14 1,-14 1-16</inkml:trace>
  <inkml:trace contextRef="#ctx0" brushRef="#br0" timeOffset="73339">21908 8149 0,'13'0'16,"0"0"-1,0 0 1,0 0-16,1 0 0,12 0 16,-13 0-16,14 0 15,-14 0-15,0 0 16,0 0-16,-13-13 15,14 13-15</inkml:trace>
  <inkml:trace contextRef="#ctx0" brushRef="#br0" timeOffset="73555.45">22106 8017 0,'13'0'16,"0"13"-16,1 0 15,-1-13-15,-13 14 16,13-14-16,-13 13 0,13 0 0,-13 0 16,0 14-16,0-1 15,0 1 1,-13-14-16,0 0 0,0 14 16,-1-14-16,1 0 15,0-251-15</inkml:trace>
  <inkml:trace contextRef="#ctx0" brushRef="#br0" timeOffset="74163.07">22754 7818 0,'-13'67'15,"0"-28"1,-14 1-16,14 13 16,13-40-16,-26 40 15,26-27-15,-14-12 16,14 12-16,0 14 16,0-27-16,0 0 15,14-39 16,-14 13-15,-14-1-16,14 1 16,-13 13-16,0-13 15,-14 0-15,14 13 0,0 0 16,-14 0-16,14 0 16,0 13-16,0-13 0,0 13 15,-1 0-15,1 1 16,13-1-1,13 0-15,14 0 16,12 1 0,-25-14-16,25 0 0,-25 0 15,-1 0-15,0 0 0,14 0 16,12 0-16,-26 0 0</inkml:trace>
  <inkml:trace contextRef="#ctx0" brushRef="#br0" timeOffset="74538.08">22926 8202 0,'27'-40'16,"-14"14"-1,-13 13 1,-27 13 15,1 13-31,-1 13 31,27-12-31,-13-1 16,26 0 0,1 0-16,12 1 15,1-1 1,-14-13-16,0 0 0,0 0 16,14 0-16</inkml:trace>
  <inkml:trace contextRef="#ctx0" brushRef="#br0" timeOffset="75082.23">23297 7977 0,'-14'27'16,"14"-14"-16,-26 27 15,26-14-15,-27 40 16,1-13-16,0 13 16,12-26-16,-12 0 0,13-14 15,185-423-15,-371 860 16,173-423 0,12-27-16,14 0 15,-13 1-15,0-1 16,26-26 15,-13-1-31,53-39 16,-40 27-1,40-27-15,-39 27 0,65-54 16,-39 41 0,-14 12-16,-13 14 0,0 0 15,14 13-15,-1-14 16,1 14-1,-14 14 1,-13-1-16,0 0 16,-13 14-1,0-14 1,-1 0-16,1-13 0,-13 13 16,-14 0-16,0 1 15,-26-14 1,53 13-16,-13-26 15,-1 13-15</inkml:trace>
  <inkml:trace contextRef="#ctx0" brushRef="#br0" timeOffset="79138.06">18706 8136 0,'40'13'15,"-27"-13"-15,0 0 0,0 0 16,14 0-16,-14 0 0,14 0 15,-14 0-15,13-13 0,-13 13 16,1 0-16,12 0 0,-13-13 0,1 13 16,-1 0-16,0-14 0,0 14 31,-26 27 0,0-14-31,0 0 0,13 1 16,-27 12-16,14 14 15,0-27-15,-1 27 0,14-27 16,-13 13 0,0 14-16,13-27 15,0 1-15</inkml:trace>
  <inkml:trace contextRef="#ctx0" brushRef="#br0" timeOffset="79481.42">19037 8334 0,'26'-13'0,"-13"0"16,-52 39-16,92-79 0,-40 53 15,-13-13-15,13 0 16,-39 26 15,12-13-15,1 13-16,0 14 16,0-14-1,13 0-15,0 1 16,0-1-16,13 0 15,0-13-15,0 13 0,1-13 16,-1 0 0</inkml:trace>
  <inkml:trace contextRef="#ctx0" brushRef="#br0" timeOffset="79734.14">19248 8268 0,'-13'-13'15,"13"39"17,-13-26-17,13 14-15,0-1 0,0 0 16,0 0-16,-13 14 0,0-1 31,13-12-31,-14-14 0,1 13 16,0 0-16,0 0 0,-1-13 31,1 0-31</inkml:trace>
  <inkml:trace contextRef="#ctx0" brushRef="#br0" timeOffset="79953.25">19407 8149 0,'0'-13'16,"0"53"-1,0-1 1,-13 1 0,13-27-16,0 14 0,-13-1 15,13 1-15,-13-14 0,13 13 16,-14-12-1,14-1-15</inkml:trace>
  <inkml:trace contextRef="#ctx0" brushRef="#br0" timeOffset="80156.5">19275 8387 0,'0'-13'0,"13"13"0,-13-13 16,13 13-16,14-13 16,-14 13-1,0-14-15,1 14 0,-1 0 16,13-13-16,-13 13 0</inkml:trace>
  <inkml:trace contextRef="#ctx0" brushRef="#br0" timeOffset="80447.2">19632 8162 0,'-13'0'31,"0"14"-31,13 12 16,-14-13-16,14 14 15,-13 12-15,13-25 16,-13 25 0,13-25-16,0-1 0,-13 0 15,13 0-15,-14 14 0,14-14 16,-13-13-16,0 13 16,0 0-16,13 1 0,-13-14 15</inkml:trace>
  <inkml:trace contextRef="#ctx0" brushRef="#br0" timeOffset="80931.39">19672 8308 0,'-13'13'46,"13"0"-46,-14 1 16,14-1-16,27-66 0,-67 146 16,40-80-1,-13 0-15,13 0 16,13-13-16,-13 13 0,13-13 16,1-13-1,-1 13-15,0-13 16,0 0-1,0 0-15,1-1 0,-14 1 16,13 13-16,-13 13 47,0 1-47,0-1 16,-13-13-16,13 13 15,0 0 1,26-26 31,-13 13-47,-13-13 0,14 13 0,-1-13 15,0-1-15,-13 1 16,13 13-16,1-13 0,-14 0 16,13 13-16</inkml:trace>
  <inkml:trace contextRef="#ctx0" brushRef="#br0" timeOffset="81149.36">19857 8401 0,'13'-14'0,"-13"1"15,-13 40-15,39-54 0,-52 40 47,13-13-47,13 14 16,-13-1-16,13 0 0,-14-13 15,14 13-15,0 0 16</inkml:trace>
  <inkml:trace contextRef="#ctx0" brushRef="#br0" timeOffset="81413.45">19076 8665 0,'53'-26'16,"-13"26"-1,-13 0-15,-1 0 0,27-14 16,53 1-16,-80 13 16,40 0-16,-39 0 15,26-13-15,-27 13 0,14 0 16,-14-13-16,-12 13 16</inkml:trace>
  <inkml:trace contextRef="#ctx0" brushRef="#br0" timeOffset="81614.64">19275 8639 0,'40'13'0,"-27"-13"15,13 0-15,-12 0 16,38 0-16,-25 0 0,-14 0 0,14 0 15,12-13-15,-12 13 0,65 0 16,-65 0 0,-1 0-16</inkml:trace>
  <inkml:trace contextRef="#ctx0" brushRef="#br0" timeOffset="82522.78">20135 7911 0,'-53'265'16,"53"-226"-16,-13 14 0,13 0 16,-14-13-16,1 13 0,0 26 15,0-39-15,-1-1 0,14 1 16,-13-13-16,13-1 0</inkml:trace>
  <inkml:trace contextRef="#ctx0" brushRef="#br0" timeOffset="86600.99">21497 8057 0,'14'-27'0,"-28"14"16,14 0-16,0-1 16,-13 1-16,13 0 0,-13 0 15,13-14-15,-13 14 0,13 0 16,0 0-16,-14-1 0,14-12 0,-13 13 16,13-1-16,0 1 0,-13-13 15,13-1-15,0 14 16,-13 0-16,13 0 15,-13 13 1</inkml:trace>
  <inkml:trace contextRef="#ctx0" brushRef="#br0" timeOffset="87136.09">21365 7686 0,'-13'27'31,"0"-1"-15,-1-26-16,14 13 15,-13-13 1,13 14-16,13-41 31,14 1-15,-14 26 0,0-14-16,1 1 0,-1 0 0,26-14 15,-25 27 1,-1 0-16,0-13 0,0 13 15,1 13-15,-1-13 16,0 0-16,0 14 0,1-1 0,-1 0 16,-13 0-16,13-13 15,0 14-15,0-1 0,1-13 0,-1 13 16</inkml:trace>
  <inkml:trace contextRef="#ctx0" brushRef="#br0" timeOffset="88575.01">20809 8348 0,'27'13'15,"-1"-13"-15,-12 0 0,-1 0 0,13 0 16,1 0-16,-1 0 0,14 0 0,-14 0 16,14 0-16,-13 0 0,-1 0 15,27 0-15,-13 0 16,-27 0-16,0 0 0</inkml:trace>
  <inkml:trace contextRef="#ctx0" brushRef="#br0" timeOffset="89697.32">19672 8096 0,'-40'53'0</inkml:trace>
  <inkml:trace contextRef="#ctx0" brushRef="#br0" timeOffset="91379.15">20638 7501 0,'0'26'31,"0"-12"-31,0-1 0,0 0 16,0 40-16,0-27 0,0 94 31,0-94-31,0 27 0,0-40 16,0 40-16,0-40 15,0 1-15</inkml:trace>
  <inkml:trace contextRef="#ctx0" brushRef="#br0" timeOffset="91725.45">20505 7845 0,'13'26'31,"14"1"-15,-14-14 0,0-13-16,27 0 15,-27 0 1,1-13-1,-1 13-15,0-13 0,0 13 16</inkml:trace>
  <inkml:trace contextRef="#ctx0" brushRef="#br0" timeOffset="92221.97">20386 7911 0,'-145'-26'0,"131"26"0,-12 13 16,13-13-16,-27 0 0,27 13 0,-27-13 15,14 13-15,-27 1 16,26-1-16,1 0 0,-1 0 0,1 14 15,-1-1 1</inkml:trace>
  <inkml:trace contextRef="#ctx0" brushRef="#br0" timeOffset="92402.21">19857 7964 0,'-40'26'0,"27"1"0,0-14 15,79-79-15,-159 172 0,93-93 0,-13 13 16,13-12-16,-13 12 0</inkml:trace>
  <inkml:trace contextRef="#ctx0" brushRef="#br0" timeOffset="96826">13229 4035 0,'13'0'32,"27"13"-17,-27-13-15,1 0 16,-1 0-16,0 0 0,13 0 16,14 13-16,-13-13 0,-1 0 15,27 0-15,0 0 16,-13 14-16,-1-14 0,14 0 15,0 0-15,0 0 0,0 0 16,53 13-16,-67-13 0,14 0 16,0 13-16,0-13 0,53 13 15,0-13-15,-53 0 16,0 14-16,-14-14 0,14 0 0,0 0 16,-13 0-16,0 0 0,26 13 15,-40-13-15,14 0 0,-27 0 16,14 0-16,-1 0 0,0 0 0,-12 0 15,-1 0-15,0 0 0,0 0 16,1 0-16,-1 13 0,0-13 16,0 0-16,1 0 0,-1 0 15,0 0 1,0 0 0,0 0 15</inkml:trace>
  <inkml:trace contextRef="#ctx0" brushRef="#br0" timeOffset="98021.93">8837 4564 0,'13'0'0,"1"0"16,-1 0-16,0 0 16,0 0-16,14 0 0,12-13 0,1 13 15,13 0-15,119 0 16,-93 13-16,-13-13 0,14 0 16,-1 13-16,80 1 0,-14-1 15,-78-13-15,-1 13 16,-13-13-16,92 26 15,-92-12-15,0-14 0,-26 13 16,-1-13-16,-13 13 16,0-13-16,1 13 15</inkml:trace>
  <inkml:trace contextRef="#ctx0" brushRef="#br0" timeOffset="100802.53">9856 6972 0,'13'-13'0,"-26"13"16,-1-14-1,-25 14 1,26 0-1,13 14-15,-14-14 0,1 0 0,0 13 16,0-13-16,-1 13 16,14 0-16,0 14 15,0-14 1,0 0-16,14 0 0,-1 1 0,-13-1 16,13 0-16,14 14 15,-14-14 1,0 0-16,-13 0 15,-13-13 1,13 13-16,-13-13 0,-1 14 16,1-14-16,0 0 0,0 13 15,-1-13-15,-12 0 0,13 0 16,0 0 0,-1-13-1</inkml:trace>
  <inkml:trace contextRef="#ctx0" brushRef="#br0" timeOffset="101173.08">10067 6932 0,'0'40'31,"-13"-14"-31,13-13 16,-13 14-16,0-1 15,-1 1-15,14-14 16,-13 27 0,13-27-1</inkml:trace>
  <inkml:trace contextRef="#ctx0" brushRef="#br0" timeOffset="101458.77">10186 7117 0,'27'-13'16,"-14"-13"-16,0 12 15,-13 1 1,-53 79-16,120-145 0,-94 92 47,27 0-32,-13 1-15,13-1 16,0 0-16,0 0 16,0 1-16,13-14 0,0 13 15,1-13 1,-1 0-16,0 0 0,0 0 15,1 0-15</inkml:trace>
  <inkml:trace contextRef="#ctx0" brushRef="#br0" timeOffset="101864.03">11020 7038 0,'79'0'0,"-66"0"0,14 0 0,-1-13 16,14 13-16,13 0 0,-40 0 16,14 0-16,-1 0 15,1 0-15,-14 0 0,0 0 16,0 0-16,1 0 15,-1-14 1</inkml:trace>
  <inkml:trace contextRef="#ctx0" brushRef="#br0" timeOffset="102625.23">9816 7633 0,'-26'0'0,"52"0"0,-79 0 15,40 0-15,0 13 16,-1 1-16,14-1 15,0 0-15,0 0 16,0 1-16,0-1 0,0 0 16,14 0-16,-14 1 15,0-1-15,13 0 0,-13 0 16,0 0-16,0 1 16,0-1-16,-13 0 0,-1 0 15,1 1 1,0-14-16,0 0 15,0 13-15,-14-13 16,14 0-16,0 0 16,-1-13-1</inkml:trace>
  <inkml:trace contextRef="#ctx0" brushRef="#br0" timeOffset="102856.3">9922 7580 0,'13'14'16,"-13"-1"-16,0 0 0,-13-13 16,13 13-16,0 14 0,-13-1 15,13 1-15,0-14 16,-14 0-16,14 27 0,-13-27 15,13 0-15,0 0 0,0 1 16,0-1-16</inkml:trace>
  <inkml:trace contextRef="#ctx0" brushRef="#br0" timeOffset="103185.48">10134 7805 0,'13'-13'0,"-13"0"15,13 0-15,-13-1 31,-26 41 1,26-14-17,-14-13-15,14 13 0,0 0 16,0 1-16,14-1 16,-1-13-1,-13 13-15,26-13 0</inkml:trace>
  <inkml:trace contextRef="#ctx0" brushRef="#br0" timeOffset="103396.49">10332 7766 0,'-40'0'16,"40"13"-1,-13-13-15,13 13 16,-13 0-16,13 0 15,0 1-15,0-1 16,0 0-16,13-13 16,-13 13-16,13-13 0,1 0 15,-1 0 1</inkml:trace>
  <inkml:trace contextRef="#ctx0" brushRef="#br0" timeOffset="103861.16">10570 7660 0,'0'-14'0,"0"28"0,-13-1 46,13 0-46,-13 0 0,13 14 0,-14-14 16,1 14-16,0 12 0,0-12 16,0 12-16,-14 1 15,14-13-15,13-14 16,-13 0-16,13 0 0,0 0 16,-14-13-16,14 14 15,27-28 16,-27 1-31,13 0 0,14-13 16,-14 12-16,26-25 16,-25 25-16,-1 14 0,0-13 15,0 0-15,1 13 0,-1-13 16,-40 39 15,27-13-31,-13 1 16,-13-1-16,-1-13 0,1 13 15,-14-13 1,27 0 0</inkml:trace>
  <inkml:trace contextRef="#ctx0" brushRef="#br0" timeOffset="104547.45">10610 6972 0,'0'0'31,"-13"26"-31,13-13 0,-14 1 16,1 25-16,13-12 15,-13-14-15,0 14 0,13-14 16,0 0-16,-14 0 16,14 0-16,-13 1 15,40-28 1,-14 14 0,0-13-16,14-13 0,-14 26 15,0-13-15,0 13 0,27-14 16,-27 14-1,0 0-15,-13 14 16,0-1-16,-13 0 16,13 0-16,-13-13 15,0 27-15,-1-14 16,1 0-16,13 0 0,0 1 16,13-1-1</inkml:trace>
  <inkml:trace contextRef="#ctx0" brushRef="#br0" timeOffset="104868.2">11165 7726 0,'40'0'16,"-27"0"-16,1 0 0,12-13 15,0 13-15,1 0 16,-14 0-16,0 0 16,1-14-16,-1 14 0</inkml:trace>
  <inkml:trace contextRef="#ctx0" brushRef="#br0" timeOffset="105072.66">11430 7541 0,'26'26'16,"-12"-13"-16,-14 14 15,13-14-15,-13 13 16,0 1-16,0-14 16,-13 27-1,-14-14-15,27-12 0,-13-1 16</inkml:trace>
  <inkml:trace contextRef="#ctx0" brushRef="#br0" timeOffset="106579.44">9155 7210 0,'0'-13'0,"0"-1"15,0 1-15,0 0 16,13-13-16,0 12 16,-13 1-16,13-13 0,-13 12 15,14 1-15,-14 0 0,0 0 16,13-1-16,-13 1 16,0 0-16,0 0 15,0 0-15</inkml:trace>
  <inkml:trace contextRef="#ctx0" brushRef="#br0" timeOffset="106892.17">9234 6906 0,'-26'26'16,"52"-52"-16,-52 65 15,12-39-15,-12 27 16,26-14-16,-27 13 0,14-12 15,0-1-15,0 0 0,-1 0 16,1 1-16,0-1 0,0 0 16,13 0-16,-13-13 15,26-26 1,0 13 0,-13-1-16,13 1 15,0 0-15,-13 0 0,14 13 0,-1-14 16,-13 1-16,13 13 0,0-13 15,1 13-15,-1 0 0,0 0 16,0 0-16,1 0 16,25 0-16,-26 0 0,1 0 15,25 13-15,-25-13 0,-1 13 16</inkml:trace>
  <inkml:trace contextRef="#ctx0" brushRef="#br0" timeOffset="107295.56">9181 7805 0,'0'-13'0,"-13"53"31,0-14-31,13-13 16,-14 14-16,1-1 0,0-12 15,0 12-15,13-13 16,-27 27-16,14-27 16,0 0-16</inkml:trace>
  <inkml:trace contextRef="#ctx0" brushRef="#br0" timeOffset="107627.99">9194 7739 0,'-13'0'15,"-13"13"1,12 1-16,14-1 0,-26 0 15,13 0-15,-1 0 0,-12 1 16,13 12-16,0-13 16,-1-13-16,14 14 0,-13-14 15,13 13-15,-13-13 0,39-13 47,1 13-47,-14 0 0,0 0 16,0 0-16,1 13 15,-1-13-15,13 13 0,-12-13 16,-1 13-16,0 1 0,0-14 16,14 13-16</inkml:trace>
  <inkml:trace contextRef="#ctx0" brushRef="#br0" timeOffset="109670.23">13785 7660 0,'0'-14'15,"-13"41"1,13-14-1,-14 0-15,1 27 16,13-13 0,0-14-16,-13 0 0,13 0 0,-13 0 15,13 1-15,-14 12 0,14-13 16,-13 1-16,13-1 0,0 0 16,-13 0-16</inkml:trace>
  <inkml:trace contextRef="#ctx0" brushRef="#br0" timeOffset="110077.5">13811 7646 0,'-13'-13'0,"0"26"15,0-13-15,13 14 0,-27-1 16,14-13-16,0 13 0,-14 14 16,14-27-16,0 13 0,-1 13 15,1-26-15,0 14 0,0-1 16,0-13-16,13 13 15</inkml:trace>
  <inkml:trace contextRef="#ctx0" brushRef="#br0" timeOffset="110248.16">13732 7660 0,'26'13'16,"-12"0"-16,-1-13 15,13 13-15,27 1 16,-40-1-16,14-13 16,-14 13-16,0-13 15</inkml:trace>
  <inkml:trace contextRef="#ctx0" brushRef="#br0" timeOffset="111456.27">10160 7422 0,'53'0'15,"-13"0"-15,39 13 16,-39-13-16,13 13 0,39 0 15,14 0-15,-40 1 16,-13-14-16,0 0 0,79 0 16,-66 0-16,14 0 0,-14-14 15,0 14-15,0-13 0,-13 0 0,-13 13 16,13-13-16,-14 0 0,1-1 16,13-12-16,-26 13 0,-14-1 15,13 1-15,-13 0 16,1 0-16,39-40 0,-40 26 0,0 1 15,14-27-15,-14 27 16,-13-1-16,0 14 0,0-14 16,-13-12-16,-14 12 0,14 1 0,-27-14 15,0 14-15,-12-14 0,-81 0 0,-12-13 16,-14 27 0,66 13-16,-92-14 15,-13 14-15,13 0 16,79 13-16,-80 13 15,94 0-15,12 0 0,1 1 0,0 12 16,-54 40-16,67-26 16,-53 39-16,80-39 0,-28 53 15,54-27 1,13-40-16,13 40 0,14-26 16,-1-14-16,40 27 0,-26-26 15,13-1-15,0-12 0,40 12 16,-54-13-16,54 0 15</inkml:trace>
  <inkml:trace contextRef="#ctx0" brushRef="#br0" timeOffset="112113.97">10160 8215 0,'185'93'15,"-92"-67"-15,-53-26 16,-1 14-16,14-14 0,-26 0 16,12 0-16,14 0 0,-13 0 0,13-14 15,0 1-15,0 0 0,-14 0 0,14-1 16,66-38-1,-79 38-15,0-12 0,-14 13 0,27-27 16,-27 13-16,-12 14 0,-1-13 16,0 13-16,0-14 0,-13 1 15,14-40-15,-28 26 16,-12-40-16,13 41 0,-14-1 16,-39-39-16,-27-1 15,27 54-15,-53-40 16,40 52-16,0-12 0,-1 0 15,1 12-15,-14 1 0,-92 0 16,0 26-16,13 27 16,-27-1-16,120-12 15,-67 26-15,27 13 16,-13 40 0,106-66-16,-1-14 0,14 67 15,39-27 1,-12-27-16,25-12 0,-12 13 15,118 52-15,-92-65 16,80-1-16,-1 1 16</inkml:trace>
  <inkml:trace contextRef="#ctx0" brushRef="#br0" timeOffset="115504.28">13507 8083 0,'-40'-13'0,"1"13"16,-14 0 0,26 0-16,-12 0 0,-14-13 15,13 13-15,-66 0 0,53-14 16,0 14-16,0 0 0,0-13 0,-52 13 16,65 0-16,0-13 15,1 13-15,12-13 0,1 13 0,-1 0 0,1 0 16,12-14-16,1 14 15,-13 0-15,13 0 0,-1 0 0,1 0 16,0 0-16,0 0 16,-1 0-16,1 0 15</inkml:trace>
  <inkml:trace contextRef="#ctx0" brushRef="#br0" timeOffset="115829.05">12554 7871 0,'-26'0'0,"0"0"0,12 14 16,1-14-16,-27 13 0,14 0 15,-27 14-15,13-1 16,-13 14 0,40-27-16,0 0 0,0-13 15,13 27-15,13-14 16,0 0-16,14 0 16,-1-13-16,53 13 15,1 1-15,-40-1 0,12 0 16,-12-13-16,53 13 15,-54 1-15</inkml:trace>
  <inkml:trace contextRef="#ctx0" brushRef="#br0" timeOffset="116316.2">13388 8202 0,'-93'-13'16,"67"13"-1,-1 0 1,14 13-16,13 0 16,13 1-1,-13-1-15,14 0 16,-1 13-16,0-26 0,-13 14 15,13-1-15,1 0 16,-14 0-16,0 1 16,-14-1-16,14 0 0,-26 0 15,13-13-15,13 14 0,-14-14 16,1 0-16,0 0 0,-27 13 16,27-13-1</inkml:trace>
  <inkml:trace contextRef="#ctx0" brushRef="#br0" timeOffset="116523.25">13520 8162 0,'13'0'0,"-26"0"16,13 27-16,0-14 15,0 0-15,0 1 0,-13-1 16,0 13-16,13-13 0,-13 14 16,-1-1-16,14-12 15,-13 12-15,13-13 0,-13 1 16</inkml:trace>
  <inkml:trace contextRef="#ctx0" brushRef="#br0" timeOffset="116910.19">13361 8348 0,'40'0'16,"-27"0"-16,1-14 15,-1 14-15,0 0 0,0 0 16,1 0-16,-1 0 0,0 0 16</inkml:trace>
  <inkml:trace contextRef="#ctx0" brushRef="#br0" timeOffset="118892.46">13679 8255 0,'-27'26'0,"27"-12"16,0-1-16,0 0 15,14 0 1,-1-13 0,-13-13-1,13 13-15,0-13 0,1 13 16,-14-13-16,13 13 16,0-14-1,0 28 16,-13-1-15,0 0 0,0 0-16,0 1 15,14-1 1</inkml:trace>
  <inkml:trace contextRef="#ctx0" brushRef="#br0" timeOffset="119642.3">14063 8109 0,'-14'40'16,"1"-27"-16,13 1 15,-13 12-15,13-13 16,-13 1-16,13-1 0,0 0 15,0 13-15,-14-12 16,14-1-16,0 0 0,0 0 31,-13-13-15,0 0 15,0-13-31,0 13 0,-14 13 16,14-13-1,0 14-15,-1-1 16,28 0 15,-1-13-31,0 0 16,14 0-16,-14 0 0,0-13 0,0 13 16,0 0-16,1-13 15,-1 13-15,0-14 0,14 1 16,-27 0-16,13 13 0,0-13 15,0 13 1,-13 13 31,14-13-16,-1 0-15,0 0-16,0 0 15,-13-13 1,13 26-16,1 0 16,-14 0-16,0 1 15,-14-1-15,14 0 0,0 0 16,-13 14-16,-13 26 16,13-40-1,13 0-15,-14 0 0,1 1 0,0-14 16,26-27 15,0 14-31,1 0 16,-1-14-16,40-26 15,-27 27-15,27-27 0,-26 26 16,-1 1-16</inkml:trace>
  <inkml:trace contextRef="#ctx0" brushRef="#br0" timeOffset="119790.06">14592 8096 0,'-13'-13'0</inkml:trace>
  <inkml:trace contextRef="#ctx0" brushRef="#br0" timeOffset="138978.18">3228 6443 0,'0'13'0,"13"-13"0,0 0 15,1 13-15,-1-13 16,13 0-16,-12 13 0,12-13 0,53 27 15,-52-27 1,12 13-16,28 0 16,12 0-16,67 14 15,-107-27-15,67 13 16,-13 0-16,-40 1 16,0-14-16,-14 13 0,14-13 0,53 13 15,-53-13-15,0 0 0,39 0 16,1 0-16,-53 0 15,-1 0-15,1 0 0,13 0 16,-13 0-16,-1 13 0,14-26 0,13 13 16,14 0-16,-14 0 15,-40 0-15,1 0 16,13 0-16,12-13 16,1 13-16,-26 0 0,26-13 15,-27 13-15,1 0 16,-14-14-16,13 14 0,1-13 0,-1 13 15,-13 0-15,14-13 0,-1 13 0,27-13 16,-26 13-16,12-14 16,-12 1-16,26 0 15,-27 0-15,-12 0 0,-1 13 16,26-14-16,-25 1 0,25-13 16,-25 26-1,-1-14-15,0 1 16,0 0-16,14 0 15,-27-1-15,13 14 0,-13-13 16,13-13-16,-13 13 16,13-1-16,-13 1 15,0 0-15,0 0 16,0-14-16,-13 1 16,13-1-16,-13 14 15,-14-13 1,14 12-16,-26-25 15,-1 12-15,0 1 16,14 12-16,-40-25 16,-1 12-1,28 1-15,-14 13 16,13-1 0,-13 1-16,0 0 15,-13 0-15,-40 0 16,27 13-16,26-14 15,-13 14 1,13-13-16,0 13 16,-26 0-16,52 0 15,-12 0-15,12 0 0,1-13 16,-1 13-16,-39 0 16,13 0-16,-13 0 15,40 0-15,-1 0 0,-26 0 16,-13 0-1,40 0-15,-14 0 0,-13 0 16,13 0 0,14 0-16,-27 0 0,13 0 15,-66 13 1,80-13-16,13 0 16,-14 0-16,1 0 0,-14 13 15,14-13-15,-14 0 16,0 0-16,14 14 0,13-14 15,-54 0-15,14 13 16,14-13-16,-1 13 16,-13-13-16,27 0 15,-1 13-15,1-13 0,13 0 16,-40 13-16,13-13 16,14 0-16,12 14 0,-25-14 15,-14 13-15,13-13 16,0 0-16,-13 13 15,40-13-15,-13 0 16,-1 13-16,-12-13 16,25 14-16,-12-14 0,-27 13 15,27 0-15,-14 0 16,27-13 0,-14 13-16,1 1 15,12-1-15,1 0 16,0 0-16,13 1 15,-13 12-15,13-13 16,0 14-16,0-1 16,13 1-16,-13-14 15,26 27-15,-12-27 16,12 27-16,-13-40 16,27 26-1,13 14-15,-13-27 16,-1 0-16,1 0 15,0 1-15,-14-1 16,-13-13-16,14 13 0,13-13 16,12 13-1,-12 1-15,-13-1 16,-14-13-16,13 13 16,1-13-16,-14 0 15,13 13-15,1 0 16,-1 1-1,-12-14-15,12 0 16,14 13-16,-14-13 0</inkml:trace>
  <inkml:trace contextRef="#ctx0" brushRef="#br0" timeOffset="141954.04">11761 6072 0,'26'0'47,"1"0"-47,12 0 15,1 0-15,66 0 16,26 13-16,-66-13 16,14 0-16,-1 0 0,93 14 15,-93-14-15,14 13 0,66-13 16,-14 13-16,-65-13 15,-27 13-15,-1-13 0,54 0 16,-26 14-16,-27-14 16,-40 0-16,13 0 15,-12 0-15,12 13 16,-13-13-16,0 0 16,1 0-16,-1 0 15</inkml:trace>
  <inkml:trace contextRef="#ctx0" brushRef="#br0" timeOffset="143281.19">8890 6575 0,'-13'0'0,"39"0"15,-13 0-15,1 0 16,12 0-16,54 13 16,25-13-16,-38 0 15,-15 0-15,15 0 0,65 0 16,13 0-16,1 0 15,-93 0-15,13 0 0,-13 0 16,0 0-16,39 0 0,-65 0 16,-1 0-16,1 0 0,-14 0 15,0 0-15,14 0 0,-14 0 0,0 0 16</inkml:trace>
  <inkml:trace contextRef="#ctx0" brushRef="#br0" timeOffset="143598.07">9287 6668 0,'79'0'47,"-13"0"-47,-39 0 15,79 0-15,0 0 16,-54 0-16,1 0 0,0 0 16,0 0-16,-13 0 0,26 0 15,-40 0-15,1 0 0,-1 0 16,14 0-16,-13 0 15,-14 0-15,0 0 0,0 0 16</inkml:trace>
  <inkml:trace contextRef="#ctx0" brushRef="#br0" timeOffset="156166.12">17013 5477 0,'-106'-40'15,"93"40"-15,-14 0 0,1 0 0,13-13 16,-14 13-16,1 0 0,12 0 16,-12 0-16,-1-13 0,14 13 0,0 0 15,-13 0-15,-1 13 0,14-13 16,0 0-16,-1 0 0,-12 13 31,-1 0-31,14 1 0,0-1 16,0 0-16,13 0 15,-13 1-15,13-1 0,-14 0 0,14 0 16,-13 14-16,13-14 0,-13 13 16,0 41-16,-1-28 15,1 1-15,13 0 0,-13-1 0,0 1 16,-1 26-16,1-26 0,0-1 16,0 1-16,0-13 15,-1 12-15,14-12 0,-13 12 0,0-12 0,0 26 16,-1-40-16,1 27 15,13-27-15,0 13 0,0-12 16,-13-1-16,13 0 0,0 14 16,13-14-16,-13 0 0,13 0 15,1 1-15,-1-14 16,0 13-16,14-13 0,-1 0 16,-13 0-16,14 0 0</inkml:trace>
  <inkml:trace contextRef="#ctx0" brushRef="#br0" timeOffset="157978.4">24739 5437 0,'0'-13'16,"13"13"-1,13 13 1,-13-13 0,1 0-16,-1 13 0,13-13 15,-12 0-15,39 14 16,-27-1-16,0-13 0,1 0 0,-14 13 16,14-13-16,-1 13 0,-13-13 15,14 14-15,-14-14 0,0 0 16,0 13-16,1-13 0,-14 13 0,13-13 0,0 13 15,0 0-15,1 1 16,-14-1-16,13 0 16,-13 14-16,0-14 0,0 0 15,0 0-15,13 1 0,-13-1 0,0 13 16,0 1-16,0-14 0,0 13 0,0 1 16,0-1-16,-13 1 0,13 12 15,-13-12-15,13 13 0,-14-14 16,-12 40-16,26-39 0,-13-14 15,13 13-15,-27 40 0,14-39 16,0-1-16,13 1 0,-14-14 16,14 14-16,-13-1 0,13 0 0,-13 1 15,13-14-15,0 14 0,0-1 16,0-13-16,-13 14 0,13-1 0,0-13 16,0 14-16,13-14 0,-13 0 15,0 27-15,0-27 0,0 1 16,0-1-16,0 0 0,13-13 0,-13 13 15,0 0-15,13 1 0,-13-1 16,14 0 0,-1 0-16,0 1 15,-13-1 1,0 0 15,-13-13-31,0 0 16,-1 0-16,1 0 0,-13 0 15,-1 0-15,1 0 0,-14 0 0,-52-13 16,39 13-16</inkml:trace>
  <inkml:trace contextRef="#ctx0" brushRef="#br0" timeOffset="163645.99">5133 13123 0,'0'-13'0,"13"13"47,-13 13-31,0 1-1,0-1-15,0 0 16,13 0-16,-13 0 0,0 1 0,0-1 16,0 13-16,0-12 0,0 12 0,0-13 15,0 1-15,0 25 16,-13-12-16,13-14 0,0 13 0,0-12 15,0-1-15,0 0 0,0 0 16,0 1-16,0-1 0,0 0 0,0 0 16,0 0-16</inkml:trace>
  <inkml:trace contextRef="#ctx0" brushRef="#br0" timeOffset="164624.93">5133 13520 0,'-27'40'0,"14"-40"16,13 13-16,0 0 0,-13-13 0,13 14 15,-13-14-15,13 13 0,-13 0 16,13 0 0,-14-13-1</inkml:trace>
  <inkml:trace contextRef="#ctx0" brushRef="#br0" timeOffset="164908.95">5159 13547 0,'14'0'0,"-1"0"0,0 0 15,0 0-15,1 13 16,-1-13-16,0 0 0,-13 13 0,13-13 16,0 0-16,1 13 15,-1-13-15,-13 14 0,13-14 0,0 13 16,1-13-16</inkml:trace>
  <inkml:trace contextRef="#ctx0" brushRef="#br0" timeOffset="165368.32">5226 13600 0,'0'13'16,"-14"-13"-16,14 13 0,0 0 15,0 0 1,-13 1 0</inkml:trace>
  <inkml:trace contextRef="#ctx0" brushRef="#br0" timeOffset="165735.95">5120 13520 0,'-40'13'0,"14"-13"15,12 14 1,1-14-16,0 13 15,0-13 1</inkml:trace>
  <inkml:trace contextRef="#ctx0" brushRef="#br0" timeOffset="166013.19">5106 13441 0,'0'26'31,"0"1"-16,0-14-15,0 0 16,14-13-16,-14 13 16,0 1-16,13-14 15,0 13-15</inkml:trace>
  <inkml:trace contextRef="#ctx0" brushRef="#br0" timeOffset="166204.7">5252 13481 0,'0'0'0,"26"13"16,-12-13-1,-1 13-15,0-13 31</inkml:trace>
  <inkml:trace contextRef="#ctx0" brushRef="#br0" timeOffset="167759.84">5093 13163 0,'-39'-26'0,"25"12"16,1 14-1,13-13-15,-13 13 0,13-13 16,-13 13-16,13-13 15,-14 13-15,14-14 16</inkml:trace>
  <inkml:trace contextRef="#ctx0" brushRef="#br0" timeOffset="167965.27">5054 13110 0,'0'-26'16,"0"12"0,0-12-1,13 26-15,-13-13 0,0 0 16</inkml:trace>
  <inkml:trace contextRef="#ctx0" brushRef="#br0" timeOffset="168135.94">5093 13057 0,'13'-13'0,"-13"0"15,14 0 1,-1-1-16,0 1 16</inkml:trace>
  <inkml:trace contextRef="#ctx0" brushRef="#br0" timeOffset="168276.31">5159 13084 0,'-13'0'0,"40"-14"0,-14 14 0,-13-13 15,13 13-15,-53 27 0,93-54 16,-53 14-16,14 13 16</inkml:trace>
  <inkml:trace contextRef="#ctx0" brushRef="#br0" timeOffset="168440.07">5292 13097 0,'13'-13'0,"0"13"15,-39 13-15,65-26 0,-25-1 16</inkml:trace>
  <inkml:trace contextRef="#ctx0" brushRef="#br0" timeOffset="168609.64">5278 13203 0,'14'-14'0,"-1"14"0,0-13 16</inkml:trace>
  <inkml:trace contextRef="#ctx0" brushRef="#br0" timeOffset="168852.05">5199 13256 0,'27'-27'15,"-14"27"-15,0-13 16,0 13-16,0-13 0</inkml:trace>
  <inkml:trace contextRef="#ctx0" brushRef="#br0" timeOffset="169568.95">6376 13123 0,'14'14'31,"-1"-1"-31,13 26 16,-26-12-1,0-14-15,14 0 0,-14 1 16,0 12-16,13-13 0,-13 1 0,0-1 16,0 0-16,0 0 0,0 0 15,0 14-15,0-14 16,0 0-16</inkml:trace>
  <inkml:trace contextRef="#ctx0" brushRef="#br0" timeOffset="169848.23">6469 13481 0,'-40'26'15,"27"-13"-15,0-13 0,0 13 16,13 1-16,-14-14 0,1 13 0,0-13 15,0 26-15,0-12 16</inkml:trace>
  <inkml:trace contextRef="#ctx0" brushRef="#br0" timeOffset="170076.12">6509 13454 0,'0'-13'0,"13"26"32,-13 0-17,13-13-15,-13 27 0,-13-27 16,13 13-16,0 0 0,0 0 16,0 1-16,0-1 0,0 0 15,-13 14 1</inkml:trace>
  <inkml:trace contextRef="#ctx0" brushRef="#br0" timeOffset="170292.36">6588 13507 0,'13'13'47,"14"0"-32,-27 1-15,13-1 0,-13 0 16,13 0 0</inkml:trace>
  <inkml:trace contextRef="#ctx0" brushRef="#br0" timeOffset="170530.26">6548 13533 0,'-13'14'31,"13"12"-16,0-13-15,0 1 0,-13-14 16,13 13-16,0 0 0,0 0 16,0 0-16,0 1 0,0-1 15,-13 0-15,13 0 16,-13 1 0</inkml:trace>
  <inkml:trace contextRef="#ctx0" brushRef="#br0" timeOffset="170734.62">6469 13560 0,'-79'40'15,"65"-40"-15,14 13 0,-13-13 0,0 0 16,0 13-16,0-13 0</inkml:trace>
  <inkml:trace contextRef="#ctx0" brushRef="#br0" timeOffset="171308">6363 13123 0,'0'0'15,"-13"-13"-15,0-13 16,0 26-1,-1-27 1,1 27-16,0-13 0,0 0 16,-1 0-16,1-1 0,0 1 15,0 0-15,-1 13 32</inkml:trace>
  <inkml:trace contextRef="#ctx0" brushRef="#br0" timeOffset="171497.36">6271 13070 0,'0'0'0,"0"-26"16,0 13-1,0 0 1,0-1-16,0 1 15,0 0-15,0 0 16</inkml:trace>
  <inkml:trace contextRef="#ctx0" brushRef="#br0" timeOffset="171664.08">6284 13031 0,'26'-13'16,"-12"-1"-16,-1 1 0,-13 0 16,13 13-16,-13-13 0,13-1 15,0 1-15,-13 0 16,14 13-16</inkml:trace>
  <inkml:trace contextRef="#ctx0" brushRef="#br0" timeOffset="171848.14">6363 13123 0,'27'-26'16,"-14"-1"-1,0 27-15,-13-13 16,13 13-16,-13-13 0,14 13 15</inkml:trace>
  <inkml:trace contextRef="#ctx0" brushRef="#br0" timeOffset="171992.12">6429 13110 0,'14'-13'0,"-28"26"0,41-39 15,-27 12-15,13 14 0,0-13 16</inkml:trace>
  <inkml:trace contextRef="#ctx0" brushRef="#br0" timeOffset="176393.58">4551 12872 0,'0'40'15,"0"-1"1,0 54-16,0 26 0,0 13 15,0-66 1,0 1-16,0 52 0,0-80 16,0 54-16,0-53 0,0-1 15,0-12-15,0-14 0,0 0 16</inkml:trace>
  <inkml:trace contextRef="#ctx0" brushRef="#br0" timeOffset="177186.57">4617 12779 0,'26'-26'0,"1"26"16,26-13-16,-27 13 15,27-14-15,-13 14 0,26 0 16,-13 0-16,26-13 0,1 13 0,-1 0 16,0-13-16,14 13 0,-14-13 15,27 13-15,0-13 0,13-1 0,0 1 16,-26 13-16,13-13 0,-14 13 0,-12-13 15,12-1-15,-12 14 0,-1 0 16,40-13-16,-66 13 0,0 0 16,-27 0-16,1 0 0,-1 0 15,1 0-15,-14 0 0,13 13 0,-12-13 16,12 27-16,-13-14 0,1-13 16,-14 27-16,13-14 0,0 26 15,0-12-15,-13-1 0,0 1 16,13-1-16,-13 1 0,14 52 15,-14-39-15,13 39 0,-13-52 16,13 12-16,-13 1 16,13-14-16,1 14 0,-1 0 0,-13-14 15,13 1-15,0 12 0,1-12 0,-14-1 16,13 1-16,-13-14 0,13 14 16,-13 25-16,13-38 15,-13 12-15,0-13 0,0 14 0,0-14 0,0 0 16,0 0-16,0 1 0,0-1 15,0 0-15,-13 14 16,13-14-16,-13 0 0,0 0 16,-1 1-1,1-14-15,0 13 0,-14-13 16,-26 26-16,14-13 0,-14-13 16,-40 27-16,54-14 15,-14-13-15,-80 27 0,54-27 16,0 13-16,-1-13 0,-12 0 15,12 0-15,1 0 0,-1 0 16,14 0-16,-13 0 0,0-13 0,-67-1 16,-13 1-16,80 0 0,13 0 15,-14 13-15,-39-27 16,66 27-16,14-13 0,-41 0 16,41 0-16,25 13 15,1-14-15,13 1 16</inkml:trace>
  <inkml:trace contextRef="#ctx0" brushRef="#br0" timeOffset="177722.57">7329 13295 0,'66'-13'16,"-53"13"-16,14 0 0,39 0 15,-26 0-15,13 0 0,-14 0 16,14-13-16,0 13 0,-13 0 0,13 0 16,-14 0-16,1 0 0,0 0 15,-14 0-15,27 0 0,-26 0 16,12 0-16,-12 0 0,-14 0 15,-13-13-15,26 13 16</inkml:trace>
  <inkml:trace contextRef="#ctx0" brushRef="#br0" timeOffset="178009.14">7924 13044 0,'80'0'15,"-67"13"-15,13-13 0,-12 13 0,52 14 32,-40-14-32,1 14 0,-14-14 15,0 13-15,0 1 0,-13-14 16,14 13-16,-14-12 0,-14 12 15,14-13-15,0 14 0,-13-14 16,13 0-16,-13 14 0,0-14 16,13 0-1</inkml:trace>
  <inkml:trace contextRef="#ctx0" brushRef="#br0" timeOffset="178445.27">8890 12965 0,'0'-14'16,"-13"41"-1,13-14 1,-13 0-16,13 14 16,0-14-16,-14 27 0,14-27 0,0 13 15,0-12-15,0 12 0,-13 27 16,13-40 0,0 0-16,-13 1 0,13-1 0,0 0 15,0 0-15,0 1 16</inkml:trace>
  <inkml:trace contextRef="#ctx0" brushRef="#br0" timeOffset="178810.06">8811 12951 0,'13'-53'16,"0"40"-16,0 13 0,1-13 0,-1 13 16,13-13-1,-13 26-15,1-13 16,-1 13-16,0 0 0,0 1 15,1-1 1,-14 0-16,0 0 0,0 1 0,0-1 16,-14-13-16,1 26 0,13-12 0,-13-1 15,0 0-15,-1 0 16,1 0-16,-13 1 0,13-1 0,-1-13 16,1 0-16,13 13 15</inkml:trace>
  <inkml:trace contextRef="#ctx0" brushRef="#br0" timeOffset="179045.85">9247 12753 0,'13'0'15,"-26"26"1,13-12-16,0-1 15,-13 13-15,13-12 0,-13 12 0,13 0 0,-13 14 16,-1-13-16,1-1 16,13 14-16,-40 79 15,40-106-15,0 13 16,-13 1-16,13-14 16,0 0-16</inkml:trace>
  <inkml:trace contextRef="#ctx0" brushRef="#br0" timeOffset="179552.98">9459 13044 0,'-13'-13'15,"-27"13"1,13 0 0,1 26-16,13-26 0,0 13 15,-27 27 1,27-27-16,13 1 0,-14-1 15,14 13-15,-13-13 16,26-13-16,-13 14 0,14-1 16,-1-13-16,0 0 15,0 0-15,14-13 0,-14-1 0,0 14 16,0-13-16,1 0 0,-1 0 16,13-14-16,-12 14 15,-14 0-15,13 13 0,0-13 16,0 26 15,-13 0-31,0 0 16,0 1-16,0-1 15,14 0-15,-14 0 16,13-13 0,-13 13-16,13-13 0</inkml:trace>
  <inkml:trace contextRef="#ctx0" brushRef="#br0" timeOffset="180032.94">9644 13018 0,'-13'39'16,"0"1"-1,13-27-15,0 0 0,0 1 16,0-1-16,0 0 16,13-26 15,0 0-31,-13-1 0,13 14 16,1-26-1,12 13-15,0-1 16,-12 14-1,-1 14 1,-13-1-16,13 0 16,-13 0-16,13 1 15,-13-1-15,14 0 32</inkml:trace>
  <inkml:trace contextRef="#ctx0" brushRef="#br0" timeOffset="180315.09">10160 12700 0,'0'-13'16,"-13"66"-1,0-27-15,13-13 16,-14 14-16,1 13 16,13-14-16,-13 0 0,13-12 0,-13 12 15,13 14-15,0-14 16,-14-12-16,14-1 0,14 26 16,-14-25-16,0-1 0,0 0 0,0 14 15,13-27 1</inkml:trace>
  <inkml:trace contextRef="#ctx0" brushRef="#br0" timeOffset="180677.13">9895 13018 0,'-13'-14'0,"40"28"31,-14-14-31,0 0 0,27 0 16,-27 0-16,27 0 16,-14 0-16,-13 0 0,14-14 15,-14 14-15,14 0 16,-14-13-16,13 13 0,-13-13 0,1 13 0,-1-13 16,0 13-16,-344 53 0,675-120 15,-330 67-15,-1-13 16,0 13-16,0 0 15,-13 13-15,0 1 16,14-14-16,-14 26 16,0 1-1,0-14-15,0 0 16,0 0-16,0 0 0,0 1 16,0-1-16,13-13 15</inkml:trace>
  <inkml:trace contextRef="#ctx0" brushRef="#br0" timeOffset="180829.97">10385 12872 0,'0'-13'0,"0"0"31</inkml:trace>
  <inkml:trace contextRef="#ctx0" brushRef="#br0" timeOffset="181627.42">10411 12965 0,'14'13'31,"-14"13"-16,-14-12-15,14-1 16,0 0-16,0 0 0,0 0 16,0 1-16,0-1 15,0 13-15,0-12 16,0-1 0,14-26 30,-1 13-30,-13-14-16,13 14 0,0-13 0,1 0 16,-1 13-16,26-27 31,-25 27-31,-1 0 16,0 0-16,0 0 15,1 14-15,-1-1 16,0 0-1,-13 0-15,13 1 16,0-14 0,1 0-1</inkml:trace>
  <inkml:trace contextRef="#ctx0" brushRef="#br0" timeOffset="182129.97">10848 13031 0,'-53'0'0,"27"13"16,12 0-1,1 0 1,26 1-1,1-1 17,-1-13-17,0 0-15,-13 13 0,13 0 16,-13 1 0,13 12-16,-13 0 15,0-12-15,0 12 0,-13-13 16,13 1-16,-13 12 15,0-13-15,13 1 0,-13-1 16,-1 0-16,1-13 0,13 13 16,-13-13-16,0 0 15,-1-13 1,14 0 0,14 0-16,-1-1 15,0-12-15,0 26 0,14-27 16,12 14-1,-25 0-15,-1 0 0,13 13 16,27-27-16,-39 27 16,12-13-16,0 13 15,1-13-15</inkml:trace>
  <inkml:trace contextRef="#ctx0" brushRef="#br0" timeOffset="182689.61">11602 13004 0,'0'0'16,"26"14"15,-12-14-15,-1 0-16,0 0 15,0 0-15,27 0 0,-13 0 0,12 13 16,14-13-16,-40 0 15,14 0-15,-1 0 16,-13 0-16,27 0 0,-27 0 0,1 0 16,25 0-16,-25 0 15,-1 0 1</inkml:trace>
  <inkml:trace contextRef="#ctx0" brushRef="#br0" timeOffset="183189.24">11906 12885 0,'0'27'16,"13"-14"0,1 0-16,-1 0 15,13 1 1,27-1 0,-39 0-1,-1-13-15,13 13 0,-13-13 16,1 0-16,-14 14 0,13-14 15,0 13-15,0-13 16,-13 13-16,0 0 0,0 0 16,-26 27-1,-1-13 1,1-14-16,13 0 0,-14 0 16,1 0-16,-27 27 0,40-27 15,-14 1-15,14-1 0,0 0 0,0 0 16</inkml:trace>
  <inkml:trace contextRef="#ctx0" brushRef="#br0" timeOffset="191811.84">12965 12541 0,'-27'13'15,"27"1"1,-13-1-16,13 0 15,0 0-15,-13 1 0,13-1 16,0 0-16,0 0 0,0 1 16,0-1-16,0 0 0,0 0 15,0 0-15,13-13 0,-13 14 16,13-14-16,0 0 16,1 0-16,-1 0 15,0-14-15,0 1 16,1 13-16,-14-13 0,13 13 15,-13-13-15,13 13 0,-13-13 16,13 13-16,-13 13 31,13 0-15,-13 0 0,14-13-1,12 0 1,1-13-1,-27 0-15,13 13 16,-13-13-16,13-1 0,-13 1 0,13-13 16,0 12-16,-13 1 0,14 0 15,-14 0-15,13-1 16,-13 1-16</inkml:trace>
  <inkml:trace contextRef="#ctx0" brushRef="#br0" timeOffset="192233.06">13414 12568 0,'-26'13'32,"13"13"-17,-1-26-15,14 14 0,0-1 16,-13-13-16,13 13 0,0 0 0,0 1 16,0-1-1,13-13-15,14-13 16,-14 13-1,-13-14-15,13 14 0,14-26 32,-14 13-32,0-1 15,1 28 17,-14 12-17,0-13 1,13 1-1,-13-1 1,13-13-16</inkml:trace>
  <inkml:trace contextRef="#ctx0" brushRef="#br0" timeOffset="192502.96">13838 12356 0,'0'0'16,"-14"26"-1,1 27 1,0-39-16,0 12 16,13 1-16,-13-14 0,13 13 15,-14 14-15,1-27 0,13 0 0,-13 1 16,13-1-16,0 0 0,0 0 15,-13 1-15,13-1 16,0 0-16,13 0 16</inkml:trace>
  <inkml:trace contextRef="#ctx0" brushRef="#br0" timeOffset="192708.24">13652 12674 0,'0'-14'16,"14"1"-1,-1 13-15,-13-13 0,13 13 16,27-13 0,-27-1-16,0 14 15,1-13-15,-1 13 0,0-13 0,0 13 16,0 0-16,1 0 0,-1-13 15</inkml:trace>
  <inkml:trace contextRef="#ctx0" brushRef="#br0" timeOffset="193093.16">13944 12621 0,'26'-14'0,"-26"1"0,13 0 31,-13 0-15,-26 26 15,13-13-31,13 13 16,0 0-16,0 1 16,0-1-16,0 0 15,13 0 1,0 1-1,0-14-15,0 0 16</inkml:trace>
  <inkml:trace contextRef="#ctx0" brushRef="#br0" timeOffset="193397.33">14155 12502 0,'13'0'15,"-13"13"17,0 0-32,0 0 0,-13 14 15,0-14-15,0 0 0,13 0 16,0 1-16,-13-14 0,13 13 16,-14 0-16,41-26 46,-1-14-30,-13 14-16,14-13 16,-14 26-16,0-14 0,1 1 15,-1 0-15,0 13 0,0-13 16</inkml:trace>
  <inkml:trace contextRef="#ctx0" brushRef="#br0" timeOffset="195385.99">13097 13031 0,'-40'0'16,"27"0"-16,13 13 16,-13 0-1,13 0 1,13 1-1,0-1 1,0 0 0,-13 0-16,14-13 15,-14 14 1,0-1-16,0 0 16,-14 13-1,1-26-15,0 14 16,0-1-16,0-13 15,-1 13-15,1-13 16,13 13 0</inkml:trace>
  <inkml:trace contextRef="#ctx0" brushRef="#br0" timeOffset="196075.96">13256 13070 0,'-14'27'47,"14"-14"-16,-13 14-15,26-14-16,1 0 31,-1-13-15,0-13 0,0 0-1,1 13 1,-14-14-16,13 14 31,0-13-31,0 26 31,-13 1-15,13-1 0,1-13-1,-14 13 1,13-13-16,0 0 15,0-13-15,1 13 16,-1 0-16,13-13 16,-12 13-1,-1 0 1,0 0-16,0 0 16,0 13-1,1 0 16,-1-13 1,0 0-17,0 0-15,1 0 16,-1-13 0,0 13-1,0 0-15,0 0 16,14 0-16</inkml:trace>
  <inkml:trace contextRef="#ctx0" brushRef="#br0" timeOffset="196641.53">13851 12912 0,'0'-14'16,"-13"54"0,-1-13-1,14-14-15,0 0 0,0 0 16,0 1-16,-13-1 0,26 0 0,-13 0 15,0 0-15,0 1 0,14-1 16,-1-13-16,-13 13 16,13-13-16,14 0 15,-14 0-15,-13-13 16,13 13-16,0 0 0,1 0 16,-1 0-16,0 0 15,0 0 1,0 13-1,-13 0-15,0 1 16,0-1 0,0 0-1</inkml:trace>
  <inkml:trace contextRef="#ctx0" brushRef="#br0" timeOffset="196773.22">14076 12978 0</inkml:trace>
  <inkml:trace contextRef="#ctx0" brushRef="#br0" timeOffset="197288.26">14168 13044 0,'-26'0'16,"13"13"0,0-13-1,13 13-15,13 1 47,0-14-31,0 0-1,0 13 1,-13 0-16,0 0 16,0 1-16,-13-1 15,13 0-15,0 0 0,-13 0 16,13 1-16,-13-1 15,0 0-15,13 0 16,-14 1-16,1-14 16,0 13-1</inkml:trace>
  <inkml:trace contextRef="#ctx0" brushRef="#br0" timeOffset="197677.2">14314 12978 0,'0'26'31,"-13"-12"-31,-14 25 32,27-26-32,-13 1 0,0 25 31,0-25-31,26-14 31,0 0-15,0 0-16,1 0 15,-1 0 1,0 0 0,0 13-16,0-13 31,1 13-15,-1-13-16,0-13 15</inkml:trace>
  <inkml:trace contextRef="#ctx0" brushRef="#br0" timeOffset="197935.22">14631 12898 0,'0'0'16,"-13"14"-1,0 39 1,0-40-1,13 0-15,-13 0 16,13 1-16,0 12 16,0-13-16,0 0 15,0 1-15,0-1 0,0 0 16,0 0 0,13-13-1</inkml:trace>
  <inkml:trace contextRef="#ctx0" brushRef="#br0" timeOffset="198184.03">14526 13044 0,'0'0'16,"13"-13"-1,27 13 1,-27 0-1,0-13-15,0 13 16,14 0-16,-14 0 0,0 0 0,14-14 16,-14 14-1,0 0-15,0 0 0,14 0 16,-14 0 0</inkml:trace>
  <inkml:trace contextRef="#ctx0" brushRef="#br0" timeOffset="201512.49">13097 13533 0,'-13'14'31,"-1"12"-15,1-13-16,13 1 15,0 12-15,-13-13 0,13 0 16,-13 1-16,13-1 0,0 13 15,-13-12-15,13-1 0,0 0 16,-14 0-16,14 1 16</inkml:trace>
  <inkml:trace contextRef="#ctx0" brushRef="#br0" timeOffset="201841.17">13070 13507 0,'40'-53'15,"-40"40"-15,13 0 16,1 13-16,12 13 15,0 13 1,-26-12-16,0-1 16,14 0-16,-14 0 0,-14 14 15,14-14-15,-13 13 16,13-12 0,-13-1-16,0 0 15,0 0 1,-1 0-1</inkml:trace>
  <inkml:trace contextRef="#ctx0" brushRef="#br0" timeOffset="202203.89">13216 13772 0,'26'-27'15,"-12"27"1,-1-13-16,-13 0 0,26-1 16,-26 1-1,14 0-15,-14 0 16,-14-1 15,1 41-15,0-27-16,13 13 15,-13 0-15,13 1 16,13-1-16,0 0 16,0-13 15,14 0-31</inkml:trace>
  <inkml:trace contextRef="#ctx0" brushRef="#br0" timeOffset="202537.9">13494 13652 0,'-13'0'16,"-1"14"-1,14-1 1,0 13 15,14-12-31,-14-1 0,0 13 31,-14-12-15,14-1-16,-13-13 16,0 13-1,0-13 1,-1-13 0</inkml:trace>
  <inkml:trace contextRef="#ctx0" brushRef="#br0" timeOffset="203016.19">13613 13533 0,'0'40'16,"-13"-27"-16,13 1 15,0-1-15,0 0 16,0 0-16,0 14 0,0-14 0,0 0 16,0 0-16,0 1 0,0-1 15,0 0 1</inkml:trace>
  <inkml:trace contextRef="#ctx0" brushRef="#br0" timeOffset="203373.47">13573 13692 0,'13'0'31,"14"0"0,-14-13-31,27 0 31,-27 13-31,0 0 0,0-14 16,1 1-16,-1 13 0,-13-13 16,13 13-16,0-13 15,1 13-15,-14-13 16,13 26 0,-13 0-1,0 0 1,0 0-16,0 1 15,0-1-15,0 13 16,13-12 0,-13-1-16</inkml:trace>
  <inkml:trace contextRef="#ctx0" brushRef="#br0" timeOffset="204105.19">13904 13560 0,'-40'13'0,"40"0"15,-13-13-15,13 14 0,-13-1 16,13 0-16,-14 0 16,14 0-16,14 1 15,-14-1-15,0 0 0,13-13 16,0 13-16,0-13 0,1 0 16,-1 0-16,0 0 15,0 0-15,1-13 16,-1 13-16,0-13 0,0 0 15,0 13-15,1-14 0,-1 1 16,0 0-16,0 13 16,-13-13-1,14 26 1,-14 0 0,0 0-16,0 1 15,13-1-15,-13 0 16,0 0-1,13 1 1</inkml:trace>
  <inkml:trace contextRef="#ctx0" brushRef="#br0" timeOffset="204241.26">14182 13547 0</inkml:trace>
  <inkml:trace contextRef="#ctx0" brushRef="#br0" timeOffset="204789.2">14327 13441 0,'-13'26'31,"13"-12"-31,-13 12 16,13-13-16,0 14 0,0-14 15,0 0-15,-13 14 16,13-14-16,13 0 0,-13 13 31,13-12-15,-39-28 31,-1 28-32,14-14-15,0 13 16,-1 0-1,1 0-15,26 1 32,1-1-17,-1-13-15,0 0 16,0 0-16,14 0 16,-14 0-16</inkml:trace>
  <inkml:trace contextRef="#ctx0" brushRef="#br0" timeOffset="205317.51">14367 13666 0,'13'-27'0,"-13"14"31,-13 26 16,13 0-32,0 1-15,0-1 16,13-13-16,-13 13 16,13 0-16,1-13 15,-1 14-15,0-14 16,13 0-16</inkml:trace>
  <inkml:trace contextRef="#ctx0" brushRef="#br0" timeOffset="205655.4">14737 13388 0,'-13'13'16,"0"14"-16,13-14 0,-13 13 15,-1 1-15,14-14 0,-13 13 16,0 14-16,0-13 0,13-1 16,-14 27-1,1-27-15,13-12 0,0-1 16,0 0-16</inkml:trace>
  <inkml:trace contextRef="#ctx0" brushRef="#br0" timeOffset="206365.92">14989 13533 0,'-14'14'0,"14"-1"15,-13 0-15,13 0 16,0 1-16,-13-1 16,13 13-1,13-26 16,-13-13-15,13 13-16,1-13 16,-1 13-16,-13-13 15,13 13 1,0 0-16,1 0 16,-14 13-1,13-13-15,-13 13 16,13-13-1,-13 13 1,13-26 15,0 13-31,1-13 32,-1 13-17,0 0-15,0 0 16,1 13-16,-1 0 15,0-13 1,0 13-16,1-13 16,-1 0-16</inkml:trace>
  <inkml:trace contextRef="#ctx0" brushRef="#br0" timeOffset="206885.36">15372 13586 0,'0'-13'0,"-26"13"32,13 13-17,-1 1 17,1-1-32,13 0 0,-13 0 15,26 0 1,0-13 15,14-13-15,-14 13-1,0-13 1,1 13 0,-1 13 46,-13 0-46,13 1-1</inkml:trace>
  <inkml:trace contextRef="#ctx0" brushRef="#br0" timeOffset="207277.37">15505 13573 0,'-14'27'15,"14"-14"1,0 0-16,0 0 31,27-13 1,-14-13-17,0 13 1,1 0-16,-1-13 31,0 13-31,0 13 0,0 0 16,1 0 15</inkml:trace>
  <inkml:trace contextRef="#ctx0" brushRef="#br0" timeOffset="207822.17">15729 13560 0,'0'0'31,"-13"26"0,13-12-15,13-1-16,1 0 15,-1-13 1,0 0 0,0-13-16,1 13 0,-1 0 15,0-13-15,0-1 16,1 14-1,-14-13-15,0 40 63,0-14-47,0 0-1,13-13-15,-13 13 16</inkml:trace>
  <inkml:trace contextRef="#ctx0" brushRef="#br0" timeOffset="208314.94">16021 13547 0,'0'26'15,"0"-13"1,-14 1 0,14-1-16,0 0 15,0 0 1,27-26 46,-1 0-46,-26 0-16,13 13 0,14-14 31</inkml:trace>
  <inkml:trace contextRef="#ctx0" brushRef="#br0" timeOffset="208620.95">16245 13626 0,'-13'0'47,"0"13"-32,0 0-15,13 1 16,13-1-1,0-13 1,27 0 0</inkml:trace>
  <inkml:trace contextRef="#ctx0" brushRef="#br0" timeOffset="209725.3">16325 12184 0,'172'13'0,"-133"1"0,-12-14 15,-14 0-15,14 0 0,-1 0 16,-13 0-16,27 0 0,-27 0 15,0 0-15,1 13 0,-1-13 16,0 0-16,0 13 16,-13 0-16,0 0 0,14 27 15,-14 0-15,0-1 16,-14 1-16,14 0 0,0 105 16,0-92-1,0 0-15,0 13 0,0 67 0,0-80 16,14 79-16,-1-79 15,0 66-15,14 0 16,-1-13-16,-13-53 16,14 39-16,-14-12 15,0-41-15,14 27 16,-14-13-16,-13-39 16,13 25-16,0 1 15,-13-14-15,13-12 16,-13-1-16,0 0 0,14 0 15,-14 1 1,-14-1 0,1-13-1,0 13-15,-13-13 0,-1 0 16,-26 0-16,14 0 16,-14 0-16,26 0 15,-39 0-15,40-13 16,-27 13-16,13 0 15,27 0-15,-14-13 16,14 13-16</inkml:trace>
  <inkml:trace contextRef="#ctx0" brushRef="#br0" timeOffset="210587.03">17608 12991 0,'0'-13'15,"26"13"-15,-12 0 0,-1 0 16,0 0-16,14 0 0,-14 13 16,13-13-16,1 0 0,39 0 0,-26 0 15,-14 0-15,14 0 0,26 0 16,-40 0-16,-12 0 16,12 0-16,-13 0 0,14 0 15,-1 0-15,-13 0 16,1 0-1</inkml:trace>
  <inkml:trace contextRef="#ctx0" brushRef="#br0" timeOffset="210925.92">18005 12832 0,'0'0'15,"13"14"-15,0-14 16,14 13-16,-1 0 16,-12 0-16,12 0 15,14 1-15,-14-1 0,1 0 16,-14 0-16,0 1 15,0-14-15,0 13 0,-13 0 16,0 0-16,0 1 0,-13 12 16,13-13-16,-13 0 15,-13 14-15,12-14 0,-39 27 16,40-27-16,-13 13 0,-1-12 16,1-1-16,13 0 0,-1 0 15,1-13-15</inkml:trace>
  <inkml:trace contextRef="#ctx0" brushRef="#br0" timeOffset="-214501.9">19156 12475 0,'-13'66'0,"13"-53"16,0 1-16,-14-14 0,14 13 0,0 0 15,0 0-15,0 1 0,14-14 16,-14 13-16,0 13 15,0-12 1,0-1 0,13-13-1,0 0 1,0 0 0,1 0-16,-14-13 15,13 13-15,0-14 0,0 14 16,-13-13-16,13 13 15,-13-13-15,14 13 0,-14-13 16,13-1-16,-13 1 16,13 13-1,-13-13 1,13 13 46,1 0-46,12 0 0,-13 0-16,1 13 15,-1-13-15,0 0 16,0 27 0,-13-14-16,13 0 15,-13 0-15,0 1 16,0-1-1,0 0-15,0 0 16,14 0 0</inkml:trace>
  <inkml:trace contextRef="#ctx0" brushRef="#br0" timeOffset="-213780.74">19592 12554 0,'14'53'16,"-14"-39"0,0-1-16,0 0 0,-14-13 15,14 13-15,0 1 0,0-1 16,0 0-16,27-26 47,-14 13-47,14-40 15,-1 27 1,-13 0-16,0-1 0,1 1 16,-1 0-16,0 13 0,0-13 15,1 13-15,-1-14 0,0 14 16,0-13-16,1 13 0,-1 0 0,0 0 15,0-13-15,0 13 16,1 0 0,-14 13 15,0 0-31,-14 1 16,14-1-16,0 13 15,14 1 1,-14-14-16,13-13 15,-13 13-15,13-13 0,0 0 16,1 0-16,-1-13 16,0 0-1,-13 0-15,0-14 32,-13 14-32,13 0 15,-13 13 1,-1 0-16,1 0 0,0 0 15</inkml:trace>
  <inkml:trace contextRef="#ctx0" brushRef="#br0" timeOffset="-213087.73">20042 12581 0,'-13'26'47,"13"-12"-31,13-1-1,0-13 1,1 0-16,-1 0 16,0-13-1,0 13-15,1-14 16,-1 28 0,0-1 15,-13 0-16,13-13 1,14 0 0,-14-13-1,0 13-15,0-13 16,14-14 0,-14 27-1,-13-13 1,13 26-1,-13 0 1,0 1 0,0-1-16,14-13 0,-1 13 15,0-13 1,0 0-16,0 0 0,1 0 16</inkml:trace>
  <inkml:trace contextRef="#ctx0" brushRef="#br0" timeOffset="-212776.47">20704 12369 0,'0'0'16,"-14"27"0,1-14-1,0 27-15,13-27 16,-13 13-16,0-12 0,-14 52 16,27-40-1,-13-13-15,13 1 16,-13-1-16,13 0 15,0 0-15,0 1 16</inkml:trace>
  <inkml:trace contextRef="#ctx0" brushRef="#br0" timeOffset="-212448.62">20849 12396 0,'-13'26'47,"0"-13"-47,13 1 0,-14-14 0,1 26 15,0-13 1,13 1-16,-13-14 0,13 13 15,-13 0-15,13 0 0,0 0 16,13 1 0,0-1-1,0-13-15,0 0 16,14 0 0,-14 0-1</inkml:trace>
  <inkml:trace contextRef="#ctx0" brushRef="#br0" timeOffset="-212219.27">20505 12515 0,'27'0'0,"-54"0"0,67 0 16,-27 0-16,14 0 0,-14 0 15,13 0-15,14 0 0,-14-13 16,1 13-16,-1 0 0,1 0 0,-14 0 16,13-14-16,14 14 15,-27 0-15,1 0 0,-1 0 16,0 14-16</inkml:trace>
  <inkml:trace contextRef="#ctx0" brushRef="#br0" timeOffset="-211390.38">20002 12872 0,'53'13'15,"0"-13"1,-26 13-16,12-13 0,1 0 0,13 14 0,53-14 16,-53 13-16,0-13 15,53 0-15,-53 13 16,-14-13-16,14 0 0,0-13 0,-13 13 15,52-13-15,-52 13 16,0-14-16,-1 1 0,1 0 0,53-27 16,-40 27-16,52-40 15,-12 0-15,-40 27 16,-13-1-16,-14 1 0,1-1 0,25-26 16,-38 40-16,-1-26 15,-13-1-15,0 13 16,-13 1-16,-14-1 0,-26-39 15,14 27-15,-14 12 0,-53-39 16,-13 0-16,53 39 16,0 1-16,13 0 15,-14-1-15,-78-13 0,66 14 16,-1-1-16,-65-12 0,65 26 16,14-1-16,-238-39 15,158 27 1,67 26-16,26 0 0,-79 0 15,66 13-15,-80 14 16,-52 12-16,65 1 16,80-14-1,-66 14-15,0 0 16,27 13-16,39-27 16,0 14-16,-40 13 0,54-27 15,12 1-15,-26 26 0,40-14 16,0-12-16,0-14 0,-1 27 15,28 13-15,-1-27 16,13 1-16,107 78 16,-14-52-16,-40-26 15,106 26-15,-92-27 0,105 1 16,-13 12-16,-13-12 16,-92-14-1,-14-13-15,53 26 0,-79-26 16,-14 14-16,27-14 0,-27 13 15,1-13-15,-14 13 16,0-13-16,1 0 0,-1 13 0</inkml:trace>
  <inkml:trace contextRef="#ctx0" brushRef="#br0" timeOffset="-206404.84">12449 12726 0,'39'0'47,"-25"0"-31,-1 0-16,0-13 0,13 13 0,1 0 16,-1-13-16,1 13 0,-1 0 15,14-13-15,-27 13 0,14 0 16,-14-13-16,0 13 0,14 0 15,-14 0-15,0 0 0,0-14 0</inkml:trace>
  <inkml:trace contextRef="#ctx0" brushRef="#br0" timeOffset="-205180.7">12462 13282 0,'26'0'15,"-26"-13"-15,14 13 0,-1 0 0,0 0 16,0 0-16,0 0 0,1-13 0,-1 13 16,13 0-16,-12-14 0,12 14 15,-13 0-15,14-13 0,-14 13 16,40-13-16,-27 13 16,-12-13-16,-1 13 0,13 0 15,-12 0-15,-1-14 16</inkml:trace>
  <inkml:trace contextRef="#ctx0" brushRef="#br0" timeOffset="-203976.25">12382 13838 0,'106'-27'16,"-79"14"-16,-1 13 0,1 0 0,12-13 16,-12 0-16,13 13 0,-14 0 15,-13-14-15,14 14 0,-1 0 0,1 0 16,-14-13-16</inkml:trace>
  <inkml:trace contextRef="#ctx0" brushRef="#br0" timeOffset="-202567.61">12356 12382 0,'13'-13'16,"-13"40"-1,0-14-15,-13 27 0,0 26 16,0 0-16,-67 278 15,54-238-15,-1 13 16,-26 92-16,27-118 0,-1 13 16,1-14-16,13-12 0,0-1 15,13-13-15,-14 1 0,1-1 0,13 0 16,0-13-16,0-14 0,-13-12 16,13-1-16,0 1 0,0-14 0,0 0 15</inkml:trace>
  <inkml:trace contextRef="#ctx0" brushRef="#br0" timeOffset="-200547.59">12515 12343 0,'13'-13'16,"0"13"-1,0 0-15,1 0 0,-1 0 16,13 0-16,1-14 0,13 14 0,-1 0 15,54 14-15,-40-14 0,13 0 16,-13 0-16,26 0 0,1 0 0,-1 0 16,-13 0-16,13 0 15,80 0-15,-66 0 0,79 0 16,-93 0-16,14-14 0,-1 14 16,1-13-16,0 13 0,-1-13 15,14 13-15,66-13 16,13-1-16,-105 14 0,-1 0 15,0 0-15,1 0 0,-27 0 16,66 14-16,-53-14 0,0 13 16,27 0-16,-40-13 0,-1 13 15,1-13-15,-13 14 0,0-14 16,-1 13-16,28 0 0,-41-13 16,0 0-16,1 13 0,13-13 15,-27 0-15,0 13 0,0-13 16,1 0-16,-1 0 15,0 14 1,0-14 0,0 0 15,-13 13-15,0 0-1,0 0-15,14 27 31,-14-27-31,0 1 0,0 12 16,0 0-16,0 1 0,0-1 0,0 14 16,0 0-16,0-1 0,13 1 0,-13 0 15,13 0-15,-13-1 0,13 1 16,-13 13-16,14-13 0,-14-1 16,13 54-16,0-54 0,-13 1 15,13 0-15,0 39 16,1-13-16,-14-39 0,0-1 0,13 14 15,-13-14-15,0 1 16,13-14-16,-13 14 0,0-14 16,0 13-16,13-13 0,-13 1 15,0-1-15,0 0 0,0 0 16,14 1-16,-14-1 0,0 0 16,0 0-16,13 1 15,-13-1-15,0 0 16,13 0-1,-13 0-15,0 1 32,0-1-32,13 0 0,-13 0 15,0 1-15,0-1 16,0 0-16,-13 14 16,13-14-1,0 0-15,0 0 0,0 0 16,0 1-1,0-1-15,0 0 16,-13-13 0,13 13-1,-27-13 1,14 0 0,-13 0-16,12 14 0,-12-14 15,13 0-15,-53 0 0,26 0 16,-13 0-16,0 0 0,-119 0 15,106 0-15,0 0 16,-13 0-16,-1 0 0,14 0 0,-93 0 16,80 0-16,-1 0 15,-12 0-15,12 0 0,1 0 0,0 0 16,-80 0-16,80 0 16,12 0-16,1 0 0,13 0 15,-66 0-15,53 0 0,13 0 16,0-14-16,0 28 0,14-28 0,-1 14 15,0 0-15,-26 14 16,27-14-16,12 0 0,-13 0 0,14 0 16,-40 0-16,26 0 15,14 13-15,-1-13 0,1 0 0,-1 0 16,14 0-16,-13 0 0,-14 0 16,27 0-16,-1 0 0,-12 0 15,0 0-15,-14 0 16,27 0-16,-1 0 0,-12 0 15,13 0-15,-1 0 0,-12 0 16,13 0-16,-14 0 0,14 0 0,0 0 16,-14-13-16,1 13 0,-14 0 0,27 0 15,-13 0 1,-41-14-16,41 14 0,13 0 16,-14 0-16,14 0 0,-13 0 0,-1-13 15,14 13-15,-27 0 16,27 0-16,-13 0 0,12 0 0,1 0 15,-13 0-15,12 0 0,1 0 16,0 0-16,-14 0 0,14 0 0,0 13 16,-13-13-16,-1 0 15,1 0-15,-1 0 16,1 0-16,12 0 16,1 14-16,0-14 0,0 0 0,0 0 15,-14 13-15,14-13 0,0 0 16,-1 0-16,1 13 0,0-13 15,0 0-15,0 0 0,-14 13 16,14-13-16,0 0 16,-1 0-16,1 0 0,0 14 15,0-14-15,-1 0 16,1 0-16,-13 0 16,13 0-16,-1 0 0,1 0 15,0 0-15,0 0 0,-14 0 16,14 0-1,-27 13 1,27-26-16,0 26 0,0-26 0,-1 26 16,1-13-1,0 0-15,0 0 16,-1 0-16,1 0 16</inkml:trace>
  <inkml:trace contextRef="#ctx0" brushRef="#br0" timeOffset="-189624.87">6945 12515 0,'-26'13'46,"52"-26"17,-12 13-63,-1 0 16,13-13-16,-13 13 0,14 0 0,92-27 31,-79 14-31,-1 0 0,-12 13 0,-1 0 15,1-14-15,12 14 0,-12-13 16,-14 13-16,14 0 0,-1-13 0,0 13 16,1-13-16,-14 13 0</inkml:trace>
  <inkml:trace contextRef="#ctx0" brushRef="#br0" timeOffset="-189271.95">7474 12277 0,'27'0'16,"-14"13"0,0-13-16,1 13 0,-1 0 0,0 1 15,0-1-15,1-13 0,-1 13 16,-13 0-16,13 0 0,-13 1 16,13-1-16,-13 0 0,0 0 0,0 1 15,0-1-15,0 0 16,0 0-16,-13 1 0,13-1 0,-13-13 15,13 13-15,-13 0 0,-1 0 16</inkml:trace>
  <inkml:trace contextRef="#ctx0" brushRef="#br0" timeOffset="-187534.48">8083 12091 0,'-26'53'15,"26"-39"-15,-14-1 0,14 0 0,0 14 0,0-14 16,0 13-16,0-13 0,0 1 16,0 12-16,0-13 0,14 1 15,-14-1-15,13 0 0,-13 0 0,13 0 16,0-13-16,0 14 0,1-14 15,-1 0-15,13 0 16,-26-14-16,14 1 0,-1 13 0,0-13 16,-13-13-16,13 12 0,-13-12 0,0 13 15,0-14-15,0 1 0,0 13 16,0-14-16,-13-13 0,13 27 16,0-13-16,-13 12 0,13 1 15,0 0-15,-13 0 0,13 0 16,-14 13-16,1 0 15,0 13 1,13 26 0,13-25-16,-13-1 0,13 27 15,-13-14-15,14-13 0,-14 14 16,13-1-16,-13-13 0,13 1 0,-13-1 16,13 13-16,-13-12 0,14-1 0,-1 0 15,-13 0-15,13-13 16,-13 13-16,13-13 0,-13 14 15,13-14-15,1 0 0</inkml:trace>
  <inkml:trace contextRef="#ctx0" brushRef="#br0" timeOffset="-187011.6">8427 12131 0,'0'-13'0,"-13"39"0,0-26 0,13 14 15,0-1-15,-14 0 0,1 27 16,26-14 15,-13-13-15,14 1-16,12-28 15,-13 1-15,0 13 16,1-13-16,-1 0 16,0 13-16,-13-13 0,13 13 15,1 0 1,-1 26 0,-13-13-1,13-13-15,-13 13 16,13-13-16,0 14 15,1-1 1,-1-13-16</inkml:trace>
  <inkml:trace contextRef="#ctx0" brushRef="#br0" timeOffset="-185983.41">8916 12105 0,'-13'-14'16,"-26"28"0,25-1-16,1 0 15,13 0-15,-13 1 0,13-1 16,0 0 0,0 0-1,13-26 1,14 13-1,-27-13-15,13 13 0,-13-13 16,13 13-16,0 0 16,0 0-1,1 26 17,-1-26-32,-13 13 0,13-13 0,-13 14 15,13-28 1,1 14-16,-1 0 15,0-13-15,0 0 0,-13 0 16,14-1-16,-14 1 0,13 0 0,-13 0 16,13-14-16,0 14 0,-13-13 15,27-1-15,-27 1 0,13-1 16,-13 14-16,13 13 16,-13-13-16,0-1 15,0 41 1,0-14-1,-13 0-15,13 1 0,0 25 16,0 1-16,0-27 16,-13 0-16,26 1 0,-13-1 15,0 0-15,0 0 0,13 1 16,0-1-16,1-13 16,-1 0-16,0 0 15,0 0 1,1 0-16,-1 0 0,0 0 31,-13 13-31,13-13 16,0 13-1</inkml:trace>
  <inkml:trace contextRef="#ctx0" brushRef="#br0" timeOffset="-185816.25">9459 11986 0,'0'26'16,"0"-52"-16,-13 39 47</inkml:trace>
  <inkml:trace contextRef="#ctx0" brushRef="#br0" timeOffset="-185570.73">9565 11840 0,'0'53'0,"0"-40"16,-14 80 0,14-80-16,0 14 15,-13-1-15,13 0 0,0-12 0,0 12 16,0-13-16,-13 1 0,13-1 16,0 0-16,0 0 0,0 1 0,0-1 15</inkml:trace>
  <inkml:trace contextRef="#ctx0" brushRef="#br0" timeOffset="-185059.87">9485 12211 0,'-13'-14'15,"26"1"17,14 0-17,-14 13 1,0 0-16,0-13 15,1 13-15,12-14 0,-13 14 0,1-13 16,-1 13 0,0-13-16,-172 106 15,331-186 1,-158 93-16,-1 13 16,0-13-1,0 0 16,0 0-31,1 0 16,-1 0-16,-13 13 16,0 1-16,13-1 15,-13 0-15,0 0 0,0 1 16,0 12-16,-13 14 16,0-27-16,13 13 0,-14-12 15,1 12-15,-13 0 0,26-12 16,-13-1-16,-1 0 0,1-13 15,13 13-15,-13-13 16,39-26 0,-12 13-1,-1-1-15,0 1 0,0 0 16,14 0-16,-14 0 0,53-14 16,-40 14-16,1 0 0,-14 13 15,40-27-15,-26 27 16</inkml:trace>
  <inkml:trace contextRef="#ctx0" brushRef="#br0" timeOffset="-184424.48">10636 12012 0,'119'13'0,"-66"-13"0,-26 0 16,79-13-1,-54 13-15,1 0 0,0 0 16,0-13-16,27 13 0,-1 0 0,0-13 15,107 13-15,-81 0 16,-12 0-16,26 0 0,13 0 0,1 0 16,12 13-16,-13-13 0,14 0 0,145 26 15,-145-12-15,-1-14 16,1 13-16,145 13 0,-146-13 16,1 1-16,-1-1 0,1 0 15,-1 14-15,1-14 0,-1 0 0,1 14 16,-1-1-16,1-13 0,-14 14 15,14-1-15,-14 1 0,0-1 16,0 0-16,1 1 0,-1-1 0,0 14 16,133 13-16,-146-27 0,119 27 15,-119-26-15,0-1 16,-13 1-16,-27-1 0,14-13 0,66 27 16,-14 0-16,-79-27 15,-13 0-15,0 1 0,-26-14 16,-1 13-16,1-13 0</inkml:trace>
  <inkml:trace contextRef="#ctx0" brushRef="#br0" timeOffset="-184323.46">17899 12859 0,'27'-27'47,"-41"14"-16</inkml:trace>
  <inkml:trace contextRef="#ctx0" brushRef="#br0" timeOffset="-183969.58">17780 12660 0,'26'14'0,"-52"-28"0,66 28 16,-27-1-16,0-13 15,14 13-15,-27 0 0,26 14 16,-26-1-16,0-13 0,0 1 15,0-1-15,-13 13 0,0-12 16,-1-1-16,1 0 0,-13 13 0,-1 1 16,-52-1-16,39 1 15,-13-1-15,0-12 0,0 12 16,-52 14-16,38-14 0</inkml:trace>
  <inkml:trace contextRef="#ctx0" brushRef="#br0" timeOffset="-180893.11">12912 12409 0,'-27'-27'0,"27"14"0,-13 13 16,13-13-16,-13 13 16,0-13-16,-1 13 0,14-13 15,-13 13-15,0-14 0,0 14 16,-1 0-16,1-13 0,-27 13 15,27-13-15,-13 13 0,-1 0 0,1 0 16,13 0-16,-14 0 0,1 0 16,-1 0-16,1 0 0,-27 13 15,-13 0-15,26 1 16,14-1-16,-14 0 0,13 0 16,-12 0-16,12 1 0,-39 25 15,40-25-15,-1 12 0,1-13 0,-1 1 16,1 12-16,-1-13 0,1 14 15,13-14-15,-14 13 0,14-12 0,0-1 16,0 13-16,-14 1 0,14-1 0,0 1 16,-14-1-16,1 27 15,13-13-15,-1-14 0,1 1 16,0 12-16,13 1 0,-13 0 16,13-14-16,-14 1 0,14-1 15,0 14-15,0-14 0,0 1 0,0-1 16,14 1-16,-14 12 0,0 1 0,13-14 15,-13 14-15,26 26 16,-12-39-16,-1 12 0,0-12 0,0-1 16,14 1-16,-14-1 0,13 1 15,-12-1-15,12 1 0,0-1 16,67 40-16,-40-13 16,-13-40-16,-1 14 0,-12-14 15,13 14-15,-1-14 0,1 13 16,-14-13-16,14 1 0,0-1 0,13 0 15,-14 0-15,1 1 0,13-14 16,40 13-16,-41-13 0,-12 0 16,13 13-16,53-26 0,-53 13 15,0 0-15,0 0 0,52-13 16,-52 13-16,-13 0 0,66 0 16,-66 0-16,-1-14 0,-12 14 15,12 0-15,-12 0 0,13 0 16,-1 0-16,1 0 0,13 0 0,-13 0 15,12-13-15,-12 13 0,0 0 16,-14 0-16,14-13 0,26 13 16,-39 0-16,12 0 0,-12 0 15,12-13-15,28 13 0,-41 0 16,40 0-16,-39 0 16,12 0-16,-12 0 0,-1-14 0,14 14 15,13 0-15,-13 0 0,-14 0 16,0 0-16,14 0 0,-13 0 15,-1-13-15,1 13 0,-1 0 16,14 0-16,-14 0 0,1 0 0,-1 0 16,27 0-16,0 0 15,0 0-15,-27 0 0,14 0 16,-14 13-16,1-13 0,-1 0 16,1 0-16,-1 0 0,-13 0 15,14 0-15,-1 0 0,27 0 16,-26 0-16,-1 0 0,27 0 15,-26 0-15,-1 0 0,27 0 16,0 0-16,-27 0 16,1 0-16,-1-13 15,1 13-15,-1 0 0,27 0 0,-26 0 16,-1 0-16,0-13 0,1 13 0,-14 0 16,14 0-16,-1 0 0,1 0 15,-14-13-15,13 13 0,1 0 16,12-13-16,-12 13 0,-14 0 15,0 0-15,27-14 16,-14 14-16,-12 0 0,-1-13 0,13 13 16,-12 0-16,-1 0 0,13-13 15,-13 13-15,1-13 0,-1 13 0,13-14 16,-12 14-16,12-13 0,1-13 16,-14 26-16,0-14 0,0 1 15,0 0-15,1-13 16,-1 12-16,0 1 0,-13-13 15,13-1-15,1 14 0,-14 0 16,13-14-16,-13 1 0,0-1 16,13 14-16,-13-13 0,0-14 15,0 0-15,0 14 16,0 13-16,0-14 0,0-26 16,-13 27-16,-14-40 15,14 39-15,0-13 0,-14 14 16,14 0-16,-26-27 15,-1-13-15,27 39 0,-14 1 0,14-1 16,-14-13-16,14 14 0,-13-14 16,-1 14-16,14-1 15,0 14-15,-14-27 0,14 27 16,-13 0-16,-1-13 16,1-1-16,-1 14 0,1-14 0,-1 14 15,1 0-15,-14-14 0,14 14 16,-14 0-16,-26-27 15,40 27-15,-54-27 0,54 27 16,-14 0-16,-13-14 0,13 1 16,14 26-16,-14-26 15,-26-1-15,13 1 16,14 12-16,12 14 0,-52-26 16,39 13-16,14 13 15,-54-13-15,40-1 0,1 1 16,-54 0-16,53 0 0,1 13 15,-14-14-15,-26-12 0,26 26 16,13-13-16,-53-14 16,54 27-16,-54-26 15,14 13-15,13-1 16,26 1-16,13 13 0,1-13 0,-1 13 16,1 0-16,0-13 15,-41 13-15,1 0 0,40 0 16,-14 0-16,14 0 0,-14 0 15,13 0-15,-12 0 0,-27 13 16,-93 0 0,119-13-16,1 13 15,12-13-15,-52 0 0,26 14 16,13-14-16,0 13 0,-13 0 0,1 0 16,-67 14-16,-14 26 15,-26 13-15,-39 26 16,105-52-16,1 26 0,-212 119 15,92-52 1,119-67-16</inkml:trace>
  <inkml:trace contextRef="#ctx0" brushRef="#br0" timeOffset="-174206.75">10821 10742 0,'27'-13'15,"-1"13"1,1 0 0,-14 0-16,0 0 0,1 0 15,-1 0-15,13 0 0,-13 0 16,14 13-16,-14-26 0,14 13 15,39 0-15,-40 0 0,14 0 16,-14 0-16,1 0 0,12 0 0,14 0 16,-13 0-16,-13 0 0,12 0 15,-12 0-15,12 0 0,-12 0 16,-1 0-16,-12 0 0,12 0 16,0 0-16,1 13 0,-14-13 0,14 0 0,-14 0 15,0 0-15,14 0 0,-14 0 16,0 0-16,0 0 0,0 0 15,1 0-15,-1 0 16,13 0 0,-12 0-1,-1 0 1</inkml:trace>
  <inkml:trace contextRef="#ctx0" brushRef="#br0" timeOffset="-172693.58">13626 10702 0,'26'0'31,"-12"0"-15,-1 0-16,0 0 0,0 0 0,1 0 16,-1 0-16,13 0 0,1 0 0,-1 0 15,1 0-15,26 0 16,-27 0-16,14 0 0,-14 14 0,14-14 15,-14 0-15,41 0 0,-41 0 16,0 0-16,1 0 16,-1 13-16,1-13 0,-1 0 0,1 0 15,-1 0-15,1 0 0,-14 0 0,13 0 16,1 0-16,-14 0 0,13 0 16,-12 0-16,25 0 0,-12 0 15,-14 0-15,14 13 0,-14-13 0,0 0 16,13 0-16,-12 0 0,-1 0 15,13 0-15,-12 0 0,-1 0 0,0 0 16,0 0-16,1 0 0,-1 0 0,0 0 16,0 0-1,0 0 1,1 0-16,-1 0 16</inkml:trace>
  <inkml:trace contextRef="#ctx0" brushRef="#br0" timeOffset="-170967.83">19010 10742 0,'40'0'16,"-27"0"-16,0 0 16,54 0-16,-54 13 15,27-13-15,-14 0 0,27 0 16,0 0-16,0 0 0,0 0 16,0 14-16,-1-14 0,15 0 0,-14 0 15,13 0-15,-13 0 0,66 13 16,-66-13-16,-1 0 0,1 0 15,0 0-15,13 0 0,40 0 16,-53 0-16,40 13 16,-53-13-16,-14 0 0,40 0 15,-39 0-15,-1 0 0,-13 0 16,14 0-16,-14 0 0,0 0 0,27 0 16,-27 0-16,0 0 15,1 0-15,-1 0 16,0 0-16,0 0 15,0 0 1,1 0 0</inkml:trace>
  <inkml:trace contextRef="#ctx0" brushRef="#br0" timeOffset="-168340.96">5437 11152 0,'27'0'47,"12"0"-31,-25 0-16,-1 0 0,0 0 15,27 13-15,-14-13 0,1 0 16,-1 0-16,1 0 15,-1 0-15,0 0 0,14 0 0,-13 0 0,-1 0 16,1 0-16,-1 0 0,0 0 16,-12 0-16,12 0 0,-13 0 15,1 0-15,-1 0 0,0 0 0,0 0 16,0 0-16,1 0 0,-1 0 16,0 0-1,0 0 1,1 0-1,-1 0 1</inkml:trace>
  <inkml:trace contextRef="#ctx0" brushRef="#br0" timeOffset="-167115">9763 11192 0,'119'0'15,"-92"0"-15,-1 0 0,1 0 16,12 0-16,-12 0 0,-1 13 0,54-13 16,-54 0-16,14 0 0,-1 0 15,-12 0-15,13 0 0,-14 0 16,40 0-16,-39 0 16,-14 0-16,13 0 0,-12 13 0,-1-13 15,13 0-15,-13 0 0,1 0 16,-1 0-16,0 0 0,0 0 15,1 0 1,-1 0 0,0 0-16</inkml:trace>
  <inkml:trace contextRef="#ctx0" brushRef="#br0" timeOffset="-165960.33">13269 11245 0,'172'13'0,"-159"-13"16,14 0-16,-1 0 0,0 0 15,27 0-15,-26 0 16,-14 0-16,0 0 0,0 0 0,1 0 16,-1 0-16,0 13 0,0-13 0,1 0 15,-1 0 1,0 0-16,0 0 16</inkml:trace>
  <inkml:trace contextRef="#ctx0" brushRef="#br0" timeOffset="-165168.7">14314 11139 0,'79'13'16,"-52"-13"-16,-1 0 0,14 0 0,0 0 15,26 0-15,-13 0 0,0 0 0,13 13 16,0-13-16,-13 0 0,26 14 15,27-14-15,-53 0 0,0 13 16,-13-13-16,-14 0 0,0 0 0,1 0 16,-1 0-16,1 0 0,-14 0 15,14 0-15,-14 0 0,0 0 16,0 13 0</inkml:trace>
  <inkml:trace contextRef="#ctx0" brushRef="#br0" timeOffset="-162756.29">23839 10530 0,'-13'27'16,"-1"-1"0,14 1-16,-13-1 0,0-13 15,13 14-15,-13-1 0,0-12 0,13 12 16,-14 1-16,1-14 0,13 13 15,-13-13-15,13 1 0,-13 12 0,13-13 16,-14 1-16,14-1 0,0 0 0,-13-13 16,13 13-16</inkml:trace>
  <inkml:trace contextRef="#ctx0" brushRef="#br0" timeOffset="-160723.77">23707 10544 0,'0'-14'31,"13"1"32,0 13-48,0-13-15,14 13 16,12-13 0,-25 13-16,-1 0 0,0 0 15,27 0 1,-27 0-16,14 13 0,-14-13 0,0 0 0,0 13 16,0 0-16,1-13 0,-1 14 0,0-14 15,-13 13-15,0 0 0,13-13 16,-13 13-16,-13 1 0,13-1 15,-13 0-15,-14 0 16,14 0 0,0 1-16,0-14 0,0 13 15,-1-13 1</inkml:trace>
  <inkml:trace contextRef="#ctx0" brushRef="#br0" timeOffset="-160164.74">23984 10795 0,'27'-13'0,"-14"0"16,0 13 0,1 0-16,-14-14 0,13 14 0,0-13 15,-13 0 1,0 0-1,-13 26 17,0-13-32,13 13 15,-14-13-15,14 13 0,0 1 16,-13-14-16,13 13 0,0 0 16,0 0-16,0 0 15,27 1 1,-27-1-16,26 0 15</inkml:trace>
  <inkml:trace contextRef="#ctx0" brushRef="#br0" timeOffset="-159836.71">24289 10742 0,'-13'0'0,"-1"0"15,1 13 1,0 1 0,13-1-1,0 0 1,0 0-16,0 0 15,-13 1 1,13-1 0,-14 0-1,1-13 1,0 0-16</inkml:trace>
  <inkml:trace contextRef="#ctx0" brushRef="#br0" timeOffset="-159596.7">24474 10623 0,'13'13'15,"-13"27"1,0-27-16,-13 0 0,13 1 15,-13-1-15,13 0 16,-13 0-16,13 1 0,-14-1 0,1 0 16,13 13-16,-13-12 0,13-1 0,-13 0 15,13 0-15,-14-13 0,14 14 16,-13-1-16</inkml:trace>
  <inkml:trace contextRef="#ctx0" brushRef="#br0" timeOffset="-159266.61">24315 10874 0,'0'-13'15,"13"13"-15,-26 13 0,26-39 0,1 26 16,-1 0-16,0 0 16,0-13-16,1 13 0,-1 0 15,0 0-15,0 0 0,1 0 16,-1 0-16,0-14 0,0 14 0,0 0 15,1 0-15,-1 0 0,0 0 0,0-13 16,1 13-16,-1 0 16,0 0-16,0 0 31,-13 13-15,0 1-1,0-1-15,0 0 16,-13 0-1,0 1-15,13-1 16</inkml:trace>
  <inkml:trace contextRef="#ctx0" brushRef="#br0" timeOffset="-158744.67">24765 10702 0,'13'0'0</inkml:trace>
  <inkml:trace contextRef="#ctx0" brushRef="#br0" timeOffset="-156060.92">24805 10769 0,'-27'13'16,"14"-13"0,0 26-1,0-26-15,13 13 0,0 1 16,0-1 0,13-13-1,13 0 1,-13-13-16,27 13 15,-27-14-15,1 14 16,-1 0 0,-13 14-1,0-1 1,-13 0-16,13 0 16,-14 14-1,14-14 1</inkml:trace>
  <inkml:trace contextRef="#ctx0" brushRef="#br0" timeOffset="-155935.4">24963 10821 0,'0'-13'15</inkml:trace>
  <inkml:trace contextRef="#ctx0" brushRef="#br0" timeOffset="-155552.78">25175 10636 0,'0'27'16,"-13"-14"-16,0 0 0,13 0 15,-14 1-15,1 12 16,0-13-16,13 1 16,-13-1-16,-1 13 0,1-26 0,13 13 0,0 1 15,-13-14-15,13 26 16,-13-26 31,-14 0-32,14 0-15,-13 13 32,26 1-32,0-1 31,13-13-31,13 13 16,-12-13-16,12 13 15,-13-13 1,0 0-16</inkml:trace>
  <inkml:trace contextRef="#ctx0" brushRef="#br0" timeOffset="-154455.61">24117 11483 0,'0'-27'16,"0"14"-16,-13 0 16,-1 13-1,1-13-15,0 13 0,-14 13 16,14 0-16,0-13 15,0 13-15,-1 1 16,1-1-16,0 0 0,13 0 16,-13 1-16,26-1 15,0-13 1,0 0 0,1 0-16,-1-13 0,0 13 15,14 0 1,-14 0-16,-13 26 15,0 14 17,-13-27-32,13 0 0,-14 14 0,1-1 15,-27 27 1,40-40-16,-39 14 16,26-14-16,-1-13 15,41-26 16,-14 26-31,0-14 16,0 1-16,1 0 0,-1 0 0,0-1 16,0 1-16,1 0 0,-1 13 15,13-13-15,-12-1 0,-1 14 0,0-13 16,0 0-16,0 13 16,1 0-16,-1-13 0</inkml:trace>
  <inkml:trace contextRef="#ctx0" brushRef="#br0" timeOffset="-153942.85">24315 11523 0,'13'13'15,"-26"0"1,13 0-16,-13 14 31,0-14-31,13 0 0,0 0 16,0 1-1,13-14 17,0-14-17,0 1-15,1 13 16,12-13 0,-13 0-16,1 13 0,-1 0 15,0-13-15,0 13 16,-13 13 31,-13 0-32,13 0-15,0 0 16,27 1 0,-14-14-1,13-14 1,-13 14-16,1-13 15,-1 0-15,-13 0 16,0 0 0,0-1-1,-27 14 1,14 0 15</inkml:trace>
  <inkml:trace contextRef="#ctx0" brushRef="#br0" timeOffset="-153529.59">24527 11576 0,'13'-14'31,"0"14"-15,-39 14-16,52-14 0,-12 0 16,-14 13-1,13-13 1,0 13 31,0-13-16,-13 13-15,13-13-16,14 13 15,-27-26 1,40 13-1,-27 0 1,0-13-16,0 13 16,-13 13 31,0 0-32,0 1 1,14-14-1</inkml:trace>
  <inkml:trace contextRef="#ctx0" brushRef="#br0" timeOffset="-153294.59">25096 11377 0,'13'-26'15,"-26"52"-15,13-26 16,-14 13-16,14 1 16,-52 52-1,38-53-15,14 0 0,-13 0 16,0 14-16,0-14 0,13 0 0,-14 1 16,1-1-1,13 0-15,0 0 0,-13-13 16,13 13-16</inkml:trace>
  <inkml:trace contextRef="#ctx0" brushRef="#br0" timeOffset="-153091.93">25215 11390 0,'13'-26'31,"-26"52"-31,0-26 15,13 14-15,-14-1 16,1 0-16,0 13 0,13-12 0,-13-1 16,-1 0-16,1 0 0,13 1 15,-13-1-15,0 0 0,13 0 0,-14 1 16,1-1-16,0 0 16</inkml:trace>
  <inkml:trace contextRef="#ctx0" brushRef="#br0" timeOffset="-152946.95">24911 11562 0,'13'-13'15,"0"13"-15,0 0 0,14-13 16,-14 13-16,13 0 0,-12 0 16,12-13-16,0 13 0,14 0 0,-13 0 15</inkml:trace>
  <inkml:trace contextRef="#ctx0" brushRef="#br0" timeOffset="-151596.64">24249 10319 0,'13'-27'0,"-13"14"16,14 0-16,-28 26 16,1-26-16,13 0 0,-13-1 15,0 14-15,-1-13 0,1 0 0,-13 0 16,12 13-16,-12-14 16,13 14-16,-14-13 0,14 13 15,-13 0-15,-1-13 0,-13 13 0,14 0 0,0 0 16,-1 0-16,1 0 0,-14 0 0,13 13 15,1-13-15,-14 13 0,14-13 16,-1 14-16,14-1 0,26-13 0,-52 0 16,12 13-16,14 0 0,0-13 0,26-13 0,-39 40 15,-1-14-15,1 0 16,12 0-16,14 1 0,-13-1 0,0 0 16,13 0-16,-13 14 0,13-14 0,0 0 15,0 0-15,0 14 0,0-1 16,0-12-16,0 12 0,0 14 0,0-14 15,-13 14-15,13-1 0,-14-12 16,14 13-16,-13-1 0,0-12 0,-14 39 16,1-26-16,13-14 15,-14 1-15,14-14 0,0 0 0,0 0 16,-1 0-16,1 1 0,0-1 0,0-13 16,-1 13-16,1-13 15,13 13 1,27-13-1,-14 0-15,0 14 16,0-1-16,1-13 0,-1 13 16,0 13-16,0-12 0,0 12 0,1 1 15,-14-1-15,13 1 0,-13-1 16,0 0-16,0 1 0,0 13 0,-13-1 16,13-12-16,0-1 0,0 1 15,0-1-15,0 1 0,0 26 16,0-27-16,13 0 0,-13-12 0,13 12 15,0-13-15,1 14 0,-1-14 16,0 0-16,0 1 0,14-1 16,-27 0-16,13-13 0,0 13 15,0-13-15,1 0 0</inkml:trace>
  <inkml:trace contextRef="#ctx0" brushRef="#br0" timeOffset="-151280.73">23469 11351 0,'-14'13'0,"-52"40"16,40-27-1,-1 14-15,-12 0 0,12-1 16,-13 1-16,14 0 0,-14-1 0,1 1 16,-1 13-16,0-13 0,1-1 15,-1 14-15,0-13 0,-26 39 16,26-39-16,1 0 0,12-1 0,1-12 16,-1 13-16,1-14 0,-1 0 0,-12 14 15,12-27 1,14 1-16,13-1 0,-13 0 0,-1-13 15,14 13-15,-13-13 0</inkml:trace>
  <inkml:trace contextRef="#ctx0" brushRef="#br0" timeOffset="-150982.62">22622 12039 0,'-27'26'16,"14"-13"-16,0 0 0,0 14 15,-1-14-15,1 14 16,-13-1-16,13 1 0,-1-1 0,14 0 16,-13-12-16,0 12 0,13-13 0,-13 1 15,13 12-15,0-13 0,0 0 16,0 1-16,13-1 15,13 0 1,1-13-16,-14 0 0,0 0 0,14 13 16,-14-13-16,0 0 0,0 0 0,1 0 15,-1 0-15,0 0 16</inkml:trace>
  <inkml:trace contextRef="#ctx0" brushRef="#br0" timeOffset="-148461.47">21947 12965 0,'13'-14'0,"-39"41"47,-27 13-31,53-27-16,-13 0 0,0 0 15,-1 0-15,14 1 0,-13-1 16,13 40 0,0-40-16,13 0 0,1 0 15,25 1 1,-25-14-16,25 0 15,-26-14 1,27 1 0,-27 13-16,1-13 0,-1 13 0,0-13 0,0 13 15,0 0 1,-13-13-16,14 13 0,-14 13 31,0 0-15,0 0-16,0 14 15,0-14 1,13 0-16,0 0 16,0-13-1,1 0 1,12-13-16,-13 13 0,-13-13 16,14 0-16,-1-1 15,-13-12-15,0 13 16,0 0-1,-13 13-15,13-14 16,-14 14 0,28 14 31,-1-14-47,13 13 15,-13 0 1,1-13-16,-14 13 15,13 0 1,0 14 0,0-14-1,-13 0 1,14-13 0,12 0-1,-13-13 1,14 0-16,-14 13 15,0 0-15,0 0 16,14 13 0,-27 0-16,13-13 15,0 14-15,-13-1 16,14-13 0</inkml:trace>
  <inkml:trace contextRef="#ctx0" brushRef="#br0" timeOffset="-148251.52">22714 13004 0,'14'-13'0,"-14"40"32,0-1-17,0-13-15,-14 0 0,14 14 16,-13-14-16,13 0 0,-13 14 0,13-14 15,0 0-15,-13 0 0,13 1 16,-13-1-16,13 0 0,0 0 16,-14 1-16</inkml:trace>
  <inkml:trace contextRef="#ctx0" brushRef="#br0" timeOffset="-148042.58">22542 13203 0,'0'-14'0,"14"14"16,-1-13-16,0 13 15,0-13 1,1 13-16,-1 0 0,0 0 16,0-13-16,1 13 15,-1 0-15,0 0 16,0 0-16</inkml:trace>
  <inkml:trace contextRef="#ctx0" brushRef="#br0" timeOffset="-147472.85">22860 13137 0,'0'-14'16,"0"41"15,-13-14-31,13 0 0,-13 14 16,13-14-16,0 0 16,-14 0-1,14 1 1,27-28-1,-27 1 1,26-13 0,1-1-1,-14 27-15,-13-13 16,13 13-16,-13-13 0,13 13 16,1 0-16,-14-13 0,13 13 15,0 0 1,-13 13-1,0 0 1,13 0 0,-13 0-16,0 1 0,0-1 15,14-13 1,12 13 0,14-26-1,-27 0-15,13-1 16,-26 1-16,14 13 15,-14-13-15,0 0 16,0 0-16,-14 13 16,14-14-16,-13 14 0,-13-13 15,-1 13 1</inkml:trace>
  <inkml:trace contextRef="#ctx0" brushRef="#br0" timeOffset="-147272.33">23297 12885 0,'13'27'16,"-13"-14"-16,0 0 0,0 0 0,-13 14 15,13-14-15,-14 14 0,1-1 0,0 0 16,0 1-16,-14 26 15,1-14-15,13-25 0,13 12 0,-14-13 16,1 1-16,13-1 0</inkml:trace>
  <inkml:trace contextRef="#ctx0" brushRef="#br0" timeOffset="-146356.14">22040 13652 0,'0'-13'0,"-13"40"63,-1-1-48,14-13 1,0 1-16,0-1 16,0 0-16,0 14 15,0-14-15,14-13 16,-1 13 0,0-13-16,0 0 15,0 0-15,1-13 16,-1 26-1,0 0 1,0-13 0,1 13-1,-1-13 1,0-13-16,0 13 16,1-13-16,-1 0 15,-13 0-15,13 13 16,-13-14-16,13-12 15,-13 13 1,0-1-16</inkml:trace>
  <inkml:trace contextRef="#ctx0" brushRef="#br0" timeOffset="-146019.95">22437 13692 0,'-27'13'31,"27"1"-31,-13-14 0,0 13 16,13 0-16,0 0 15,-13 1-15,26-1 31,0-26-15,13-1 0,-12 14-16,-14-13 15,13 13-15,0-13 16,-13 39 15,0-12-15,0-1-1,0 0-15,13-13 16</inkml:trace>
  <inkml:trace contextRef="#ctx0" brushRef="#br0" timeOffset="-145804.77">22714 13573 0,'14'-13'0,"-28"26"15,14 0 1,0 1 0,0-1-16,-13 0 0,13 13 15,0-12-15,-13-1 0,13 13 0,-13-12 16,13-1-16,-13 0 0,13 0 16,0 1-16,-14-1 0,14 0 15,0 0-15</inkml:trace>
  <inkml:trace contextRef="#ctx0" brushRef="#br0" timeOffset="-145610.74">22635 13772 0,'0'-14'0,"13"1"15,1 13-15,-1 0 16,0-13-16,0 13 16,-13-13-16,13 13 0,14-14 15</inkml:trace>
  <inkml:trace contextRef="#ctx0" brushRef="#br0" timeOffset="-145125.17">22794 13772 0,'26'-14'16,"-12"14"-16,-14-13 15,0 0-15,13 13 16,-13-13-16,-27 26 62,14 0-46,13 0-16,13-13 31,1 0-15,-1 0-1,0-13-15,0 13 0,0 13 16,-13 1 15,14-1-31,-14 0 16,0 13 0,13-26 15,0-13-31,14 0 15,-27 0-15,13 13 0,-13-13 16,13-1 0</inkml:trace>
  <inkml:trace contextRef="#ctx0" brushRef="#br0" timeOffset="-144860.55">22119 14089 0,'40'0'0,"-14"0"15,1 0-15,-1 0 0,1 0 0,12 0 16,1-13-16,53 13 0,-40 0 15,-14-13-15,1 13 0,0 0 16,-1 0-16,-12 0 0,12 0 0,-25 0 16,12 0-16,1 0 0,-14 0 15,0 0-15,0 13 0</inkml:trace>
  <inkml:trace contextRef="#ctx0" brushRef="#br0" timeOffset="-144611.5">22106 14155 0,'66'13'32,"-39"-13"-32,78 0 0,54 0 15,-119 0-15,105 0 16,-105 0-16,-14 0 15,14 0-15,-13-13 0,12 13 16,-12 0-16,-1 0 0,1 0 0,-1 0 16,-13 0-16,14-13 0,-14 13 0,0 0 15</inkml:trace>
  <inkml:trace contextRef="#ctx0" brushRef="#br0" timeOffset="-137307.61">22913 10570 0,'26'0'31,"14"0"-15,-13-13-16,-1 13 0,-13 0 16,14 0-16,-1 0 0,-13-13 15,14 13-15,-14 0 0,0 0 0,1 0 16,-1 0-16,0 0 0,0 0 0,0-14 16,1 14-1</inkml:trace>
  <inkml:trace contextRef="#ctx0" brushRef="#br0" timeOffset="-137106.95">23125 10530 0,'-14'0'15,"54"0"-15,-66 0 0,-1 0 0,14 14 16,0-14-16,13 13 16,-14-13-16,14 13 0,-13 0 15,13 1 1,-13-1-16,13 0 0,0 0 0,-13-13 15,13 13-15,0 1 0,-13-1 0,13 0 16,-14-13-16,14 13 0,-13 14 16,0-27-16,0 13 0,-1 0 15,1-13-15,0 0 16</inkml:trace>
  <inkml:trace contextRef="#ctx0" brushRef="#br0" timeOffset="-136910.7">22781 10795 0,'13'0'0,"-26"0"15,39 0 17,27 0-17,-40 0-15,14 0 0,-1 0 0,1 0 16,52 0 0,-66-13-16,14 13 0,-1 0 0,-13 0 15,14 0-15,-14 0 0,0 0 16,1 0-16,-1 0 0,0 0 15,0 0-15</inkml:trace>
  <inkml:trace contextRef="#ctx0" brushRef="#br0" timeOffset="-135585.5">22979 11628 0,'0'-13'0,"-13"40"47,0-1-32,13-13 1,-14 1-16,14-1 0,0 0 15,-13 0-15,13 1 0,-13-1 16,0 0 0,13 0-16,-14 0 15,14 1 1</inkml:trace>
  <inkml:trace contextRef="#ctx0" brushRef="#br0" timeOffset="-135028.53">22913 11628 0,'13'-26'15,"0"26"1,-13-13-16,14 13 0,-14-13 0,13 13 16,0 0-16,0-14 0,1 14 0,-1 0 15,0 0-15,0 0 0,0 0 16,1 0-16,-1 0 0,0 0 0,0 14 16,27 12-16,-40-13 15,0 0-15,13 14 16,-13-14-16,0 0 0,0 1 15,-13-1-15,13 0 0,-13 0 16,-40 40 0,40-53-16,-1 13 0,14 1 15,-13-14-15,-13 13 16,13-13-16,-1 13 0,1-13 16,0 0-16,0 13 0,-1-13 15,1 0-15,0 14 16,0-14-16</inkml:trace>
  <inkml:trace contextRef="#ctx0" brushRef="#br0" timeOffset="-132547.61">21987 12859 0,'26'-40'15,"-12"27"-15,-28 0 32,14-1-32,-26 1 15,-40 13 1,26 0-16,-26 27 15,39-14-15,-12 0 16,-1 0-16,0 14 0,14-1 0,-14 1 16,1-1-16,12 1 0,-13 12 15,14 1-15,-1 0 0,1-1 16,0 1-16,-1 0 0,1-1 0,12 1 16,1 0-16,0-1 0,0 1 0,-1 0 15,1 0-15,13-1 0,0-12 16,0 12-16,0-12 0,13-1 0,-13 14 15,14 0-15,12-1 0,-13-12 16,27 12-16,-13-12 0,12 13 16,-12-14-16,26 1 0,-14 12 0,54 14 15,-27-26-15,-13-14 0,0 13 16,13 1-16,-13-14 0,13 0 0,-13 0 16,13 1-16,0-1 0,120 0 15,-134 0-15,1-13 16,-13 0-16,13 14 0,0-14 0,-13 0 15,79 13 1,-93-13-16,1 0 0,12 0 16,-12-13-16,12 13 0,1 0 0,0-14 15,-14 14-15,133-39 16,-133 25 0,1 1-16,-1 13 0,27-26 15,-26 26-15,-14-13 0,13-1 16,-12 14-16,-1-13 0,13 0 15,1 0-15,-14 13 0,0-14 16,0 1-16,1 0 0,12 0 0,-13-1 16,1 1-16,-1 0 0,0 0 15,0 0-15,1-1 0,-1-12 16,0 13-16,0-1 0,0-12 0,1 13 16,-1-14-16,0 1 0,27-54 15,-27 54-15,0-14 16,-13 27-16,13-13 0,1-1 0,-14 14 15,26-40 1,-26 40-16,13 0 0,-13-14 0,0 14 0,14-14 16,-14 14-16,0 0 0,0-14 15,13-25 1,-13 25-16,0 14 0,0-27 16,0 14-16,-13 12 0,13-12 15,-27-40-15,14 39 16,0 1-16,-14 0 0,14-1 0,-13 1 15,-1 12-15,1-12 0,12-1 16,-12 14-16,13 0 0,-14 0 0,14 0 16,0-1-16,-14-12 0,14 13 15,0-1-15,-14 1 0,14 13 0,0-13 16,0 0-16,0-1 0,-14 1 0,14 13 16,0-13-16,-14 0 0,14 13 15,-14-13-15,14 13 0,0-14 16,-13 14-16,-1-13 0,-26 0 15,27 13-15,13-13 16,-1 13-16,-12 0 0,13-14 0,-1 14 16,1 0-16,-13 0 0,12 0 0,1-13 15,0 13-15,-13 0 0,-27 0 16,39 0-16,1 0 16,-13 0-16,12-13 0,-12 13 15,13 0-15,-14 0 0,14 0 0,-13 0 16,-1 0-16,-39 0 15,40 0-15,-41 13 16,41-13-16,-1 0 0,1 0 16,0 13-16,-1-13 0,1 0 15,-1 14-15,1-14 0,-1 13 16,-12-13-16,-1 13 0,0-13 0,1 13 16,-1 1-16,0-14 0,-13 13 15,0 0-15,0 0 0,1 0 0,-15 1 16,28 12-16,-27-13 0,26 1 0</inkml:trace>
  <inkml:trace contextRef="#ctx0" brushRef="#br0" timeOffset="-120371.95">1733 2381 0,'-26'0'16,"-14"0"0,27 0-16,-14 0 15,1 0-15,-1 0 0,1 0 16,-14 0-16,14 0 0,-14 0 0,14 13 16,-14-13-16,-13 0 0,-13 0 15,39 0-15,-12 0 16,12 0-16,-13 0 0,14 14 0,0-14 15,-1 0-15,1 0 0,12 0 0,-12 0 16,13 0-16,-1 0 0,-12 0 16,13 13-16,0-13 0,-1 0 0,1 0 15,0 0-15,0 0 0,-1 13 16,1-13-16,0 13 16,0-13-16,-14 14 15,27-1 1,-13-13-16,0 13 0,-14 14 15,14-14-15,0-13 16,13 13-16,-13 0 0,-14 14 16,14-14-1,13 0-15,-13 0 0,13 1 0,0-1 16,-13-13-16,13 13 0,-14 0 16,14 1-16,0-1 0,0 0 0,0 0 15,0 0-15,-13 1 0,13-1 0,0 0 16,0 0-16,0 1 0,0-1 15,0 0-15,0 0 0,-13 1 16,13 12-16,0-13 0,0 0 0,-13 1 16,13-1-16,0 0 0,0 0 15,-14-13-15,14 14 0,0-1 16,0 0-16,-13 0 0,13 0 0,0 1 16,0-1-16,-13 0 0,13 0 15,0 1-15,-13-1 0,13 0 16,0 0-16,-14 1 0,14-1 15,0 0-15,0 0 0,-13 0 0,13 1 16,0-1-16,-13 0 0,13 0 16,-13 1-16,13-1 0,0 0 15,-13 0-15,13 14 0,-14-14 0,14 0 16,0 0-16,-13 1 0,13-1 0,0 0 16,-13 14-16,13-14 15,0 0-15,-13 0 0,13 0 0,0 1 0,0-1 16,-14 0-16,14 0 0,0 1 15,0-1-15,0 0 0,-13 14 16,13-14-16,0 0 0,0 0 16,0 0-16,-13 1 0,13-1 0,0 0 15,0 0-15,0 1 0,0-1 16,-13 0-16,13 0 0,0 1 16,0-1-16,0 0 0,0 0 0,0 0 15,0 1-15,0-1 16,0 0-16,0 14 0,0-14 15,-13 13-15,13-12 0,0-1 0,0 13 16,0-13-16,0 1 0,0-1 16,0 0-16,13 14 0,-13-1 0,0 1 15,0-14-15,0 0 16,0 0-16,13 14 0,-13-14 0,0 13 16,0-12-16,0-1 0,13 26 15,-13-12-15,0-1 0,0-12 16,13 12-16,-13 1 0,0-1 0,14 0 15,-14 1-15,0-1 0,13 1 0,-13-1 16,13 14-16,-13-14 16,13 1-16,-13-1 0,0 1 0,14-1 15,-14-13-15,0 14 0,13-1 0,-13 1 16,0-1-16,0 1 0,13-1 16,-13-13-16,0 14 0,13-1 0,-13 1 15,0-1-15,0 1 0,13-1 0,-13 1 16,0-1-16,0 1 0,0-1 15,0 1-15,14-1 0,-14 0 0,0 1 16,0-1-16,0 1 0,13-1 0,-13 1 16,0-1-16,0 1 0,0-1 15,0-13-15,13 14 0,-13-1 0,0-13 16,0 14-16,0-1 0,0-12 16,0 12-16,0 1 0,13 25 15,-13-25-15,0-1 0,0 1 16,0-1-16,14 1 0,-14-1 15,0 1-15,13-1 0,-13 1 0,0 25 16,0-38-16,13 12 16,-13 1-16,0-14 0,0 13 0,0 1 15,0-14-15,0 13 0,0-12 0,0 12 16,13-13-16,-13 1 0,0 12 0,0-13 16,0 1-16,0-1 0,0 0 15,0 13-15,0-12 0,0-1 0,0 0 16,0 27-16,0-27 15,0 0-15,0 1 0,0-1 0,0 0 16,0 0-16,0 0 0,0 1 16,0-1-16,0 0 0,0 27 15,0-27 1,0 0-16,0 1 0,0-1 16,0 0-16,0 0 15,0 0-15,0 1 16,14-1-16,-14 0 15,0 0-15,0 1 16,0-1 0,13 0-1,-13 0-15,13 0 16,0-13-16,-13 14 16,13-1-16,1-13 0,-1 13 0,13 0 15,-12 1-15,12 12 0,1-13 0,-1 1 16,27 25-16,-40-26 15,14 1-15,-1-1 0,-13 0 0,14 0 16,-14 1-16,0-1 0,14-13 0,-14 13 16,27 0-1</inkml:trace>
</inkml:ink>
</file>

<file path=ppt/ink/ink3.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19:10.268"/>
    </inkml:context>
    <inkml:brush xml:id="br0">
      <inkml:brushProperty name="width" value="0.05292" units="cm"/>
      <inkml:brushProperty name="height" value="0.05292" units="cm"/>
      <inkml:brushProperty name="color" value="#0070C0"/>
    </inkml:brush>
  </inkml:definitions>
  <inkml:trace contextRef="#ctx0" brushRef="#br0">1852 7766 0,'53'-14'0,"-27"14"16,1 0-16,118-13 15,-105 0-15,13 13 0,0-13 16,-13 13-16,13 0 0,-14-14 0,14 14 16,-13 0-16,-14 0 0,14 0 15,-14 0-15,1 0 0,26 0 16,-40 0-16,14 0 0,-14 0 0,0 0 15,0 0-15</inkml:trace>
  <inkml:trace contextRef="#ctx0" brushRef="#br0" timeOffset="269.11">2077 7898 0,'66'0'0,"-39"0"15,92-27 1,-66 14-16,-14 13 0,14-13 16,-13 13-16,13-13 0,-14 13 0,14-14 15,-13 14-15,0 0 0,-14 0 0,1 0 16,-1-13-16,1 13 0,-14 0 15,13 0-15,-12 13 0,-1-13 0,0 0 16,0 0 0</inkml:trace>
  <inkml:trace contextRef="#ctx0" brushRef="#br0" timeOffset="1340.56">1958 6998 0,'93'-13'0,"-67"13"0,0 0 16,-12 0-16,25-13 0,-12 13 15,-1 0-15,14 0 0,-14 0 16,1 0-16,13 0 0,-14 0 0,0 0 0,-12 0 16,12 0-16,-13 0 0,14 0 15,-14 13-15,0-13 0</inkml:trace>
  <inkml:trace contextRef="#ctx0" brushRef="#br0" timeOffset="1584.54">2170 7104 0,'52'0'31,"-38"0"-31,12 0 16,1 0-16,-1-13 0,1 13 0,-1 0 15,40 0-15,-39 0 16,12-13-16,14 13 0,-13 0 16,-14 0-16,1 0 0,-14 0 15,0 13-15</inkml:trace>
  <inkml:trace contextRef="#ctx0" brushRef="#br0" timeOffset="2635.75">3744 7131 0,'0'26'16,"0"-13"-16,0 0 0,0 1 15,0 12-15,0 1 0,0-14 0,0 13 16,0 1-16,0-1 0,0 1 0,0-14 15,-13 13-15,13-12 16,0-1-16,0 0 0,0 0 0,0 0 16</inkml:trace>
  <inkml:trace contextRef="#ctx0" brushRef="#br0" timeOffset="2833.39">3823 7131 0,'13'26'16,"-13"-13"-16,0 14 15,-13-1-15,13 1 0,-13 78 16,13-65 0,-13 0-16,13-14 0,-13 14 0,13-14 0,0 1 15,0-1-15</inkml:trace>
  <inkml:trace contextRef="#ctx0" brushRef="#br0" timeOffset="3771.57">1164 7170 0,'0'40'16,"0"0"-16,0-14 0,13 0 15,-13 27-15,0-26 0,-13 13 16,13-1-16,0-12 0,0-1 15,0 1-15,0-1 0,0-13 0,0 14 16,-13-14-16,13 0 0,0 0 16,0 1-16,0-1 0</inkml:trace>
  <inkml:trace contextRef="#ctx0" brushRef="#br0" timeOffset="3988.61">1270 7117 0,'13'66'16,"-13"-39"0,0 118-1,0-105-15,0 13 0,0-13 16,-13-1-16,13 1 0,0 13 15,0 0-15</inkml:trace>
  <inkml:trace contextRef="#ctx0" brushRef="#br0" timeOffset="15354.36">4551 7408 0,'40'0'0,"-27"0"0,0 0 0,13 0 15,-12 0-15,25 0 0,1 0 0,13-13 16,0 13-16,13 0 0,0 0 15,14 0-15,-1 0 0,0 0 0,1 0 16,12 0-16,173-13 16,-173 13-16,-12 0 0,184 0 15,-197 0-15,-1 0 16,-13 0-16,66 13 16,-93-13-16,1 0 0,-14 0 15,0 0-15,0 0 0,1 0 16,-1 13-16</inkml:trace>
  <inkml:trace contextRef="#ctx0" brushRef="#br0" timeOffset="16080.04">6297 7250 0,'13'0'0,"1"13"0,25 0 15,-12-13 1,-14 13-16,27-13 16,26 27-1,-53-14-15,13-13 0,-12 13 16,-1-13-16,13 13 15,-12-13-15,-1 0 0,-13 14 0,13-14 16,-13 13-16,13-13 16,-26 26-16,0-12 15,-14 12-15,14-13 16,-13 14-16,-27 12 0,26-25 16,1 12-16,-14-13 0,14 14 15</inkml:trace>
  <inkml:trace contextRef="#ctx0" brushRef="#br0" timeOffset="24539.62">7633 7064 0,'0'40'16,"0"-27"-16,0 1 0,0-1 15,0 0-15,0 13 0,0-12 0,0-1 0,0 13 16,0-12 0,0-1-16,0 0 0,0 0 0,0 0 15,0 1-15</inkml:trace>
  <inkml:trace contextRef="#ctx0" brushRef="#br0" timeOffset="25013.16">7620 6945 0,'13'-13'0,"-13"0"0,-13 39 0,39-65 0,-26 25 15,14 14-15,-1 0 0,-13-13 16,13 13-16,0 0 0,1 0 16,-1 0-16,0 0 0,0 13 15,1 1-15,-14-1 0,0 0 16,0 14-16,0-14 16,-14 40-1,1-40-15,0 0 0,13 0 16,-13-13-16,-1 14 0,14-1 15,-13-13-15,13 13 0,-13-13 16,13 13-16</inkml:trace>
  <inkml:trace contextRef="#ctx0" brushRef="#br0" timeOffset="25464.22">7871 7131 0,'14'26'15,"-1"-13"-15,-13 14 16,-13-27-16,13 13 16,0 0-16,0 14 0,-14-27 15,14 13-15,0 0 0,-13 0 16,0-26 15,26-27-15,-13 27-1,13 0-15,1 13 0,12-27 16,-13 14 0,1 13-16,-1-13 15,0 13-15,0 0 0,0 0 0</inkml:trace>
  <inkml:trace contextRef="#ctx0" brushRef="#br0" timeOffset="25866.24">8109 7276 0,'14'-26'0,"-1"-1"15,-13 14 1,0 0-1,-13 13 1,-1 13 0,14 0-1,0 0 1,0 1-16,0-1 0,14-13 0,-14 13 16,13 13-1,0-26-15,0 14 0,14-14 16,-14 0-16,0 0 0,1 0 15</inkml:trace>
  <inkml:trace contextRef="#ctx0" brushRef="#br0" timeOffset="26401.25">8334 7157 0,'-13'26'32,"13"-12"-32,0 25 15,0-25 1,0-1-1,0 0-15,13-26 47,1 0-31,-1-1 0,0 14-16,0-13 15,14 13 1,-14 13-1,0 1 17,0-1-17,1-26 17,-1 13-17,0 0 1,0 0-1,1 0-15,-1 0 16,0 0 0</inkml:trace>
  <inkml:trace contextRef="#ctx0" brushRef="#br0" timeOffset="26567.72">8718 7183 0,'0'14'16,"0"12"0,0-13-1,-13 14 1,13-14-16,0 0 16,0 0-16</inkml:trace>
  <inkml:trace contextRef="#ctx0" brushRef="#br0" timeOffset="26705.21">8665 7104 0,'-13'-13'0</inkml:trace>
  <inkml:trace contextRef="#ctx0" brushRef="#br0" timeOffset="27246.93">8890 7144 0,'-13'26'15,"13"1"1,13-14-16,-13 0 0,13 0 15,0 1-15,-13-1 16,14-13-16,-14 13 0,13-13 16,0 13-16,0-13 15,1-13-15,-1 0 16,0-14 0,0 14-1,-13 0 1,14 0-16,-14-1 15,0 1-15</inkml:trace>
  <inkml:trace contextRef="#ctx0" brushRef="#br0" timeOffset="27740.7">9128 7104 0,'0'13'15,"0"14"1,0-14-16,0 0 16,0 0-16,0 1 15,13 12 1,-13-13 15,27-26-15,-14 0-1,0 13 1,1-13 0,-1 13-16,0 0 0,0 13 31,0-13-15,-13 13-1,14-13 16,12-13-15,-13 13-16,1-13 31,-1 13-31,0-14 0,0 14 16,0 0-16,1 14 16,-1-14-1,0 0 1,0 13-16</inkml:trace>
  <inkml:trace contextRef="#ctx0" brushRef="#br0" timeOffset="31651.37">9790 6906 0,'13'0'62,"13"0"-46,-13 13-1,1 0 1,-14 0-16,0 14 16,-14-14-1,1 13-15,13-12 16,-13-1-16,13 0 0,-13 0 0,0-13 16,13 14-16,-14-1 0,14 0 0,-13 0 15,13 1-15,-13-1 16,13 0-16,0 0 0,0 0 15,0 1 1,0-1-16,0 0 16,13 0-16</inkml:trace>
  <inkml:trace contextRef="#ctx0" brushRef="#br0" timeOffset="31823.71">9763 7342 0,'-13'0'15,"0"13"1</inkml:trace>
  <inkml:trace contextRef="#ctx0" brushRef="#br0" timeOffset="32803.1">10001 6932 0,'13'0'31,"1"13"-15,-1-13-16,-13 14 0,13-14 16,-13 26-1,0-13-15,-13 0 16,13 1-16,0-1 0,-13-13 16,13 13-16,-14 0 0,14 1 0,-13-14 15,13 13-15,0 0 0,-13-13 16,13 13-16,-13 1 15,13-1-15,0 0 16,-13-13-16,13 13 0,13 0 16,-13 14-1,13-14 1</inkml:trace>
  <inkml:trace contextRef="#ctx0" brushRef="#br0" timeOffset="32971.83">9988 7342 0,'-13'0'16</inkml:trace>
  <inkml:trace contextRef="#ctx0" brushRef="#br0" timeOffset="47131.55">23244 609 0,'0'13'0,"13"0"0,-13 13 16,0 1-16,-13-1 0,13 54 16,-14-41-16,14 28 15,-26 25-15,13-39 0,-14 13 16,1 40-16,13-66 0,-1-1 16,-12 67-1,13-92-15,13 12 0,-14-13 0,14 14 16,0-14-16,-13 0 0,13 0 15</inkml:trace>
  <inkml:trace contextRef="#ctx0" brushRef="#br0" timeOffset="47791.69">23455 635 0,'146'0'0,"-54"13"15,-25-13-15,-41 0 16,0 13-16,1-13 0,-1 0 0,-12 14 16,-1-14-16,13 0 0,-12 0 15,-14 13-15,13-13 0,13 26 16,-26-12-16,13-1 0,-13 0 0,14 0 15,-14 14-15,13-14 0,13 66 16,-26-39 0,27 13-16,-27-13 0,13-14 15,0 14-15,1-1 0,-1-12 16,0 13-16,0-1 0,27 54 16,-27-53-16,-13-14 0,13-13 15,1 14-15,-1 26 16,0-40-16,0 27 15,-13-27-15,14 0 16,-28 0 0,14 1-16,-13-1 15,0-13-15,0 0 16,-1 0-16,-25 0 16,12 0-16,1 0 0,-1 0 0,-26 0 15,0 0-15,1 0 0,-1 0 16,-80 0-16,80 0 0,-13 0 15,13 0-15,-13 0 0,13 13 0,0-13 16,14 0-16,12 0 0,1 0 0,-1 0 16,14 0-16,-13 0 0,12 0 15,1 13-15,0-13 0</inkml:trace>
  <inkml:trace contextRef="#ctx0" brushRef="#br0" timeOffset="49372.87">8215 7514 0,'-13'0'0,"40"13"46,-14-13-46,0 0 16,0 0-16,0 0 0,14 0 0,13-13 16,-14 13-16,27 0 0,-13 0 0,13-13 15,-1 13-15,-12 0 0,0-13 0,13 13 16,-27 0-16,1-14 0,12 14 16,-12 0-16,-14 0 0,0 0 15,14 0-15,-14-13 0,13 26 16,-12-13-16</inkml:trace>
  <inkml:trace contextRef="#ctx0" brushRef="#br0" timeOffset="49640.6">8572 7633 0,'40'-13'0,"0"13"31,-14 0-31,-12-13 0,12 13 0,0 0 0,1-13 16,-1 13-16,1 0 0,-14 0 0,14-14 15,-1 14-15,-13 0 0,14 0 16,-1 0-16,-13 0 0,1 0 15,-1 0 1</inkml:trace>
  <inkml:trace contextRef="#ctx0" brushRef="#br0" timeOffset="51355.11">9168 8123 0,'53'0'0,"-27"0"0,1 0 16,-14 0-16,13 0 0,1 0 0,-1 0 15,1 0-15,-1-14 0,1 14 16,-14 0-16,13 0 0,-12 0 0,12 0 16,-13 0-16,0 0 0,1 0 15,-1 0-15,0-13 16,0 13-1</inkml:trace>
  <inkml:trace contextRef="#ctx0" brushRef="#br0" timeOffset="51664.85">9525 8004 0,'13'0'31,"14"13"-15,-14 0-16,0-13 0,0 13 16,1 1-16,-1-1 15,13 13-15,-26 1 16,0-14-16,0 0 15,-13 27 1,13-27-16,-13 0 0,13 1 16</inkml:trace>
  <inkml:trace contextRef="#ctx0" brushRef="#br0" timeOffset="52331.74">10292 7938 0,'-13'0'0,"40"0"32,-14 0-17,0 0-15,27 0 16,-27 0-16,13 0 0,-12 0 15,-1 0-15,0-14 0,0 14 16,1 0-16,-1 0 0,0-13 16,0 13-16,-13-13 15,13 13 1,-26 26 15,13 1-15,-13-14-16,13 0 0,0 0 15,0 1-15,-13-1 0,13 0 0,0 0 16,-13 14-16,13-14 0,-14 0 0,1 0 16,0 1-16,13-1 15,-13-13-15,-1 13 0,1-13 0,0 13 16,0-13 0,-1 0-16,1 0 15,13 14 1,13-14 15,1 0-31,-1 0 0,0 0 16,0 0-16,1 0 0,-1 0 0,0 0 15,14 0-15,-14 0 0,0 0 16,0 0-16,0-14 0,1 14 16,-1 0-16,0 0 0,0 0 0,1 0 15,-14-13-15</inkml:trace>
  <inkml:trace contextRef="#ctx0" brushRef="#br0" timeOffset="52718.33">10663 7898 0,'-14'0'15,"54"0"-15,-27 0 16,1 0-16,-1 0 16,0 0-16,0 0 15,1 0 1,-14 13-16,13-13 15,-13 27 1,0-1-16,0-13 0,0 0 0,0 1 16,0-1-16,0 0 15,0 0-15,0 1 16,0-1-16,0 0 0,13-13 16,-13 13-16,13-13 15,0 0 1</inkml:trace>
  <inkml:trace contextRef="#ctx0" brushRef="#br0" timeOffset="54416.54">9260 9088 0,'40'0'0,"-27"0"16,1 0-16,-1 0 16,13 0-16,-13 0 0,14-13 15,-1 13-15,-12 0 0,12 0 0,1 0 16,-1 0-16,0 0 0,1 0 15,26-13-15,-40 13 0,0 0 16,14 0-16,-14 0 16,0 0-16,0 0 15,1 0-15</inkml:trace>
  <inkml:trace contextRef="#ctx0" brushRef="#br0" timeOffset="54891.53">9618 8916 0,'13'14'16,"13"-1"-1,-26 0 1,14 0-16,-1-13 0,-13 14 0,13-1 16,0-13-16,0 13 0,-13 0 0,14 1 15,-1-14-15,0 13 0,0 0 16,1 13-16,-1-12 0,0-1 16,-13 0-16,0 0 15,0 1-15,0-1 0,-13 0 16,13 0-16,-13 1 0,-1-1 0,1 0 15,0 13-15,-40 14 16,27-27-16,12 1 0,1-1 16</inkml:trace>
  <inkml:trace contextRef="#ctx0" brushRef="#br0" timeOffset="56076.59">10438 8903 0,'-13'40'0,"13"-27"0,0 0 0,0 1 15,0 12-15,0-13 16,-14 1-16,14 12 15,0-13-15,0 0 16,27-39 15,-27 13-15,13 0-16,0-1 16,1 1-16,-1 0 0,0 0 15,0 13 1,0 0-16,14 13 15,-14 0 1,-13 0 0,13-13-16,-13 14 15,14-1-15,-1-26 32,0-1-17,0 1-15,0 13 16,-13-13-16,14 13 0,-1 0 0,0-13 15,0 13 1,1 13 0,-1-13-16,-13 13 0,13 0 15,-13 1 1,13-1 0</inkml:trace>
  <inkml:trace contextRef="#ctx0" brushRef="#br0" timeOffset="56237.46">10888 8956 0,'13'0'16,"-13"13"15,0 1-15,0-1-16,0 0 0,0 0 15,-13-13-15,13 14 0,0-1 16,0 0-1</inkml:trace>
  <inkml:trace contextRef="#ctx0" brushRef="#br0" timeOffset="56812.43">11073 8969 0,'0'14'0,"0"-1"16,0 13 15,0-12 0,26-28-15,-26 1 0,13 13-16,-13-13 0,14 13 15,-1 0-15,13 0 31,-26 13-31,14-13 16,-1 13 0,0 1-16,-13-1 15,13-13 1,1 13 0</inkml:trace>
  <inkml:trace contextRef="#ctx0" brushRef="#br0" timeOffset="57093.94">11430 8943 0,'0'-27'15,"0"54"-15,0-67 16,-13 53 15,0 1-31,-1 25 16,14-25-16,-13-1 15,13 0-15,0 0 0,0 1 16,0-1-16,13 0 16,1 0-16,-1 0 15,0-13 1</inkml:trace>
  <inkml:trace contextRef="#ctx0" brushRef="#br0" timeOffset="57367.52">10821 8771 0</inkml:trace>
  <inkml:trace contextRef="#ctx0" brushRef="#br0" timeOffset="58496.17">7197 8599 0,'13'40'0,"-26"-27"0,13 0 0,0 0 16,-14 1-16,14 12 0,0-13 0,-13 0 15,13 1-15,-13-1 0,13 0 0,0 0 16,-13 1 0,26-14 15,0 13-15,0-13-16,14 0 15,-1 0 1,1-13-1,-14 13-15,0 0 0,0-14 16,1 14-16,-1 0 0,0-13 16,0 13-16,1 0 0,-14-13 15,13 13-15,0 0 0,0 0 16,1 13 0,-14 0-1,13 1 1,-13-1-1</inkml:trace>
  <inkml:trace contextRef="#ctx0" brushRef="#br0" timeOffset="59068.45">7567 8559 0,'13'13'15,"-13"14"1,0-14-16,0 14 0,14-1 0,-14 1 16,0-1-16,0 14 0,0-1 0,0-12 15,0-1-15,0 54 16,0-54-16,-14 1 0,14-14 16,0 13-16,0-12 0,-13-1 0,13 0 15,0 0 1,-13-13-16,26-26 31,0 13-31,-13-1 16,14 1-16,-14 0 0,13 0 0,0-27 15,0 27-15,-13-14 0,13 14 16,-13 0-16,14-27 16,-1 27-16,-13 0 0,0-1 15,0 41 32,0-14-31,13 0-16,-13 14 15,13-27 1,1 13-16,-1-13 16</inkml:trace>
  <inkml:trace contextRef="#ctx0" brushRef="#br0" timeOffset="59316.61">8096 8705 0,'0'39'0,"0"-25"0,0-1 15,0 27 1,0-27-16,0 0 16,0 0-16</inkml:trace>
  <inkml:trace contextRef="#ctx0" brushRef="#br0" timeOffset="59469.6">8070 8639 0,'0'-14'0</inkml:trace>
  <inkml:trace contextRef="#ctx0" brushRef="#br0" timeOffset="59780.56">8229 8731 0,'0'0'0,"0"13"0,0 1 15,0-1-15,0 0 16,0 0 0,13-26 46,0 0-62,0 13 16,0 0-16,-13-13 15,14 13-15,12 0 16,-13 0-16,1-14 16,-1 14-16,0 0 15</inkml:trace>
  <inkml:trace contextRef="#ctx0" brushRef="#br0" timeOffset="60004.68">8467 8665 0,'-14'13'16,"14"1"0,0 12-16,14-26 15,-14 13-15,0 0 0,0 1 16,0-1-16,0 0 16,-14 14-1,14-14-15,-13 0 0,13 0 16,-13-13-16,0 14 15,0-14 1</inkml:trace>
  <inkml:trace contextRef="#ctx0" brushRef="#br0" timeOffset="60328.46">8520 8705 0,'-14'13'32,"14"0"-17,0 0 1,0 1-16,14-1 16,-1-13-1,0 0 1,0 0-1,0 0-15,1 0 16,-1 0 15,-13 13-31,13-13 16,-13 13 0</inkml:trace>
  <inkml:trace contextRef="#ctx0" brushRef="#br0" timeOffset="60605.47">8678 8718 0,'0'-13'16,"0"26"15,0 0-15,0 0-16,0 1 0,27-28 78,-1 1-62,-26 0-1,27 13-15,-27-13 16,13 13-16</inkml:trace>
  <inkml:trace contextRef="#ctx0" brushRef="#br0" timeOffset="60820.51">8824 8665 0,'13'0'16,"-26"0"-1,0 13 17,13 1-17,0-1 16,13-13-31,-13 13 0,13 0 16,-13 0 0,13-13-1,1 0-15,-1-13 16,0 13 0</inkml:trace>
  <inkml:trace contextRef="#ctx0" brushRef="#br0" timeOffset="63277.78">11139 7938 0,'26'0'63,"1"-14"-48,-14 14-15,0 0 0,1 0 0,-1 0 16,0 0-16,0 0 0,0 0 15,40 0 1,-26 0 0</inkml:trace>
  <inkml:trace contextRef="#ctx0" brushRef="#br0" timeOffset="63567.85">11271 7832 0,'27'13'31,"-14"0"-15,13 0-16,-12 1 0,-1-1 15,0 0-15,0-13 0,1 13 0,-14 1 16,13 12 0,0-13-16,-13 0 0,-13-13 0,13 14 15,0-1-15,-13-13 0,-1 13 16,1 0-16,13 1 0,-13-14 0,0 13 16</inkml:trace>
  <inkml:trace contextRef="#ctx0" brushRef="#br0" timeOffset="68159.99">10716 9274 0,'79'0'0,"-53"0"0,14 0 0,-13 13 16,12-13-16,67 0 16,-66 0-16,13 13 0,0-13 0,-14 0 15,14 0-15,-13 0 0,-14 0 16,14 0-16,-13 0 0,12 0 0,-12-13 15,-1 13-15,1 0 0,-1 0 0,1 0 16,-14-13-16,0 13 0,0 0 16,14 0-16,-14-14 0,0 14 0,-13-13 15,13 13-15,1-13 0,-1 13 16,-13-13-16,13 13 0,-13-13 0,0-1 16,13 1-16,-13 0 0,0 0 15,0-1-15,14-25 0,-14 25 16,0-12-16,0 13 0,0-14 0,0 14 15,0-13-15,0 12 0,0-12 16,0 13-16,0-14 0,0 14 16,0 0-16,0 0 0,0-1 0,0 1 15,0 0-15,-14 0 0,14-1 16,0 1-16,-13 0 16,13 0-16,-13 13 15,13-14-15,-13 14 16,-1 0-16,-12 0 15,13 0-15,-40-13 32,0 13-17,13 0-15,0 0 0,14-13 16,0 13-16,-14 0 0,-40 0 16,41 0-16,-1-13 0,0 13 15,14 0-15,-14 0 0,1 0 0,-1 0 16,-13 0-16,0 13 0,13-13 0,14 0 15,-27 0-15,13 0 0,14 0 16,-1 0-16,-26 0 0,40 0 16,-13 13-16,13-13 0,-1 0 15,1 0-15,0 0 0,0 0 0,-14 0 16,14 13 0,0-13-1,0 0 1,-1 0-1,1 14 1,0-14-16,0 0 16,-1 0-1,-12 13 1,13-13-16,-1 0 16,1 13-1,0 0 1,0 1-1,13-1 1,0 0 0,0 0-16,-13 14 15,13-14-15,0 0 0,0 0 16,-14 1-16,14-1 16,0 0-16,0 0 0,0 1 0,-13-1 15,13 13 1,0 1-16,-13-14 0,13 0 0,0 0 0,0 27 15,0-27-15,0 1 0,0-1 16,0 0 0,0 0-16,0 1 0,13-1 0,-13 0 15,13 0-15,-13 0 0,14-13 16,-14 14-16,13-14 0,0 13 16,0-13-16,0 0 0,1 0 0,-1 0 15,0 13-15,14-13 0,-14 0 0,0 0 16,14 0-16,-14 0 0,13 0 15,-13 0-15,14 0 0,-1 0 0,-12 13 16,12-13-16,0 0 0,-12 0 0,12 0 16,-13 14-16,14-14 0,-14 0 15,0 13-15</inkml:trace>
  <inkml:trace contextRef="#ctx0" brushRef="#br0" timeOffset="80687.39">11549 9538 0,'0'27'0,"0"-14"0,0 0 15,-13 14 1,13-14-16,0 0 0,0 14 15,0-14 1,0 13-16,-13-26 16,13 13-16,0 1 15,0-1 1,0 0 0</inkml:trace>
  <inkml:trace contextRef="#ctx0" brushRef="#br0" timeOffset="80987.07">11470 9737 0,'-14'0'0,"28"26"31,-14 1-16,0-14-15,13-13 0,0 26 16,-13-13 0,13-13-16,14 0 15,-14 0-15,14-13 16,-14 0-16,0 0 0,0 13 16,40-40-1,-40 40-15,1-13 0,-1 0 0,0 13 16,0-14-16</inkml:trace>
  <inkml:trace contextRef="#ctx0" brushRef="#br0" timeOffset="81501.07">11443 10173 0,'-39'-13'0,"25"26"0,1 0 16,0-13-16,0 14 0,-1-1 16,1 40-16,0-40 15,13 0-15,0 27 16,0-27-16,13 0 0,-13 1 16,0-1-16,13 0 15,1 0-15,-1-13 0,13 14 16,-12-14-16,-1 0 15,0 0-15</inkml:trace>
  <inkml:trace contextRef="#ctx0" brushRef="#br0" timeOffset="81980.6">11668 10239 0,'-13'-13'15,"0"13"-15,-1 0 16,1 13-16,0-13 16,0 14-16,0-1 15,13 0-15,-27 27 16,27-27 0,13 0-1,1-13 1,12-13-1,-13 13-15,0-13 16,1 13 0,-14-13-1,13 13-15,-13 13 16,13-13 0,-13 13-1,13-13 16,1 0-15,-1-13 0,0 13-16,0 0 15,1 0 1,-1 0 0,13 0-1,-13 0 1,1 13-16,12-13 15</inkml:trace>
  <inkml:trace contextRef="#ctx0" brushRef="#br0" timeOffset="82545.61">11959 10107 0,'-13'13'47,"13"1"-31,0-1-16,-13 0 0,13 27 15,0-27 1,-14 13-1,28-12-15,-14-1 0,13 0 16,0 0 0,0-13-1,1 0 1</inkml:trace>
  <inkml:trace contextRef="#ctx0" brushRef="#br0" timeOffset="82963.63">12078 10266 0,'13'-13'15,"-13"-1"-15,14 14 16,-14-13 0,0 0-16,0 0 0,0-1 31,0 41 31,0-14-62,0 0 16,13 14 0,0-14-1</inkml:trace>
  <inkml:trace contextRef="#ctx0" brushRef="#br0" timeOffset="83266.58">12211 10226 0,'0'-13'16,"0"39"15,0-12-15,26-28 46,-13 14-46,-13-13-16,27 0 15,-14 13 1,0 0 0</inkml:trace>
  <inkml:trace contextRef="#ctx0" brushRef="#br0" timeOffset="86823.74">11946 9141 0,'-40'53'16,"27"-53"-16,-27 53 16,27-40-16,0 1 0</inkml:trace>
  <inkml:trace contextRef="#ctx0" brushRef="#br0" timeOffset="87019.99">12025 9168 0,'-26'26'0,"13"-12"15,-1-1-15,1 0 0,-13 13 16,-1 1-16,-52 52 16</inkml:trace>
  <inkml:trace contextRef="#ctx0" brushRef="#br0" timeOffset="90199.24">10782 8281 0,'13'-26'0,"0"13"0,0 0 0,14-1 16,-14 1-1,0 0-15,1 13 0,25-13 16,-39-1-16,27 1 16</inkml:trace>
  <inkml:trace contextRef="#ctx0" brushRef="#br0" timeOffset="90395.73">10795 8308 0,'13'-27'31,"14"27"-16,-14-13-15,0 13 0,27-26 16,-27 26-16,0 0 16,1-13-16</inkml:trace>
  <inkml:trace contextRef="#ctx0" brushRef="#br0" timeOffset="93747.65">3201 11523 0,'14'-14'0,"-14"1"16,13 0 0,-26 0-1,-14 26 1,14 0-1,0 0-15,-14 27 16,1-13-16,13-14 0,-1 13 0,1 1 16,0-14-16,13 13 0,-13 1 15,-1-1-15,14-12 0,0-1 16,0 0-16,0 0 16,14 0-16,-1 1 0,13-1 15,-12-13 1,25 0-16,-25 0 15,12-13-15,27 13 16</inkml:trace>
  <inkml:trace contextRef="#ctx0" brushRef="#br0" timeOffset="94142.93">3506 11602 0,'-27'0'16,"14"0"-16,0 13 0,0 0 15,-14 1 1,14-1-16,13 0 16,-13 0-16,13 1 0,-14-1 0,14 0 15,0 0 1,14 1-16,-1-14 15,0-14 1,0 1 0,1-13-1,-14 12 1,13 1 0,0 26-1,0-13 1,-13 14-16,13-14 15,-13 13-15,14 0 0,-1 0 16,-13 1 0</inkml:trace>
  <inkml:trace contextRef="#ctx0" brushRef="#br0" timeOffset="94476.79">3598 11655 0,'14'26'16,"-14"-12"0,0-1-16,0 0 15,-14 0-15,14 1 0,0-1 16,0 0-16,0 0 15,0-39 32,14 13-47,-14-1 16,13 1-16,-13 0 16,13 13-16,-13-13 0,13 13 15,0 0-15,14-14 16,-14 14-16</inkml:trace>
  <inkml:trace contextRef="#ctx0" brushRef="#br0" timeOffset="94790.83">4194 11602 0,'-14'0'15,"14"26"16,-13 1-31,13-14 16,0 0-16,0 14 16,0-14-16,-13-13 0,13 13 0,0 1 15</inkml:trace>
  <inkml:trace contextRef="#ctx0" brushRef="#br0" timeOffset="94968.37">4141 11509 0,'0'0'0,"0"-13"0,-13 13 0,13-13 16,-14 26 15</inkml:trace>
  <inkml:trace contextRef="#ctx0" brushRef="#br0" timeOffset="95263.62">4260 11642 0,'0'26'15,"0"-13"1,0 1 0,13-28 31,0 14-32,-13-13-15,13 13 16,14-13-1,-14 13-15,0 0 16,14-13 0</inkml:trace>
  <inkml:trace contextRef="#ctx0" brushRef="#br0" timeOffset="95524.18">4498 11536 0,'-13'0'16,"26"0"-16,-26 13 16,13 0-16,0 1 15,0 12 1,0-13-16,0 0 16,0 1-1,0 12-15,-14-26 0,14 13 0,-13 1 16,0-1-1,0-13-15,13 13 0,-13-13 16,13 13 0</inkml:trace>
  <inkml:trace contextRef="#ctx0" brushRef="#br0" timeOffset="95843.46">4564 11615 0,'0'-13'15,"-13"39"1,13-12 0,0-1-1,13-13-15,-13 13 0,13 0 16,1-13-1,-1-13 1,0 13-16,0 0 16,0 0-16,1 0 31,-1 13-15,-13 1-1,13-14 1</inkml:trace>
  <inkml:trace contextRef="#ctx0" brushRef="#br0" timeOffset="96080.2">4776 11668 0,'0'13'31,"13"-13"-31,-13 14 16,13-28 15,0 14-15,-13-13-16,14 0 16,-1 13-1</inkml:trace>
  <inkml:trace contextRef="#ctx0" brushRef="#br0" timeOffset="96949.47">3519 12316 0,'0'93'0,"0"-67"0,0-12 0,0 12 16,0-13-16,0 14 0,0-14 0,0 0 15,0 0-15,0 1 0,0-1 16,0 0-16,0 0 15,13-26 17,0-13-32,1 12 15,-1 1-15,0 0 16,0 0-16,14 13 16,-14 13-16,0-13 15,-13 13 1,0 0-16,0 1 0,-13 12 31,0-13-31,-14 14 16,14-27-16,0 13 0,0-13 15,-1 13-15,1-13 16,0 0 0</inkml:trace>
  <inkml:trace contextRef="#ctx0" brushRef="#br0" timeOffset="97115.46">3731 12475 0,'0'27'0,"0"12"15,0-26 1,0 14-16,0-14 15</inkml:trace>
  <inkml:trace contextRef="#ctx0" brushRef="#br0" timeOffset="97286.77">3770 12382 0,'-13'-13'16,"0"26"-1</inkml:trace>
  <inkml:trace contextRef="#ctx0" brushRef="#br0" timeOffset="97527.55">3916 12237 0,'13'26'16,"-13"14"0,0-13-16,-13-14 15,13 13-15,-13 40 16,13-52-16,-14 12 0,14-13 15,0 14-15,-13-14 0,13 13 16,0 1 0,0-14-16</inkml:trace>
  <inkml:trace contextRef="#ctx0" brushRef="#br0" timeOffset="97788.01">4101 12396 0,'-13'-14'16,"0"14"0,-1 0-16,1 14 0,-13-1 15,12-13 1,1 13-16,0 0 16,0 1-16,0-14 15,13 13-15,0 0 0,0 0 31,13 1-15,0-14 0,0 0-16,14 0 15</inkml:trace>
  <inkml:trace contextRef="#ctx0" brushRef="#br0" timeOffset="98049.76">4194 12475 0,'0'0'0,"0"-13"0,13 13 16,-40 13 31,27 0-32,-13 1-15,26-1 16,-13 0 0,14 0-16,-1-13 15,0 0-15,0 0 0,1 0 0,-1 0 16</inkml:trace>
  <inkml:trace contextRef="#ctx0" brushRef="#br0" timeOffset="98374.72">4789 12277 0,'0'-14'0,"0"41"31,0-14-31,0 0 0,0 1 16,0 12-16,0-13 15,0 0-15,-13 27 16,13-27-16,0 1 0,0-1 15</inkml:trace>
  <inkml:trace contextRef="#ctx0" brushRef="#br0" timeOffset="98524.89">4749 12237 0,'0'-13'0</inkml:trace>
  <inkml:trace contextRef="#ctx0" brushRef="#br0" timeOffset="98852.68">4868 12356 0,'0'13'16,"0"-26"-16,0 39 16,0-12-1,27-14 32,-14-14-31,0 14-16,0 0 15,1 0-15,-1 14 16,13-14 0,-12 0-1,12 0 1</inkml:trace>
  <inkml:trace contextRef="#ctx0" brushRef="#br0" timeOffset="99151.78">5159 12224 0,'-26'0'15,"26"13"1,0 0 0,13 27-1,-13-27-15,13 0 0,-13 1 0,0-1 16,0 0 0,-13 13-1,13-12-15,-13-1 0,0-13 0,13 13 16,-14-13-16,1 13 15,0-13-15,0-13 32</inkml:trace>
  <inkml:trace contextRef="#ctx0" brushRef="#br0" timeOffset="99583.68">5226 12277 0,'-14'26'31,"14"-13"-15,14 1 0,-1-1-1,0-26 1,0 13-1,0 0 1,-13-14-16,14 14 16,-1 0-1,0 0 1,0 0-16,1 0 0,-1 14 16,0-14-1,-13 13 1,13-13-1,1-13 1,-1-1 0,0 1-1,0 13 1,0 0 15</inkml:trace>
  <inkml:trace contextRef="#ctx0" brushRef="#br0" timeOffset="99871.76">5517 12356 0,'26'-26'15,"-26"12"-15,13 14 0,-13-13 16,13 0-1,-26 39 32,13-12-31,0-1-16,13-13 16,1 13-1,-1-13 1,13 0-16,-12-13 15</inkml:trace>
  <inkml:trace contextRef="#ctx0" brushRef="#br0" timeOffset="100236.45">5159 12528 0,'80'13'0,"-67"-13"16,13 0-16,1 0 0,26-13 16,-27 13-16,-12 0 0,12 0 15,0 0-15,14 0 16,-27 0-16,1 0 15,-1 0-15</inkml:trace>
  <inkml:trace contextRef="#ctx0" brushRef="#br0" timeOffset="100429.38">5146 12660 0,'40'-13'31,"-14"13"-31,-12 0 16,12 0-16,0-13 0,1 13 0,-1 0 16,14-13-16,-13 13 0,-1 0 0,0-14 15,14 14-15,26-13 16,-53 0-16</inkml:trace>
  <inkml:trace contextRef="#ctx0" brushRef="#br0" timeOffset="100969.56">4419 11906 0,'13'0'0,"0"0"0,27 0 15,-14 0-15,-13-13 16,14 13-16,-14 0 0,0 0 16,53 0-16,-52 0 15,-1 13-15,0-13 0,0 0 0,1 0 16</inkml:trace>
  <inkml:trace contextRef="#ctx0" brushRef="#br0" timeOffset="101134.61">4524 12052 0,'40'0'0,"-27"0"15,40-13 1,-26 13-16,-14 0 0,13-14 0</inkml:trace>
  <inkml:trace contextRef="#ctx0" brushRef="#br0" timeOffset="107478.56">6985 11523 0,'0'-14'0,"0"41"32,0 13-17,0-27-15,0 0 0,0 13 16,0 14-16,0-13 16,0-1-16,0-13 0,-13 14 15,13-14-15,0 27 16,-13-40-16</inkml:trace>
  <inkml:trace contextRef="#ctx0" brushRef="#br0" timeOffset="107927.5">6932 11523 0,'27'-40'16,"-54"80"-16,67-93 0,-27 53 0,0 0 15,14 0-15,-14 0 16,0 13-16,0-13 0,-13 13 0,14 0 15,-14 1-15,0 12 16,0 1-16,-14-14 0,-12 26 16,13-25-16,-14-1 0,14 0 15,0 0-15,0 1 0,13-1 16,-14-13-16,14 13 0,-13-13 16,13 13-16,-13-13 15,13 14-15,13-1 16,0 0-1,1 0-15,-1-13 0,0 0 0,0 13 0,0-13 16,14 14 0,-14-14-16,0 13 15,14-13 1</inkml:trace>
  <inkml:trace contextRef="#ctx0" brushRef="#br0" timeOffset="108103.52">7250 11668 0,'13'27'47,"-13"-14"-47,0 13 16,0-12-1,-13-1-15,13 0 0,0 0 16</inkml:trace>
  <inkml:trace contextRef="#ctx0" brushRef="#br0" timeOffset="108276.56">7250 11549 0,'0'-13'15</inkml:trace>
  <inkml:trace contextRef="#ctx0" brushRef="#br0" timeOffset="108558.62">7395 11655 0,'-13'0'16,"0"13"-16,26-13 16,-13 27-1,0-14-15,0 0 0,0 0 16,13 1-16,-13-1 15,0 0-15,-13-13 0,13 40 16,-13-40-16,-1 13 16,14 0-16,-13-13 0,0 13 0,0 1 15,-1-14 1,1 13-16</inkml:trace>
  <inkml:trace contextRef="#ctx0" brushRef="#br0" timeOffset="108791.6">7554 11576 0,'0'26'31,"-13"-13"-31,13 0 0,-14 14 15,14-1-15,0-12 16,-13-1-16,13 13 0,-13-12 0,13 12 16,-13-13-16,13 0 15,0 1 1</inkml:trace>
  <inkml:trace contextRef="#ctx0" brushRef="#br0" timeOffset="109045.2">7646 11708 0,'-26'26'16,"13"-12"-16,52-54 15,-91 93-15,52-40 16,0 0-1,13-13 1,-13 13-16,13-13 0,0 0 0,0 14 16,14-14-16,-1 0 15,-12 0 1</inkml:trace>
  <inkml:trace contextRef="#ctx0" brushRef="#br0" timeOffset="109674.89">8162 11628 0,'-39'120'0,"25"-107"0,14 26 16,-13-39-1,13 14-15,0-1 16,0 0-16,27-39 15,-27 12 1,13-12-16,0 13 16,-13-14-16,13 14 0,1-27 0,12-13 15,-26 40-15,13-13 0,1-1 16,-1 14 0,0 0-16,0 0 15,0 13-15,1 26 16,-1-13-1,0 1-15,-13 25 0,13-26 0,-13 1 16,0-1-16,0 13 0,0-12 0,0-1 16,14 0-16,-14 0 0,0 14 15,0-14 1,0 0-16</inkml:trace>
  <inkml:trace contextRef="#ctx0" brushRef="#br0" timeOffset="109863.62">8109 11774 0,'27'-26'16,"-14"26"-1,0 0-15,1 0 0,-1-14 16,13 14-16,-12 0 0,25 0 15,-26 0-15</inkml:trace>
  <inkml:trace contextRef="#ctx0" brushRef="#br0" timeOffset="110504.61">8520 11628 0,'-14'27'0,"1"-1"15,13-12 1,0-1-16,-13 0 0,13 0 16,0 1-16,-13-1 15,13 0-15,26-26 31,1-14-15,-14 14 0,0 0-16,0 0 0,0 13 15,27-14 1,-27 14-16,1 0 0,-1 0 16,0 14-1,0-14-15,-13 13 0,14-13 0,-1 13 0,-13 0 16,13-13-16,-13 14 0,0-1 15,13-13 1</inkml:trace>
  <inkml:trace contextRef="#ctx0" brushRef="#br0" timeOffset="110905.8">8903 11642 0,'-13'0'15,"0"0"1,0 0-16,-1 0 0,14 13 0,-13-13 16,13 13-16,-13 0 15,0 1 1,13-1-16,0 0 15,13 0-15,0-13 32,0 0-32,1 0 0,-14-13 15,13 13-15,0-13 16,0 13 0,0 0-1,1 13 16,-1-13-31,-13 13 0,13-13 16,0 14 0,1-14-1</inkml:trace>
  <inkml:trace contextRef="#ctx0" brushRef="#br0" timeOffset="111714.77">9128 11443 0,'-13'-13'0,"0"39"31,13-12-31,-14 12 16,14-13-16,-13 40 15,13-39-15,0 12 0,0-13 16,0 14-16,0-14 0,0 0 16,0 0-16,13 1 15,1-1-15,-1-13 16,0 0 0,0-13-16,1 13 15,-1 0-15,-13-14 16,13 14-16,0 0 15,1 14 1,-1-1 15,0-13-15,0-13-16,14 13 16,-14 0-1,0 0 1,0 0-16,-13 13 0,14-13 0,-14 13 15,13-13-15,-13 13 0,0 1 16,13-14-16,-13 39 16,-13-12-16,0-14 15,-1 0-15,1 0 0,0-13 16,13 14-16,-13-14 0,13 13 0,-14-13 16,1-13-1,26-14 1,1 14-16,-1 0 15,-13-1-15,13 1 0,0 0 16,14-27 0,-14 27-16,0 0 0,0 0 0,1 13 15,-14-14-15,13 1 0,0 0 16,0 13 0,1-13-16,-1 13 15,0 13 1,0-13-16,-13 13 0,14 0 15,-14 1 1,0-1-16,0 13 16,-14-26-16,14 14 0,0-1 15,-13 0 1,13 0-16,-13-13 0,13 13 0,-13-13 16</inkml:trace>
  <inkml:trace contextRef="#ctx0" brushRef="#br0" timeOffset="111867.7">9618 11589 0,'13'26'15,"-26"-26"1,13 27-16,0-14 15</inkml:trace>
  <inkml:trace contextRef="#ctx0" brushRef="#br0" timeOffset="112048.4">9618 11509 0,'-14'-13'0,"1"26"47</inkml:trace>
  <inkml:trace contextRef="#ctx0" brushRef="#br0" timeOffset="112286.68">9763 11562 0,'0'27'0,"0"-14"16,0 0-16,0 0 0,13 14 16,-26-14-1,0 14 1,0-14-1,13 0-15,-14-13 16,1 13 0,0-13-16,13 14 0,-13-14 15</inkml:trace>
  <inkml:trace contextRef="#ctx0" brushRef="#br0" timeOffset="112527.57">10041 11628 0,'-27'27'15,"14"-27"-15,0 13 16,0 0-16,0 1 0,-14-1 0,1 0 15,-1 14-15,1-14 0,-27 40 16,40-40 0,-1 0-16,1 0 0,0-13 0,13 14 15</inkml:trace>
  <inkml:trace contextRef="#ctx0" brushRef="#br0" timeOffset="112734.97">10134 11628 0,'-27'27'16,"14"-27"0,0 26-16,-14-12 0,-92 91 15,79-78-15,14 13 16,-14-14-16,-26 40 15,26-39-15</inkml:trace>
  <inkml:trace contextRef="#ctx0" brushRef="#br0" timeOffset="114075.58">6668 11972 0,'13'14'0,"0"-1"0,-13 0 0,0 0 16,26 14-1,-12-1-15,-14-13 16,13 1-16,-13-1 0,13 0 16,-13 0-1</inkml:trace>
  <inkml:trace contextRef="#ctx0" brushRef="#br0" timeOffset="114278.77">6813 11972 0,'0'-13'0,"13"40"16,0-14-16,-13 0 15,14 0-15,-1 40 16,-13-40-16,13 1 16,0-1-16,1 13 15</inkml:trace>
  <inkml:trace contextRef="#ctx0" brushRef="#br0" timeOffset="116932.67">9247 12369 0,'13'0'0,"-26"27"15,0-1 1,0-13-16,13 1 16,-13-1-16,-1 13 15,14-12-15,0-1 16,14 13 0,-1-26-1,-13 13-15,13-13 0,0 0 0,0 0 16,1 0-16,-1 0 0,0 0 15,40 0 1,-40 0-16,14 0 0,-14 0 0,0 0 16,0 0-16,1-13 0,-1 13 15,0 0-15,0 0 0,1-13 16</inkml:trace>
  <inkml:trace contextRef="#ctx0" brushRef="#br0" timeOffset="117214.67">9499 12396 0,'26'13'16,"0"13"-1,-12 1 1,-1-14 0,-13 0-16,0 1 15,0-1-15,-13 13 16,13-13-16,-14-13 0,14 14 16,0-1-16,-13 0 0</inkml:trace>
  <inkml:trace contextRef="#ctx0" brushRef="#br0" timeOffset="117964.86">9882 12277 0,'13'0'0,"-26"26"16,13 1-1,0-14-15,0 0 16,-13 0-16,13 0 0,0 14 15,0-14-15,0 0 0,0 1 16,0-1-16,0 0 0,13 0 16,-13 1-16,13-14 0,-13 13 15,14-13-15,-1 0 16,13 0 0,-12 0-16,-1 0 0,-13-13 15</inkml:trace>
  <inkml:trace contextRef="#ctx0" brushRef="#br0" timeOffset="118144.66">9763 12396 0,'53'-14'31,"-40"14"-31,14-13 0,-14 13 0,0 0 16,0 0-16,40 0 16</inkml:trace>
  <inkml:trace contextRef="#ctx0" brushRef="#br0" timeOffset="118807.41">10120 12435 0,'0'-13'15,"14"13"-15,-14-13 16,0 0-16,-14 26 47,1 0-32,13 0 1,13 14 0,1-27-1,-1 0 1,-13-13 0,13 13-16,0-14 15,0 14 1,1 0-16,-1 0 15,0 0 1,0 14 0,-13-1-1,14-13 1,-14 13 0,26-26 15,-13 13-16,-13-13 1,14 13-16,-1 0 16,0-14-16,13 14 15,-12 0 1,-1 0-16,0-13 0,0 13 0,1 0 0</inkml:trace>
  <inkml:trace contextRef="#ctx0" brushRef="#br0" timeOffset="119092.54">10530 12316 0,'0'0'0,"-13"0"0,13 14 16,0-1-1,0 0 1,0 0-1,0 0-15,0 1 0,0-1 16,0 0-16,-13-13 16,0 13-16,0 1 0,-1-1 15,1-13-15,13 13 0,-13-13 16,0 0-16,-1 13 16,1-13-16</inkml:trace>
  <inkml:trace contextRef="#ctx0" brushRef="#br0" timeOffset="119557.46">10583 12343 0,'14'26'31,"-14"-13"-15,0 14-1,13-27 1,0 0 0,0 0-1,0 0-15,1 0 16,-1-13-1,0 13 1,0 0-16,1 0 31,-1 0-15,0 0 0,0 0 15,-13-14-31,14 14 15,-14-13-15,13 13 16,0 0 15,0 13-15</inkml:trace>
  <inkml:trace contextRef="#ctx0" brushRef="#br0" timeOffset="119939.51">10888 12435 0,'-14'-26'31,"14"52"63,14-39-63,-1 13-15,-13-13-16,13 13 15,-13-13-15,13-1 16,-13 1 0,14 13-16,-14-13 15</inkml:trace>
  <inkml:trace contextRef="#ctx0" brushRef="#br0" timeOffset="120188.79">10993 12382 0,'27'-26'0,"-27"13"16,-13 39 15,-1-26-16,14 13 1,0 1-16,27-1 16,-14-13-1,-13 13-15,27-13 16,-14 0-16,0 0 0,0 13 16</inkml:trace>
  <inkml:trace contextRef="#ctx0" brushRef="#br0" timeOffset="120505.61">10107 12753 0,'0'0'0,"27"-13"16,-14 13-16,0-14 15,53 1-15,-26 13 16,0-13-16,-1 13 0,14 0 16,-13-13-16,0 13 0,65-13 15,-78 13-15,-14-14 0,0 14 16,0 0-16,1 0 15,-1 0-15,0 0 0,0 0 16</inkml:trace>
  <inkml:trace contextRef="#ctx0" brushRef="#br0" timeOffset="120739.71">10226 12819 0,'-13'0'0,"26"0"0,0 0 31,1-13-31,12 13 0,40-13 16,-39 13-1,12-14-15,1 14 0,26-13 16,-26 0-16,-14 13 0,1 0 16,-1-13-16,1 13 0,-14 0 0,13-14 15,-12 14-15,25 0 16,-25-13-16</inkml:trace>
  <inkml:trace contextRef="#ctx0" brushRef="#br0" timeOffset="123107.05">11086 11523 0,'26'-27'0,"14"14"15,-27 13-15,1-13 0,-1 13 0,13-14 16,-12 14-16,-1 0 0,-13-13 16,13 13-16,0 0 0,0-13 15,14 26 1,-27 0-16,13-13 0,-13 14 15,13 12-15,-13 14 16,14 0-16,-1-1 0,-13 1 0,13 0 16,0-1-16,-13 14 0,27 93 15,-27-107-15,13 80 16,0-66-16,-13-13 0,13 13 16,1 79-1,-1-92-15,-13 0 0,0-14 0,0 1 16,0-1-16,0 0 0,0 1 15,0-14-15,0 14 0,-13-14 16,13 13-16,-14-12 0,1 12 0,13-13 0,-13 0 16,0-13-16,0 14 0,-1-1 15,-12-13-15,13 13 0,-1-13 16,1 0-16,0 13 0,-14-13 0,14 0 16,0 0-16,-27 0 15,14-13-15,13 13 0,-14 0 0,14 0 16,0 0-16,-1-13 0,1 13 0,0-13 15</inkml:trace>
  <inkml:trace contextRef="#ctx0" brushRef="#br0" timeOffset="126260.89">11840 11602 0,'-53'26'15,"53"-12"-15,-13-1 0,0 0 0,0 0 0,13 1 16,-14-1-16,14 0 0,0 0 15,-13 1-15,13-1 0,0 0 16,13 0-16,-13 0 0,0 1 0,14-1 16,-14 0-16,13-13 15,0 13-15,13-13 16,-12 0-16,12-13 16,-26 0-16,13 0 0,1-1 15,-1 1-15,0-13 0,0 13 0,0-14 16,1 1-16,-1-1 0,-13 14 15,13-14-15,-13 14 0,13 0 16,-13 0-16,0 0 0,14-1 0,-14 1 16,0 40 15,0-14-31,0 0 0,0 40 16,0-40-1,0 14-15,0-14 0,0 0 0,0 0 16,0 1-16,0-1 0,0 0 0,13 0 15,0 0-15,0 1 16,1-14-16</inkml:trace>
  <inkml:trace contextRef="#ctx0" brushRef="#br0" timeOffset="126788.65">12224 11655 0,'-40'13'16,"27"-13"-16,0 13 0,-1 1 15,1 12 1,13-13-16,0 1 15,0-1-15,13-13 16,1 0 0,-1-13-1,0 13-15,-13-14 0,13 14 16,1-13 0,-1 26 15,-13 1-16,0-1-15,13-13 0,-13 13 16,13-13 15,14-13-15,-1 0 0,-13 13-1,1 0 1,-14 13 15,13 0-31</inkml:trace>
  <inkml:trace contextRef="#ctx0" brushRef="#br0" timeOffset="126923.56">12396 11602 0,'0'0'15,"0"-13"-15,-14 13 16</inkml:trace>
  <inkml:trace contextRef="#ctx0" brushRef="#br0" timeOffset="127411.91">12449 11615 0,'13'27'0,"-13"-14"0,0 0 15,0 0 1,0 1-16,0-1 16,13-13 15,0 0-15,1-13-1,-1 13 1,13 0-1,-13 13 1,1-13 0,-1 13 31,0-26-1,0 13-30,1-13 0,-1 13-16,0-14 15</inkml:trace>
  <inkml:trace contextRef="#ctx0" brushRef="#br0" timeOffset="127678.73">12753 11562 0,'0'0'0,"-13"0"16,-1 27 0,14-14-16,0 0 15,0 0-15,0 1 16,0 25-1,0-25-15,-13-1 32,0 0-32,0-13 0,13 13 15,-13 1-15,-1-14 0,14 13 16,-13-13-16,-13 13 0</inkml:trace>
  <inkml:trace contextRef="#ctx0" brushRef="#br0" timeOffset="127919.48">11959 11972 0,'0'0'16,"27"-13"0,-1 13-16,1-13 0,-1 13 15,14-13-15,-1 13 0,1-14 0,0 1 16,13 13-16,-14-13 0,14 0 0,-13 13 15,13-13-15,26-1 16,-39 14-16,-14 0 0,-12-13 0,12 13 16,-13 0-16,1 0 0,-1 13 15</inkml:trace>
  <inkml:trace contextRef="#ctx0" brushRef="#br0" timeOffset="128147.71">12118 12052 0,'53'-13'16,"-40"13"-16,14 0 0,25-14 16,-25 14-16,52-13 15,-52 13-15,12 0 0,-12-13 16,13 13-16,-14 0 0,0 0 0,1-13 15,-1 13-15,1 0 16,13 0-16,-27 0 0,0 0 0,0 0 16,0 0-16</inkml:trace>
  <inkml:trace contextRef="#ctx0" brushRef="#br0" timeOffset="130601.18">12065 12422 0,'13'40'15,"-26"-14"-15,13-12 0,0-1 16,0 0-16,0 0 0,-13 0 16,13 1-16,0-1 0,0 0 15,0 0-15,0 1 0,0-1 0</inkml:trace>
  <inkml:trace contextRef="#ctx0" brushRef="#br0" timeOffset="130949.02">12197 12435 0,'-13'27'31,"13"-14"-15,0 0-16,0 1 0,0-1 15,13 0-15,-13 0 0,14-13 16,-14 13-16,13-13 0,0 0 16,0 0-16,0 0 15,1 0-15,-1 0 0,0 0 16,-13-13-16,13 13 15,-13-13-15,0 0 16,0 0-16,0-1 16,-13 1-1,0 13 1,0 0 0</inkml:trace>
  <inkml:trace contextRef="#ctx0" brushRef="#br0" timeOffset="131225.51">12449 12449 0,'26'26'0,"-13"-26"0,1 0 15,12 0 1,-13 0-16,0-13 0,1 13 16,-1-13-16,0-1 15,-13 1-15,0 0 0,0 0 16,-13-1-16,13 1 16,-13 0-16,-1 0 15,1 13-15,0 0 0,0-13 0,0 13 16,-1 0-16,-12 13 0</inkml:trace>
  <inkml:trace contextRef="#ctx0" brushRef="#br0" timeOffset="131711.62">11827 12435 0,'0'27'15,"0"-14"1,13 0-16,-13 1 0,0-1 15,13 0-15,-13 0 16,0 0-16,0 14 0,0-14 16,-13 0-16,13 1 15,-13 12-15,0-13 16,-1 1-16,1-1 0,-13 0 16,13-13-1,-1 0-15</inkml:trace>
  <inkml:trace contextRef="#ctx0" brushRef="#br0" timeOffset="131905.35">11827 12303 0,'0'27'0,"0"-14"16,0 26-16,0-12 0,0-1 15,0 1-15,-13 13 0,13-1 16,-14 1-16,1 39 0,0-26 16,13-13-16,0 13 0,0-27 15</inkml:trace>
  <inkml:trace contextRef="#ctx0" brushRef="#br0" timeOffset="132684.62">12832 12462 0,'-13'0'16,"13"-13"15,0-1-15,0 1-1,0 0-15,13 13 47,1 0-31,-1 0 0,0-13-1,0 13 1,0 0-1,1 0 1,-1 13-16,0-13 16,-13 13-1,0 0-15,0 1 16,0-1-16,0 0 0</inkml:trace>
  <inkml:trace contextRef="#ctx0" brushRef="#br0" timeOffset="133082.6">12211 12978 0,'0'26'31,"0"14"-15,0-27-1,0 0-15,0 1 0,0-1 16,0 0-16,0 0 0,0 1 0,0-1 16,0 0-16,-14-13 15,14 13-15</inkml:trace>
  <inkml:trace contextRef="#ctx0" brushRef="#br0" timeOffset="133253.25">12131 13137 0,'0'-14'0,"13"1"16,1 13-16,-1 0 15,0-13-15,0 13 16,1 0-16,-1-13 0,0 13 15,13 0 1</inkml:trace>
  <inkml:trace contextRef="#ctx0" brushRef="#br0" timeOffset="133464.5">12118 13335 0,'0'0'0,"13"0"15,0 0-15,1 0 16,-1 0 0,-13-13-16,13 13 0,0 0 0,1 0 0,-14-13 15,13 13-15,0 0 0</inkml:trace>
  <inkml:trace contextRef="#ctx0" brushRef="#br0" timeOffset="133948.04">12515 13057 0,'-27'0'47,"27"13"-47,-26-13 31,13 14-31,-1-14 16,14 13 0,14-13-1,-1 13 1,13-13 0,-12 0-16,-14 13 15,13-13-15,0 14 16,-13-1-1,-13 13 1,0-13-16,13 1 16,-14-1-16,1-13 0,0 13 15,0 0-15,-1-13 16,14 14-16,-13-14 0,0 13 16</inkml:trace>
  <inkml:trace contextRef="#ctx0" brushRef="#br0" timeOffset="134165.6">12898 12951 0,'0'14'16,"-13"-1"-16,13 0 0,0 0 15,-13 1-15,13-1 0,0 0 0,-13-13 16,0 26-16,13-12 16,-14-1-16,14 0 15,-13 0-15</inkml:trace>
  <inkml:trace contextRef="#ctx0" brushRef="#br0" timeOffset="134329.4">12700 12991 0,'-13'0'15,"13"-13"-15,26 26 32,-13-13-17</inkml:trace>
  <inkml:trace contextRef="#ctx0" brushRef="#br0" timeOffset="134431.68">13097 13084 0,'0'-14'0</inkml:trace>
  <inkml:trace contextRef="#ctx0" brushRef="#br0" timeOffset="135548.44">13983 13361 0,'0'-13'0,"0"40"31,0 12-15,0-25-16,-13-1 15,13 0-15,0 0 0,-13 1 0,13-1 16,0 0-16,0 0 0,-13 14 16,13-14-16,0 0 15,13 0-15</inkml:trace>
  <inkml:trace contextRef="#ctx0" brushRef="#br0" timeOffset="135861.79">14076 13441 0,'-13'13'47,"13"14"-47,0-14 16,0 0-16,13-13 0,0 26 15,0-12 1,1-14-16,-1 13 0,0-13 15,0-13 1,0 13-16,-13-14 0,0 1 16,0 0-1,0 0-15,-13 0 16,13-1-16,-13 1 16,0 13-16,13-13 0,-13 13 15,-1 0 1</inkml:trace>
  <inkml:trace contextRef="#ctx0" brushRef="#br0" timeOffset="136193.79">14340 13361 0,'0'0'0,"-26"14"15,13-14-15,13 13 16,-13 0-16,-1 0 16,14 1-1,0-1-15,0 0 0,14 0 16,-14 1-16,0-1 15,13 0 1,-13 0-16,0 0 16,-13 1-1,13-1-15,-14 0 16,1 0-16,13 1 0,-13-14 16,0 13-16</inkml:trace>
  <inkml:trace contextRef="#ctx0" brushRef="#br0" timeOffset="137003.76">14089 13864 0,'-53'13'16,"40"-13"-16,0 14 0,13-1 0,-14-13 15,14 13 1,0 0-16,27-13 31,-27-13-31,26 13 16,-12-13-1,-1 0-15,0 13 16,-13 13 0,13 13-1,-13-12 1,0 12-16,-13-13 15,26 0 1</inkml:trace>
  <inkml:trace contextRef="#ctx0" brushRef="#br0" timeOffset="137331.04">14248 13864 0,'-27'13'0,"14"1"15,26-1 1,-13 0-1,14-13-15,-14 13 16,13 1 0,-13-1-16,-13-13 15,13 13-15,-14 0 32</inkml:trace>
  <inkml:trace contextRef="#ctx0" brushRef="#br0" timeOffset="138145.4">14380 13957 0,'13'-27'31,"-13"14"-15,14 0-16,-14 0 31,13 13 16,0 0-16,0 0-15,0 0-16,1 0 0,-1 0 31,13 0-16,-26-14-15,14 14 16,-1-13-16,0 0 16</inkml:trace>
  <inkml:trace contextRef="#ctx0" brushRef="#br0" timeOffset="138813.49">14512 13454 0,'0'13'15,"14"-39"1,-1 26-16,-13-13 15,0-1-15,13 14 0,-13-13 16,13 0 0,-13 26 31,14 0-32,-1-13 1,0 14-1,-13-1 1,13-13 0,-13 13-16,27 0 15,-14-13 1</inkml:trace>
  <inkml:trace contextRef="#ctx0" brushRef="#br0" timeOffset="139276.6">14764 13322 0,'13'0'0,"-13"-13"15,13 13 1,0 0-16,1 0 16,-1 0-1,-13 13 1,13 0 0,-13 0-1,0 0-15,13 1 16,-13-1-16,0 0 0,14 14 0,-14 12 15,13-25-15,0 38 16,-13-25-16,13-14 0,-13 14 16,0-1-16,13-13 0,-13 14 0,0-1 15,14-13-15,-14 27 0,0-27 16,0 1-16,0-1 0,0 0 16,0 0-16,0 0 0,0 1 15,-14-1-15,1 0 16,0 0-16,0 1 15,0-1-15,-1-13 0,-12 13 0,13 0 16,-14-13-16,14 14 0,-13-14 0,-1 13 16,1-13-16,-1 13 0</inkml:trace>
  <inkml:trace contextRef="#ctx0" brushRef="#br0" timeOffset="139998.73">13798 13242 0,'-53'14'0,"40"-1"16,0-13-16,13 13 0,-14-13 15,14 13-15,0 1 0,0-1 16,0 0-16,0 0 0,0 14 16,0-14-16,0 13 0,0-12 0,0 25 15,0-12-15,0-1 0,0 1 16,0-1-16,0 14 0,0-14 16,0 1-16,0-1 0,0 14 0,0-14 15,0 1-15,0-1 0,0 1 16,0-1-16,-13 1 0,13-1 0,0 1 15,0-1-15,0 0 0,-13 41 16,13-41-16,0-13 16,0 1-16,13 12 0,-13-13 0,0 0 15,13 1-15,-13-1 0,14 0 16,-1 0-16,0-13 0,14 14 0,-14-14 16,66 13-16,-52-13 15,12 0-15,1 0 0,0-13 16,-1 13-16,1 0 0,0 0 0,-1 0 15,28 0-15</inkml:trace>
  <inkml:trace contextRef="#ctx0" brushRef="#br0" timeOffset="144348.56">2659 8718 0,'40'-13'16,"-27"13"-16,13 0 0,1 0 16,-1 0-16,14 0 0,39 0 15,-26-13-15,-13 13 0,0 0 16,-1 0-16,1 0 0,0 0 16,26-14-16,-13 14 0,-27 0 15,1 0-15,-14 0 0,13-13 16</inkml:trace>
  <inkml:trace contextRef="#ctx0" brushRef="#br0" timeOffset="144593.45">2778 8771 0,'27'0'15,"-14"0"-15,13 0 0,40 0 16,-26 0-16,13 0 16,53 0-16,-53 0 0,-14 0 15,14-13-15,-13 13 0,0 0 16,39 0-16,-39 0 16,-14 13-16,-13-13 0,27 0 15</inkml:trace>
  <inkml:trace contextRef="#ctx0" brushRef="#br0" timeOffset="156034.12">5106 8334 0,'-26'27'15,"0"13"1,12-27-16,1 0 15,0 0-15,0 0 0,-1 1 16,1 12-16,0-13 0,0 1 16,-1-1-16,14 0 0,-13-13 0,0 13 15</inkml:trace>
  <inkml:trace contextRef="#ctx0" brushRef="#br0" timeOffset="156229.56">5265 8401 0,'-53'52'0,"27"-25"0,-40 39 15,-14 0 1,67-39-16</inkml:trace>
  <inkml:trace contextRef="#ctx0" brushRef="#br0" timeOffset="159699.01">8215 3254 0,'27'-13'47,"-14"13"-32,0 0-15,0 0 16,1-13-16,-1 13 0,13 0 0,-12 0 16,-1 0-16,0 0 0,14-13 0,-14 13 15,0 0-15,27 0 16,-27 0-16,0 0 0,0-14 16,1 14-16,-1 0 0</inkml:trace>
  <inkml:trace contextRef="#ctx0" brushRef="#br0" timeOffset="160076.71">8414 3082 0,'26'0'32,"1"0"-17,-14 0-15,0 14 16,0-14-16,1 0 0,-1 13 0,0-13 15,0 13-15,14-13 0,-14 13 0,0 1 16,0-14-16,-13 13 16,14 0-16,-14 13 15,0-12-15,-14-1 0,14 0 0,-39 40 16,25-40 0,1 1-16,0-1 0,0 0 15</inkml:trace>
  <inkml:trace contextRef="#ctx0" brushRef="#br0" timeOffset="161975.93">9300 2818 0,'13'26'31,"-13"14"-15,14-14-16,-14-12 0,0 12 0,0 1 15,0-1-15,0-13 0,0 14 16,0-1-16,0-13 0,0 1 0,0-1 15,0 0-15,0 0 0,0 1 0,0-1 16,0-40 15,0 1-15,0-1-16,0 1 0,0-1 16,0 1-16,0 0 0,13-1 0,-13 14 15,0-14-15,0 14 0,13-13 16,-13 13-16,13-1 0,-13 1 15,13 0-15,1 0 0,-1 13 16,0 13-16,0-13 16,1 13-16,-1 0 0,0 1 0,0-1 15,-13 13-15,14-13 0,-1 1 0,-13 12 16,13-13-16,-13 1 0,0 12 16,13-13-16,-13 0 0,0 1 0,0-1 15,0 0-15,13 0 0</inkml:trace>
  <inkml:trace contextRef="#ctx0" brushRef="#br0" timeOffset="162204.14">9300 3069 0,'53'-26'15,"-40"12"-15,0 14 0,1 0 0,-1-13 16,27 0-16,-27 13 0,0-13 16,14 0-16,12-1 15</inkml:trace>
  <inkml:trace contextRef="#ctx0" brushRef="#br0" timeOffset="162459.42">9657 2725 0,'0'-13'0,"0"53"31,0-14-16,14-13-15,-14 54 16,0-41-16,0-13 16,0 14-16,0-14 0,0 13 0,0 14 15,0-27-15,13 0 16,-13 1-16,0-1 0,0 0 0,0 0 16,13 1-16</inkml:trace>
  <inkml:trace contextRef="#ctx0" brushRef="#br0" timeOffset="163053.34">9790 2778 0,'13'0'0,"0"-13"16,0 13-16,0 0 15,1 0-15,-1 0 16,0 0-16,0-13 15,1 26 1,-14 0-16,0 14 16,-14-14-1,14 0-15,-13 0 0,13 1 16,0-1-16,-13 0 0,13 0 16,0 0-16,-13 1 0,13-1 15,0 0-15,0 0 0,13 1 16,0-14-16,-13 13 15,13-13-15,1 0 0,-1 0 16,0 0-16,0-13 0,14 13 16,-1 0-16,-13-14 15,1 14-15,-1-13 16,0 13-16</inkml:trace>
  <inkml:trace contextRef="#ctx0" brushRef="#br0" timeOffset="163359.53">9776 2924 0,'-13'0'15,"40"-14"1,12 1 0,-12 13-16,-14-13 0,0 13 15,14 0-15,-14-13 0,13 13 16,-12-13-16,-1 13 0,0-14 15,0 14-15,14-13 0,-14 13 16,0 0-16,0-13 16,1 13-16,-1 0 15,-13 13 1,13-13-16,-13 13 16,13 1-16,-13-1 15,14 0-15,-14 0 16,13-13-1</inkml:trace>
  <inkml:trace contextRef="#ctx0" brushRef="#br0" timeOffset="163507.13">10120 2699 0,'0'0'0</inkml:trace>
  <inkml:trace contextRef="#ctx0" brushRef="#br0" timeOffset="164036.38">10266 2752 0,'0'13'0,"0"0"15,0 27 1,0-27-16,0 0 16,0 1-1,13-1 17,0-26-17,1-1 1,-1 14-1,0 0 1,0 0 0,0 0-1,1-13 17,-1 13-17,0 0 1,0 0-1,14-13 1,-14 13 0,0 0-1,1 0-15</inkml:trace>
  <inkml:trace contextRef="#ctx0" brushRef="#br0" timeOffset="164401.57">10636 2805 0,'0'-14'16,"0"1"-16,0 0 16,0 0-1,0-1-15,0 41 47,13-14-31,14 0-1,-27 1-15,13-14 16,0 13-16,1-13 0,-14 13 16,13-13-16</inkml:trace>
  <inkml:trace contextRef="#ctx0" brushRef="#br0" timeOffset="164656.41">10782 2791 0,'13'-13'0,"0"13"0,0-13 31,1 13-15,-14 13-1,13 0 1,-13 1 0,26-28 15,-26 1-31,0 0 15,14 13 1,-14-13-16,13 13 0,-13-14 0,13 14 16,-13-13-16</inkml:trace>
  <inkml:trace contextRef="#ctx0" brushRef="#br0" timeOffset="164805.18">10980 2672 0,'0'0'31,"0"14"-31,13-14 0,1 26 32,-14-13-32,0 0 0,0 1 15,-14-1-15,14 0 16,-13 0-16,0 1 0</inkml:trace>
  <inkml:trace contextRef="#ctx0" brushRef="#br0" timeOffset="165286.79">8784 4114 0,'27'-13'15,"-14"13"1,13-13-16,67-14 31,-67 14-31,41-13 16,-41 12-16,0 1 0,-12 0 15</inkml:trace>
  <inkml:trace contextRef="#ctx0" brushRef="#br0" timeOffset="165506.18">9009 3903 0,'13'-14'16,"27"28"0,-27-14-16,0 0 15,14 13-15,-14 0 0,14 0 16,-27 1-16,13-1 16,-13 0-16,13 0 0,-13 0 0,0 1 15,0-1-15,-13 13 0,13-12 16,0-1-16,-13 13 0,-1-12 0,14-1 15,-13-13-15,13 13 16,-13-13-16,13 13 0</inkml:trace>
  <inkml:trace contextRef="#ctx0" brushRef="#br0" timeOffset="165756.49">9565 3810 0,'13'26'16,"-13"-12"0,0-1-16,0 27 0,0-27 15,0 13-15,0-12 0,0 38 16,0-38-16,0 12 0,0 14 15,0-27 1,0 0-16</inkml:trace>
  <inkml:trace contextRef="#ctx0" brushRef="#br0" timeOffset="165984.85">9538 4088 0,'-13'-146'16,"13"120"-1,0-1-15,0 1 16,0-1-16,0 1 0,0 0 0,13 12 0,-13 1 15,13 0-15,1 0 16,-1-1-16,-53 385 0,106-742 16,-52 371-16,-1 0 0,0 14 15,-13-1-15,0 0 0,0 0 0,0 1 16,0-1-16,-13 13 0,0 14 16,-1-14-16,14-12 0,-13-1 15,0 0-15,0 0 0,13 1 0,-14-1 16,1 0-16</inkml:trace>
  <inkml:trace contextRef="#ctx0" brushRef="#br0" timeOffset="166615.23">9856 3836 0,'-53'53'16,"40"-53"-16,13 14 0,0-1 0,0 0 16,0 0-16,0 1 0,0-1 15,13 13-15,0-26 16,0 0-1,27-26 1,-27 26-16,-13-13 16,13-1-16,1 14 0,-14-13 0,13 13 15,0-13-15,0 13 0,1-13 32,12 26-17,-13 0-15,0-13 0,-13 13 0,14 1 16,-1-14-1,-13 13-15,13-13 16,-13-13 31,0-1-31,13 14-1,-13-13-15,14 0 16,-14 0-1,13 13-15,-13-14 16,13 1 0,-13 0-16,13 0 15,1-1 1,-1 14 0,-13-13-1,13 13-15,0-13 16</inkml:trace>
  <inkml:trace contextRef="#ctx0" brushRef="#br0" timeOffset="166876.67">10319 3545 0,'0'27'0,"0"13"16,0-14-16,0 0 15,0-12-15,0 12 0,0 1 16,0 12-16,0-12 0,0-1 0,0 1 16,0-1-16,0 1 0,-13-1 0,13-13 15,0 27-15,0-27 16,0 0-16,0 1 0,0-1 15,13-13-15</inkml:trace>
  <inkml:trace contextRef="#ctx0" brushRef="#br0" timeOffset="167277.42">10491 3731 0,'-27'13'31,"14"0"-31,0 0 0,0-13 0,-1 14 16,1-1-16,13 0 0,-13 0 0,0 0 15,-1 27 1,14-27-16,0 1 0,0-1 16,14 0-1,-1 0-15,13-13 16,-26-13-16,14 13 0,-1 0 15,0 0-15,0-13 0,1 13 16,-1-13-16,0-1 0,0 14 0,0-13 16,1 0-16,-1 13 0,-13-13 15,13-1-15,0 14 0,1-13 16,-1 13 0,0 13-1,0 14 1,-13-14-1,13-13-15,-13 13 16,14 1 0</inkml:trace>
  <inkml:trace contextRef="#ctx0" brushRef="#br0" timeOffset="167411.62">10729 3691 0</inkml:trace>
  <inkml:trace contextRef="#ctx0" brushRef="#br0" timeOffset="167879.75">10769 3731 0,'26'39'16,"-26"-25"-1,0-1-15,0 0 0,0 0 16,13 0-1,-13 1 1,13-41 0,1 14-1,-1 13-15,-13-13 16,13 0-16,0 13 0,1 0 16,-1 0-16,0 0 15,0 0-15,1 0 16,-1 0-1,0 13-15,0-26 16</inkml:trace>
  <inkml:trace contextRef="#ctx0" brushRef="#br0" timeOffset="168134.71">11126 3625 0,'-14'0'0,"28"0"0,-41 0 15,14 0 1,13 13-16,0 0 16,13 0-16,-13 1 15,13 12-15,-13-13 16,14 1-16,-14-1 0,0 0 0,0 0 16,-14 1-16,14-1 15,-13 0-15,13 0 0,-13-13 16,13 13-16,-13-13 0,0 14 15</inkml:trace>
  <inkml:trace contextRef="#ctx0" brushRef="#br0" timeOffset="168416.23">11205 3691 0,'0'0'15,"-13"40"1,13-27 0,0 13-16,13-12 15,0-14 1,14 0-16,-14 0 16,0 0-16,0 0 0,1-14 15,-1 1-15,-13-13 31,0 12-31,-13 1 16,-1 13 0,1 0-16,0 0 0,0 0 15,0 0-15</inkml:trace>
  <inkml:trace contextRef="#ctx0" brushRef="#br0" timeOffset="168725.96">11377 3651 0,'27'13'16,"-27"1"0,13-1-16,-13 0 15,13 0 1,0-13-1,0 0 1,1 0 0,-1 0-16,0 14 15,0-14 1,1 0 0,-1 0 15</inkml:trace>
  <inkml:trace contextRef="#ctx0" brushRef="#br0" timeOffset="169340.25">11165 2540 0,'0'-13'0,"0"26"0,14-26 16,-1 0-16,13-1 16,27 14-16,-40-13 15,14 13-15,13 0 16,-27-13-16,0 13 0,0 0 0,14 0 16,-1 13-16,-13 0 15,-13 1-15,14-1 0,-1 0 0,0 13 0,0 14 16,1 26-1,-14-26-15,13 0 0,0-1 0,-13 1 0,13 13 16,27 40-16,-27-41 16,27 54-16,13 0 15,0 0-15,-14-53 16,28 53-16,-41-67 0,14 14 16,-14-13-16,40 53 15,14-1-15,-41-39 16,-25-40-16,12 27 15,-26-27-15,13 1 0,-13-1 16,0 0-16,-13 0 0,0 0 16,-14 1-1,14-14-15,0 13 0,-14-13 16,1 0-16,-14 0 0,14 0 0,-27 13 0,13-26 16,-13 13-16,-39 0 0,39-13 15,0 13-15</inkml:trace>
  <inkml:trace contextRef="#ctx0" brushRef="#br0" timeOffset="170293.58">11986 2871 0,'13'0'16,"-13"-13"0,13 13-1,0-14-15,-39 41 47,26-14-31,-13-13-1,13 13-15,-14 0 0,14 1 16,0-1 0,14-13-16,-14 13 0,0 0 15,13 1-15,0-14 0,0 13 16,-13 0-16,14 0 0,-1 0 16,0 1-1,-13-1-15,-13 13 16,0-12-1,-1-1-15,1-13 16,0 13-16,0-13 16,-1 0-16,1 0 15,0 0-15</inkml:trace>
  <inkml:trace contextRef="#ctx0" brushRef="#br0" timeOffset="170637.5">12171 2871 0,'0'-13'0,"-13"13"31,-1 13-31,14 0 31,14 13-15,-14-12-16,13-14 0,0 13 15,-13 0-15,13 0 0,1 1 16,-14-1 0,13-13-16,-13 13 0,0 0 15,-13 14 1,13-14-16,-14-13 15,14 13-15,-13-13 0</inkml:trace>
  <inkml:trace contextRef="#ctx0" brushRef="#br0" timeOffset="171676.51">12422 2791 0,'13'40'0,"-13"-27"0,0 1 0,14-1 15,-14 0-15,0 0 0,0 0 16</inkml:trace>
  <inkml:trace contextRef="#ctx0" brushRef="#br0" timeOffset="171848.4">12409 2910 0,'13'-26'0,"0"26"0,1-13 0,12 0 16,-13-1-16,14 14 0,-14-13 15,13 13-15,14-13 0,-13 0 0,-14 13 16,13-14-16</inkml:trace>
  <inkml:trace contextRef="#ctx0" brushRef="#br0" timeOffset="172374.47">12356 3109 0,'251'-119'15,"-211"106"-15,-13-1 0,12-12 16,-12 13-16,-1-14 0,14 14 0,-14-13 16,-12-1-16,12 1 0,-13-1 15,14 1-15,-27-1 0,13 1 0,-13-1 16,-13-12-16,-14-41 0,1 41 16,-1-1-16,-12 13 0,-1-12 15,-13 12-15,0 14 0,-13-13 0,13 12 16,-13 14-16,-14-13 15,-65 26-15,66 1 0,-1-1 0,1 13 16,-1 1-16,14-1 0,0 1 16,13 12-16,14 1 0,-14 0 0,26 13 15,1-14-15,-1 14 0,14 0 0,0-13 16,13 0-16,13 12 16,14 28-16,12-41 0,-12 1 15,65 26-15,27-26 16,-53-14-16,14-12 0,-14-14 15,-13 0-15,0 0 0,13 0 0,0-14 16</inkml:trace>
  <inkml:trace contextRef="#ctx0" brushRef="#br0" timeOffset="173688.39">13705 2408 0,'0'-14'16,"-39"28"0,25-14-16,1 0 0,-13 13 15,-14-13-15,0 13 0,-39 14 16,53-27-16,-67 26 15,80-26 1,-14 13-16,14-13 0,0 0 0,0 0 16,-1 14-16,1-14 0,0 0 15,0 13-15,-1-13 16</inkml:trace>
  <inkml:trace contextRef="#ctx0" brushRef="#br0" timeOffset="173970.69">13256 2368 0,'-27'13'15,"1"0"1,12-13-16,1 14 0,13-1 0,-13 0 15,-13 14-15,12-14 16,14 13-16,-13-12 0,13-1 0,0 0 16,0 0-16,0 0 0,0 1 0,0-1 15,13 0-15,1 0 16,-1-13-16,0 14 0,0-14 0,0 13 16,14-13-16,-14 0 0,14 0 0,-14 0 15,13 0-15,1 0 0,-14 0 16</inkml:trace>
  <inkml:trace contextRef="#ctx0" brushRef="#br0" timeOffset="177121.64">10808 2474 0,'13'-27'0,"1"27"16,-14-13-16,13 13 0,0-13 16,-13 0-16,13 13 0,1-14 0,12 1 15,-26 0-15,13 13 16,1-13-16,-1 13 0,0-13 15,0-1-15,0 14 0,1 0 0</inkml:trace>
  <inkml:trace contextRef="#ctx0" brushRef="#br0" timeOffset="177412.78">11099 2170 0,'13'0'15,"1"0"-15,12 13 16,-26 0-1,13-13-15,-13 13 16,0 0-16,-13 1 16,13 12-16,-13-26 15,0 27-15</inkml:trace>
  <inkml:trace contextRef="#ctx0" brushRef="#br0" timeOffset="178081">11483 2064 0,'13'13'0,"-13"0"15,0 0-15,0 1 0,13-1 16,-13 0-16,0 27 16,14-27-1</inkml:trace>
  <inkml:trace contextRef="#ctx0" brushRef="#br0" timeOffset="178553.64">11456 2090 0,'27'13'62,"-1"-13"-46,-12 0 0,-1 0-16,0-13 0,0 13 15,1-13 1,-28 13 15,1 0-15,0 0-1,39-13 48,-12 26-16,-1 0-16</inkml:trace>
  <inkml:trace contextRef="#ctx0" brushRef="#br0" timeOffset="178812.59">11734 2090 0,'0'-13'0,"14"26"78,-1-13-62,0 0-16,0 13 15,-13 1 17</inkml:trace>
  <inkml:trace contextRef="#ctx0" brushRef="#br0" timeOffset="179410.02">11298 4128 0,'26'26'0,"-13"-13"15,1 0-15,-1 1 0,0-1 0,27 13 16,-27-12-16,13-1 16,-12-13-16,-1 13 0,0 0 0,14-13 15,-14 13-15</inkml:trace>
  <inkml:trace contextRef="#ctx0" brushRef="#br0" timeOffset="179664.72">11602 4128 0,'26'13'15,"-26"0"-15,14-13 0,-14 13 16,13 0-16,-13 1 0,13-14 0,-13 26 15,0-13-15,0 1 0,0 12 16,-13-13-16,13 0 16,-13 14-16,-1-14 0,1 0 0,0 14 15,0-14-15,13 0 0,-13 1 0</inkml:trace>
  <inkml:trace contextRef="#ctx0" brushRef="#br0" timeOffset="189594.83">10464 5186 0,'0'13'15,"0"0"-15,0 1 0,0 12 16,-13-13 0,13 0-1,13-39 17,1 13-17,-1 0 1,0 13-16,0-14 15,0 14 1,1 0 0,-1 0-16,-13 14 0,13-14 15,0 0-15,-13 13 16,14-13 0,-1-13 15,-13-1-16,13 14-15,-13-13 0,13 13 16,14 0 0,-14 0-1,0 0-15,0 13 0,1-13 16,-14 14 0,0-1-16,0 0 15</inkml:trace>
  <inkml:trace contextRef="#ctx0" brushRef="#br0" timeOffset="189989.55">10914 5226 0,'13'-27'16,"-13"14"-16,0 0 15,0-1 1,0 1-16,0 0 15,-13 13 1,0 13 0,13 14-1,0-14 1,13 13-16,0-12 16,-13-1-16,27-13 15,-27 13-15,13-13 16,0 0-16,27 0 15</inkml:trace>
  <inkml:trace contextRef="#ctx0" brushRef="#br0" timeOffset="190563.71">11205 5080 0,'-26'0'0,"12"0"0,1 13 0,13 0 16,-13-13-16,13 14 0,-13-1 16,13 0-1,0 0-15,-14 1 0,14-1 16,14 0 0,-1 0-16,13-13 15,-12-13 1,-1 13-1,0-13-15,-13 0 0,13-1 0,1-12 16,-14 13-16,13-1 0,-13-12 16,13 13-16,-13-14 0,0 1 15,13-1-15,-13 1 0,0-27 16,13 40-16,-13 0 16,0-1-16,0 1 0,0 0 15,0 53 16,0-27-15,0 0-16,0 27 16,0-27-16,0 13 0,14-12 15,-14-1-15,13 0 0,-13 0 16,13 1-16,0-1 0,1-13 16,-14 13-1,13-13-15,0 0 0,0 0 16,14 0-1,-14 0 1,0 13 0,0 0-16,1 1 15,-1-1 1</inkml:trace>
  <inkml:trace contextRef="#ctx0" brushRef="#br0" timeOffset="190703.9">11496 4974 0,'-13'-13'0,"26"26"16</inkml:trace>
  <inkml:trace contextRef="#ctx0" brushRef="#br0" timeOffset="191446.31">11655 4961 0,'-13'-13'16,"-1"26"-16,1-13 16,0 13-16,13 0 15,-13 1-15,13-1 0,0 0 16,0 14 0,0-14-16,0 0 0,0 0 15,13 0-15,0-13 0,0 14 16,14-14-1,-14 0-15,14 0 0,-14-14 0,0 14 16,14 0-16,-14-13 0,0 13 16,0-13-16,0 13 0,14-13 15,-14 13-15,-13-13 16,13 13-16,-13-14 16,-13 14 15,0 14-16,0-14 1,13 13-16,0 0 16,0 0-1,13-13 1,0 13 0,0-13-16,1 0 31,12 0-16,-13-13-15,0 13 16,1 0-16,-14-13 16,13 13-16,0-13 0,0 0 15,14-14-15,-14 27 0,-13-13 16,27-40 0,-14 40-16,-13-14 0,0 14 0,13 0 15,-13 0-15,0-1 0,13 1 16,-13 0-1,0 53 1,0-27 0,0 0-16,13 13 15,1-12-15,-14-1 16,13-13-16,0 0 0,0 13 16,1-13-16,-1 0 0</inkml:trace>
  <inkml:trace contextRef="#ctx0" brushRef="#br0" timeOffset="193701.6">10914 5596 0,'40'-13'15,"-14"13"-15,14-14 16,52-12-16,-39 13 0,0 0 15,53-14-15,-53 14 16,0 0-16,0-1 0,-13 1 0,13 0 16,-14 13-16,1-13 0,-14 0 0,1 13 15,-1 0-15,-12-14 0,-1 14 16,0 0-16,0-13 0,0 13 0</inkml:trace>
  <inkml:trace contextRef="#ctx0" brushRef="#br0" timeOffset="193927.77">10980 5675 0,'0'0'31,"80"-13"-31,-41 0 0,14 0 16,66-14-16,-66 14 0,13 0 15,40-27-15,-53 27 16,40-14-16,-14 1 16,-39 13-16,-14-1 0,1 14 0,-1-26 15,-13 26 1,1 0-16</inkml:trace>
  <inkml:trace contextRef="#ctx0" brushRef="#br0" timeOffset="195030.67">9869 5477 0,'-93'13'16,"40"0"-16,27 1 0,-14-14 16,1 13-16,-14-13 0,-40 13 15,40-13-15,0 13 16,-13-13-16,13 0 0,-66-13 16,53 13-16,-13 0 0,12-13 0,-78-14 15,66 14-15,12 0 16,-12-14-16,-53-12 0,13-27 15,53 39-15,-1-13 16,14 1-16,1-1 0,-1 0 0,0 1 16,13-1-16,-39-39 0,52 26 15,-12 13-15,25 14 0,1-14 16,-13-26-16,12 39 0,1-12 16,13 12-16,0 1 0,13-1 0,1 1 15,-1-14-15,0 14 0,14-1 16,25-26-16,-25 40 15,13-13-15,13-1 0,-14 14 16,-12 0-16,-1 13 16,-13-14-16,14 14 0,-1-13 15</inkml:trace>
  <inkml:trace contextRef="#ctx0" brushRef="#br0" timeOffset="195782.22">7964 4273 0,'40'0'47,"-27"0"-47,0 0 0,14 0 0,-14 0 15,13 0-15,1 0 0,-14 0 0,13 0 16,14 0-16,-27 13 16,14-13-16,-14 13 0,13-13 15,1 40-15,-14 0 16,-13 13-16,-13-27 15,13 14-15,-13 0 0,-1-1 0,-25 41 16,12-54-16,14 14 0,0-14 16,-14 14-16,27-27 0,-13 14 15</inkml:trace>
  <inkml:trace contextRef="#ctx0" brushRef="#br0" timeOffset="201879.53">3228 9737 0,'26'-14'0,"-12"1"16,-1 13-16,0-13 0,0 0 16,14 13-16,-1-13 0,1-1 0,39-25 15,-40 25-15,14 1 0,-14-13 16,1 12-16,13 1 0,-27 0 15,13 0-15,1 0 16</inkml:trace>
  <inkml:trace contextRef="#ctx0" brushRef="#br0" timeOffset="202079.25">3228 9869 0,'40'-13'0,"-27"13"16,13-14-16,54-12 15,-41 0-15,1 12 0,66-39 16,-53 27-16,0 0 0,0-1 16,0 1-16,-1-1 0,1 1 15</inkml:trace>
  <inkml:trace contextRef="#ctx0" brushRef="#br0" timeOffset="213149.6">3532 9948 0,'-13'14'16,"13"-1"-16,-13 0 0,13 0 15,0 0-15,-14 14 16,14-1-16,0-12 0,-13-1 16,13 0-16,0 0 0,13 27 15,1-27 1,-1-13-16,0 13 16,0-13-16,1 0 0,-1 0 0,13 0 15,-12 0-15,-1 0 16,0 0-16,13 0 0,-12 0 15,12-13-15,-13 13 0,14 0 16,-14-13 0</inkml:trace>
  <inkml:trace contextRef="#ctx0" brushRef="#br0" timeOffset="213439.49">3704 10028 0,'53'13'32,"-40"-13"-32,1 13 15,-1-13-15,0 13 16,0 1-16,0-1 0,1 0 15,-14 14-15,0-14 16,-14 13-16,1-13 0,0 14 16,-27 26-16,1 0 15,25-40 1,1 13-16,0-26 16</inkml:trace>
  <inkml:trace contextRef="#ctx0" brushRef="#br0" timeOffset="-210546.99">4564 9856 0,'13'-14'0,"-13"41"31,0-1-31,0 41 31,0-41-31,0 14 0,-13-14 0,13 14 16,0 0-16,0-14 0,-13-13 16,13 14-16,0-14 0,0 0 15,0 0-15,0 1 0,0-1 16,0 0-16,-13-39 47,-1 12-47,1 1 15,0 13-15,0-13 0,-1 13 0,1-13 16,0 13-16,-13 0 0,12 0 16,1 0-16,0 13 0,0-13 15,-1 13-15,1-13 0,0 13 16,0 14-16,-1-27 0,14 13 0,0 0 15,0 1-15,0-1 0,0 0 16,0 13 0,14-26-16,-1 14 0,0-14 15,0 13-15,1-13 0,-1 0 16,0 0-16,0 0 0,1-13 0,12 13 16,-13 0-16,0-14 0,1 14 0</inkml:trace>
  <inkml:trace contextRef="#ctx0" brushRef="#br0" timeOffset="-210303.87">4762 10094 0,'0'26'16,"0"-12"-16,0-1 0,-13 0 15,13 13-15,0-12 0,0-1 16,-13 13-16,13-12 16,0-1-16</inkml:trace>
  <inkml:trace contextRef="#ctx0" brushRef="#br0" timeOffset="-210111.34">4749 9975 0,'0'-13'15</inkml:trace>
  <inkml:trace contextRef="#ctx0" brushRef="#br0" timeOffset="-209648.4">4868 10094 0,'-13'0'0,"13"13"16,0 0-1,0 1-15,13-1 16,-13 0-16,0 0 15,14 0-15,-28 14 32,1-14-32,13 0 15,-13-13-15,0 14 0,-14-1 16,14 0-16,0-13 0,-14 13 16,14-13-16,0 0 15</inkml:trace>
  <inkml:trace contextRef="#ctx0" brushRef="#br0" timeOffset="-209233.38">5027 10213 0,'27'-66'15,"-27"53"-15,-14-1 32,1 28-17,0-1 1,13 0-16,0 0 0,-13 0 16,13 1-16,0-1 15,13-13-15,-13 13 0,0 0 0,13 1 16,0-14-16,14 0 15,-27 13-15,13-13 16,0 0-16,0 0 0,1 0 0,-1-13 16</inkml:trace>
  <inkml:trace contextRef="#ctx0" brushRef="#br0" timeOffset="-208875.34">5331 10134 0,'0'-14'0,"-13"14"15,0 0 1,-14 14 0,14-14-16,0 13 0,0 0 15,13 0-15,-13-13 0,-1 13 16,14 1-16,-13-1 0,13 13 16,-13-26-16,13 14 15,13-14-15,0 0 16,1 0-1,-1-14-15,0 14 16,0-13-16,0 0 16,-13 0-1,14 13-15,-1 13 32,-13 0-17,0 0-15,0 1 16,13-14-16,0 13 15</inkml:trace>
  <inkml:trace contextRef="#ctx0" brushRef="#br0" timeOffset="-208576.96">5517 10067 0,'0'27'16,"0"-1"0,0-12-1,0-1-15,13 13 16,-13-13-16,-13 1 0,13-1 0,0 0 16,0 0-1,-14 1-15,14-1 0,-13-13 0,13 13 0,-13-13 16,13 13-16,-13-13 15,-1 14 1</inkml:trace>
  <inkml:trace contextRef="#ctx0" brushRef="#br0" timeOffset="-208375.89">5622 10120 0,'14'-13'0,"-28"26"15,1-13 17,0 14-17,13-1 1,0 0-16,0 0 16,0 0-16,13 1 15,0-1 1,1-13-16,-1 0 15,0 0-15</inkml:trace>
  <inkml:trace contextRef="#ctx0" brushRef="#br0" timeOffset="-207648.34">5808 10081 0,'-14'0'15,"1"0"-15,13 13 31,13 0-31,-13 0 0,14 14 16,-1 12 0,-13-25-16,13-14 15,-13 26-15,-13-13 0,13 1 16,0-1-16,-13-13 16,13 13-16,-14-13 15,1 13-15,0-13 16</inkml:trace>
  <inkml:trace contextRef="#ctx0" brushRef="#br0" timeOffset="-207195.49">6482 9895 0,'0'-13'15,"0"53"1,-13-27-16,13 0 0,0 1 15,0 12-15,0 0 0,-13 1 16,13-14-16,0 14 0,0-1 0,-13-13 16,13 14-16,0-1 0,0-13 15,0 1-15,0-1 0,0 0 16,0 0-16</inkml:trace>
  <inkml:trace contextRef="#ctx0" brushRef="#br0" timeOffset="-206655.97">6310 10120 0,'0'0'15,"14"-13"1,-1 13-16,0 0 15,0 0-15,0 0 0,1-13 16,-1 13-16,0 0 0,14 0 0,-14 0 16,27-13-16,-27-1 0,0 14 15,0-13-15,14 13 0,-14-13 16,0 13-16,-13-13 0,13-1 0,1 14 16,-14-13-16,0 0 0,13 0 15,-13 0-15,0-1 0,0-12 16,0 13-16,0-1 0,0 1 0,0 0 15,0 39 17,-13-26-32,13 40 15,0-13 1,0-14-16,-14 0 0,14 0 16,0 0-16,0 1 0,0 12 15,0-13-15,0 1 16,14-1-16,-14 0 15,13 0 1,13 1 0,-12-14-16,-1 13 15,0-13 1,0 13-16,0-13 16,1 0-16,25-13 15,-25 13-15</inkml:trace>
  <inkml:trace contextRef="#ctx0" brushRef="#br0" timeOffset="-206215.12">6906 10028 0,'-40'-14'0,"27"14"16,13 14-16,-14-14 0,14 13 15,-13 0-15,0 0 0,13 1 16,-13-14-16,13 13 0,0 0 16,-13 0-16,13 1 15,0-1-15,13-13 16,-13 13-16,13-26 16,13 0-1,-12 13 1,-1-14-1,0 14 1,0 0-16,1 0 16,-14 14-1,13-14-15,-13 13 16,13 0 0,0-13-1,1 0 1,-1 0-16,0 0 0,0 0 15,0 0-15,1-13 0,-1 13 16,27-13-16,-27-1 0,0 14 16,0 0-16,27-13 0</inkml:trace>
  <inkml:trace contextRef="#ctx0" brushRef="#br0" timeOffset="-205347.51">7078 10134 0,'0'26'47,"13"-26"-16,0 0-15,14 0-16,-14-13 15,13 13-15,-13 0 16,1-13-16,12 13 15,14 13 1,-27-13 0,13 13-16</inkml:trace>
  <inkml:trace contextRef="#ctx0" brushRef="#br0" timeOffset="-198824.54">5093 10504 0,'66'0'0,"-39"0"0,-1 0 16,1 0-16,12 0 0,-12 0 0,13 0 15,-1 0-15,14 0 0,-13 0 0,13 0 16,13 0-16,-13 0 0,26-13 15,-13 13-15,14 0 0,-1 0 0,14-13 16,-14 13-16,0 0 0,1-14 16,-1 14-16,1 0 0,-1-13 0,0 13 15,1 0-15,12 0 0,-12-13 16,78 13-16,-78 0 0,-1 0 16,1 0-16,-14 0 0,-13 0 0,13 0 15,-13 0-15,13 0 0,-13 0 16,13 0-16,-13 0 0,0 0 15,0 0-15,0 0 0,0 0 0,-14 0 0,-12 0 16,12 0-16,-12 0 0,12 0 16,-12 0-16,26-13 15,-27 13-15,1 0 0,-1 0 0,1 0 16,-14 0-16,13 0 0,1-14 0,-1 14 16,40-13-1,-39 13-15,-14-13 0,14 13 0,-14 0 16,13-13-16,-13 13 0,1 0 15,-1-14-15,0 14 0,0 0 0,1-13 16,-1 0-16,0 13 16,-13-13-1,-13-40 1,13 40-16,-13-1 16,13 1-16,-14-27 15,1 14-15,13-14 0,-13 14 0,13-1 16,-13-12-16,-1-14 0,14 26 15,0 1-15,-13-1 0,13 1 0,-13-1 16,13 14-16,-13-13 0,13 13 16,0-1-16,-13 1 0,-1 0 15,14 0-15,-13 13 0,13-14 0,-13 1 0,0 0 16,-1 13-16,1 0 16,0-13-16,0 13 15,0 0-15,-1 0 0,1-13 16,0 13-16,-14 0 0,14 0 15,0 0-15,0 0 0,-14 0 0,-26-14 16,40 14-16,-27 0 16,14 0-16,-1 0 0,-12 0 15,-1-13-15,0 13 0,1 0 0,-1 0 0,0-13 16,1 13-16,-14 0 0,13-13 0,-13 13 16,13 0-16,-12 0 15,-54 0-15,53 0 0,0-14 16,0 14-16,-53 14 0,53-14 15,0 0-15,0 0 0,0 0 16,1 0-16,-1 0 0,0 0 0,0 13 16,0-13-16,0 0 0,0 0 0,0 13 15,-13-13-15,13 0 0,0 0 16,0 0-16,0 0 0,-13 13 0,13-13 16,0 0-16,0 0 0,14 0 0,-1 0 15,0 0-15,14 0 0,-14 0 16,1-13-16,12 13 0,-13 0 0,14 0 15,-1 0-15,-12 0 0,12 0 16,-39 0-16,26 0 16,14 0-16,0 0 0,-14 0 0,-26 0 15,39 0-15,-12 0 0,12 0 16,-13 0-16,14 0 0,-14 0 16,14 0-16,-14 0 0,14 0 0,-1 0 15,1 0-15,-1 0 0,1 0 0,-1 0 16,1 0-16,-1 0 0,1 0 15,0 0-15,-1 0 0,1 0 0,-1 0 16,1 0-16,-1 0 0,-12 0 0,12 0 16,-13 0-16,14 0 0,0 0 15,-1 0-15,1 0 0,-1 0 16,1 0-16,-27 0 0,13 13 16,14-13-16,-1 0 0,-13 0 15,14 14-15,0-14 0,-14 0 0,13 13 0,-12-13 16,-1 13-16,14-13 0,-1 0 15,-13 13-15,1 0 0,12-13 16,1 14-16,-14-1 0,-13 0 16,40-13-16,-13 0 0,-41 27 15,54-27 1,-13 0-16,12 0 0,-12 13 0,13-13 0,-14 0 16,-12 13-16,12-13 15,14 0-15,-14 13 0,1-13 0,13 0 16,-14 13-16,1-13 0,13 14 15,-14-14-15,1 13 0,13-13 16,-27 13-16,27 0 0,-1-13 16,1 0-16,0 14 0,0-14 15,-1 13-15,1 0 16,13 0-16,0 1 0,0-1 16,0 0-16,0 13 0,0-12 15,0 12-15,0-13 0,0 14 0,0-1 16,0 1-16,13-1 0,-13 1 15,0 12-15,0-12 0,0 13 0,14-14 16,-14 27-16,13-40 16,0 40-16,-13-40 0,13 27 15,1-27-15,-14 0 0,13 1 16,-13-1-16,13-13 0,0 13 16,1 0-16,-1-13 0,0 14 0,27-14 15,-14 0-15,1 0 16,-1 0-16,14 0 0,-1-14 0,1 14 15,13 0-15,0-13 0,0 13 16,66-13-16,-53 13 0,0-13 16,-13 13-16,13-14 0,0 14 0,-13 0 15,13 0-15,1-13 0,-14 13 16,13-13-16</inkml:trace>
</inkml:ink>
</file>

<file path=ppt/ink/ink4.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23:17.761"/>
    </inkml:context>
    <inkml:brush xml:id="br0">
      <inkml:brushProperty name="width" value="0.05292" units="cm"/>
      <inkml:brushProperty name="height" value="0.05292" units="cm"/>
      <inkml:brushProperty name="color" value="#0070C0"/>
    </inkml:brush>
  </inkml:definitions>
  <inkml:trace contextRef="#ctx0" brushRef="#br0">2527 2765 0,'26'0'32,"-13"-13"-32,27 13 15,-13 0-15,-14-14 16,13 14-16,-12 0 0,12 0 16,14-13-16,-14 13 0,-13 0 0,14-13 15,-14 13-15,0 0 16,1-13-16,-1 13 0,0 0 15,0 0-15</inkml:trace>
  <inkml:trace contextRef="#ctx0" brushRef="#br0" timeOffset="207.05">2818 2699 0,'-27'0'15,"14"13"1,-13 27-1,26-27-15,0 0 0,-14 40 16,1-13 15,13-27-31,0 0 0,0 0 0,0 1 16,0-1-16,-13 13 16,13-12-16</inkml:trace>
  <inkml:trace contextRef="#ctx0" brushRef="#br0" timeOffset="439.97">2540 3069 0,'-13'0'15,"52"0"16,-25-13-31,-1 13 16,0 0-16,0 0 0,27-13 16,-27 13-16,27-14 15,-14 14 1,-12 0-16,-1-13 0,0 13 0</inkml:trace>
  <inkml:trace contextRef="#ctx0" brushRef="#br0" timeOffset="908.79">2897 2871 0,'-13'13'16,"13"0"0,0 0-16,0 1 15,0-1 16,0 0-31,26-39 47,-12 12-31,-1 14-16,13 0 31,-12 0-31,-1 14 16,0-1-1,0 0-15,0 0 16,1-13 0</inkml:trace>
  <inkml:trace contextRef="#ctx0" brushRef="#br0" timeOffset="1236.08">3453 2699 0,'0'0'16,"0"13"0,-13 0-16,13 0 15,0 1-15,0-1 16,0 0-16,-14 27 0,14-27 16,0 14-16,0-14 15,0 0-15,0 0 16,0 0-16</inkml:trace>
  <inkml:trace contextRef="#ctx0" brushRef="#br0" timeOffset="2001.08">3360 2699 0,'13'-13'16,"1"13"-16,-14-14 15,13 14-15,0 0 0,14 0 16,-14 0-16,0 0 0,0 0 15,14 14-15,-14-1 16,-13 0 0,0 13-16,-13-12 15,13-1 1,0 0-16,-14-13 16,28 13-1,12 1 1,1-1-1,-14-13 1,0 13-16,-13 0 0,13 1 16,-26 12-1,0-13-15,-14 0 16,14 1-16,0-14 0,0 13 16,-1-13-16,-12 13 0,13-13 15,0 13-15,-1-13 16</inkml:trace>
  <inkml:trace contextRef="#ctx0" brushRef="#br0" timeOffset="2464.63">3664 2791 0,'0'0'16,"0"14"15,0-1-31,14 13 16,-14-12 0,0-1-16,13 0 0,0 0 15,0-13-15,1 0 16,-1 0-16,0 0 15,0 0-15,1-13 16,-14 0-16,13 13 16,-13-13-16,13-1 0,-13 1 15,13 0 1,-13 0-16,13-1 16</inkml:trace>
  <inkml:trace contextRef="#ctx0" brushRef="#br0" timeOffset="2640.96">3916 2778 0,'13'13'32,"0"14"-17,1-14 1,-14 0-16,0 1 15,13-14-15,-13 13 16,0 0-16</inkml:trace>
  <inkml:trace contextRef="#ctx0" brushRef="#br0" timeOffset="2821.01">3995 2672 0,'0'-13'16</inkml:trace>
  <inkml:trace contextRef="#ctx0" brushRef="#br0" timeOffset="3252.68">4180 2712 0,'-39'0'15,"78"0"-15,-91 0 0,52 13 16,-14 0-16,14 1 16,14-1-1,-1 0 1,0 0-16,0 1 0,0-14 0,-13 13 15,14-13-15,-14 13 16,13-13-16,0 13 16,0 1-16,-13-1 15,-13 0 1,0 0-16,0-13 16,13 13-16,-14-13 0,1 14 15,0-14-15,0 0 16,13 13-16,-13-13 31</inkml:trace>
  <inkml:trace contextRef="#ctx0" brushRef="#br0" timeOffset="3709.78">4352 2765 0,'0'26'15,"0"-12"-15,14-1 16,-14 0-16,0 0 0,0 1 31,0-1-31,0 0 16,13-39 31,-13 12-47,0 1 0,26 0 15,-12 0 1,-1 13-1,0 0-15,0 0 16,0 0-16,-13 13 16,14-13-16,-1 13 15,-13 0-15,13-13 0,-13 14 16,13-14-16,-13 13 16,14-13-16,-1 0 15</inkml:trace>
  <inkml:trace contextRef="#ctx0" brushRef="#br0" timeOffset="4106.14">4683 2897 0,'40'-53'16,"-40"40"-16,0 0 15,13 0-15,-26-1 31,0 28-15,13-1-16,-14 0 31,14 14-15,14-14-16,-1 0 31,0-13-31,0 0 0,-13 13 0,13-13 16,1 0-16</inkml:trace>
  <inkml:trace contextRef="#ctx0" brushRef="#br0" timeOffset="4446.78">4974 2778 0,'-26'0'0,"52"0"0,-66 0 0,27 0 15,0 13 1,0-13-16,0 27 16,13-14 15,0 0-31,0 1 0,0-1 16,13 0-16,-13 0 15,13 0 1,-13 1-16,0-1 31,-13 0-15,0 0-16,-1-13 15,1 0-15,0 14 16,0-14-16</inkml:trace>
  <inkml:trace contextRef="#ctx0" brushRef="#br0" timeOffset="4931.89">5106 2765 0,'-66'13'0,"66"0"16,-13-13-16,13 14 16,0-1-1,13 0-15,1 0 0,-14 1 16,13-14-16,0 13 0,0 0 16,0 0-16,1-13 0,-1 13 0,0 1 15,0-1-15,1 0 16,-14 0-1,-14 14 1,1-27-16,0 13 0,0-13 16,-1 13-16,1-13 15,0 13-15,0-13 0,0 0 0,-1 0 16,1 0-16</inkml:trace>
  <inkml:trace contextRef="#ctx0" brushRef="#br0" timeOffset="5638.35">5715 2686 0,'0'-14'0,"-13"14"15,39-13 1,27 13-1,-26 0 1,12-13-16,14 13 0,0 0 0,-13 0 0,13-13 16,0 13-16,0 0 0,-1 0 0,1 0 15,-13-14-15,-13 14 16,12 0-16,-26 0 0,14 0 0,-1 0 16,-12 0-16,-1 0 0,0 0 0,0 0 15,1 0 1,-1 0-16,0 0 15</inkml:trace>
  <inkml:trace contextRef="#ctx0" brushRef="#br0" timeOffset="6014.74">6324 2500 0,'-14'0'16,"41"14"15,-1-14-16,-13 13-15,14 0 0,-14-13 0,0 13 16,1-13-16,12 13 0,-13 1 16,1-14-16,12 13 0,-13 0 15,0-13-15,1 13 0,-1 1 0,0-14 16,0 13-16,1 0 0,-1-13 0,-13 13 16,13 1-16,-13-1 15,-13 0-15,13 0 0,-13 0 0,-14 14 16,-13-1-16,-39 41 0,13-41 15,13 0-15,-13 14 16,-27 0-16,14-14 0</inkml:trace>
  <inkml:trace contextRef="#ctx0" brushRef="#br0" timeOffset="17836.29">8096 1799 0,'13'0'16,"-26"-13"-1,-13 26 1,13-13-16,-1 13 16,1-13-1,-13 27-15,12-27 16,14 13-16,-13-13 0,13 13 0,-13-13 15,13 14-15,0-1 16,0 0-16,0 0 16,26 14-1,14-14 1,-40 0-16,53 14 16,-40-27-16,-13 13 0,13-13 0,1 13 15,12 0 1,-26 1-16,0-1 15,-26 0 1,12-13-16,-12 13 16,13-13-16,0 0 0,-14 13 0,14-13 15,-14 0-15,14 0 0,0 0 16,0 0-16,-27 14 16,27-14-16</inkml:trace>
  <inkml:trace contextRef="#ctx0" brushRef="#br0" timeOffset="18364.15">8281 1945 0,'0'-14'16,"-26"28"15,13-1-31,13 0 16,0 0-1,0 1-15,-13-14 0,13 13 16,13 0-16,0 0 16,-13-26-1,26 13 1,-12-13-1,-1 0 1,0 13 15,0 13-15,-13 0-16,0 0 16,14-13-16,-14 14 15,13-14 1,0 13-16,0-13 15</inkml:trace>
  <inkml:trace contextRef="#ctx0" brushRef="#br0" timeOffset="18617.91">8559 1720 0,'0'-13'15,"0"52"17,-13-26-32,13 1 0,0-1 0,0 0 15,0 14-15,0-14 0,0 0 16,0 0-16,0 14 0,13 12 16,-13-25-16,0-1 15,0 0-15,0 0 16,13 14-16</inkml:trace>
  <inkml:trace contextRef="#ctx0" brushRef="#br0" timeOffset="18946.83">8744 2024 0,'40'-53'0,"-40"40"0,13-14 15,1 14-15,-14 0 16,0 0 0,13 0-16,-40 26 46,27 13-30,0-13-16,-13 1 0,26-1 16,14 13-1,-14-26-15,0 0 16,27 14-16,-27-14 16</inkml:trace>
  <inkml:trace contextRef="#ctx0" brushRef="#br0" timeOffset="19187.93">9102 1879 0,'-14'-14'0,"28"28"0,-41-28 15,27 1 1,-13 26 0,13 1-1,13-1-15,-13 0 0,0 0 16,13 0-1,-13 1-15,0-1 16,-13 27 0,-13-27-1,13 0-15,-1-13 0,1 13 16,0-13-16</inkml:trace>
  <inkml:trace contextRef="#ctx0" brushRef="#br0" timeOffset="20770.75">7964 2566 0,'0'-13'0,"0"40"32,0 12-17,0-25-15,0-1 16,0 0-16,-13 0 0,13 14 15,-13-14-15,13 13 0,0-12 16,-14 12 0</inkml:trace>
  <inkml:trace contextRef="#ctx0" brushRef="#br0" timeOffset="20990.21">7938 2408 0,'0'-14'15</inkml:trace>
  <inkml:trace contextRef="#ctx0" brushRef="#br0" timeOffset="21367.83">8096 2553 0,'13'40'0,"-13"-27"0,0 14 16,0-14 0,0 13-1,0-12-15,14-41 47,-1 14-31,13 26 15,-12 0-31,-1 1 16,0-1-1,0 0-15,-13 0 16,14 0-1</inkml:trace>
  <inkml:trace contextRef="#ctx0" brushRef="#br0" timeOffset="21692.05">8334 2593 0,'14'13'31,"-14"0"-31,13 1 0,0 25 16,-13-25-16,13-1 16,-13 0-1,14-13-15,12-13 31,-13 0-15,-13-1-16,13-12 0,-13 13 16,14 13-16,-14-27 15,13 27-15,-13-13 0,13 13 16,0-13 0</inkml:trace>
  <inkml:trace contextRef="#ctx0" brushRef="#br0" timeOffset="22286.77">8612 2699 0,'0'-27'0,"13"14"0,1 0 0,-14 0 16,26-1-1,-26 1-15,0 0 0,13 13 16,-39 13 31,26 0-32,0 14 1,13-14 0,14-26-1,-14 13 1,0-13 0,0 13-16,0 0 15,1 0 1,-1 0-16,0 13 15,14 0 1,-27 0 0,13-13-16,-13 14 15,13-14-15,0 0 32,1 0-17,-1-14 1,0 28-1,0-14-15,0 0 16,1 0 0</inkml:trace>
  <inkml:trace contextRef="#ctx0" brushRef="#br0" timeOffset="22482.75">9128 2447 0,'0'0'0,"0"-13"0,0 40 47,0-14-47,0 0 16,0 27-16,0-27 16,0 0-16,13 53 15,-13-52-15,0-1 0,0 0 0,14 0 16</inkml:trace>
  <inkml:trace contextRef="#ctx0" brushRef="#br0" timeOffset="22687.75">9022 2619 0,'40'-26'0,"13"13"16,-40 13-16,0 0 0,1-14 15,-1 14-15,13 0 0,-12 0 0,-1 0 16,13-13-16</inkml:trace>
  <inkml:trace contextRef="#ctx0" brushRef="#br0" timeOffset="23028.36">9340 2540 0,'-13'0'16,"-1"13"-16,14 0 15,-13-13-15,13 14 0,0-1 0,0 0 16,0 0 0,13 1-16,1-1 0,-1-13 15,0 0-15,0 0 0,0 0 16,1 0-16,-1-13 16,0-1-1,-13 1-15,0 0 16,-13 0-16,13-1 15,-13 14-15,13-13 0,-14 13 16,1 0-16,0-13 0</inkml:trace>
  <inkml:trace contextRef="#ctx0" brushRef="#br0" timeOffset="23310.89">9459 2514 0,'26'0'16,"-12"13"-16,-1-13 0,0 26 16,0-13-1,-13 14 1,13-27-16,-13 13 0,0 0 16,14 1-1,-1-41 16,0 14-15,-13 0-16,13-1 16,1 1-1,-1 13 1</inkml:trace>
  <inkml:trace contextRef="#ctx0" brushRef="#br0" timeOffset="23686.84">9710 2500 0,'0'27'63,"13"-27"-47,1 0-1,12 0 1,1 13-16,-14 0 15,-13 0-15,13 1 16,0 12-16,-13-13 0,0 1 0,0 12 16,0-13-16,0 14 0,0-1 15,0 1-15,-13-14 0,-13 53 16,26-39-16,-14-14 16,1 0-16,0 0 0,13 0 15,-13-13 1,26-26-1,-13 13-15,13 0 16,0-14-16,1 14 0,-1 0 16,0-1-16,40-39 15,-40 40-15,0 0 0,14 0 16</inkml:trace>
  <inkml:trace contextRef="#ctx0" brushRef="#br0" timeOffset="29562.8">10332 2394 0,'0'-13'0,"0"53"47,13-27-32,-13 0-15,0 1 0,0-1 16,-13 0-16,13 27 16,0-27-1,0 0 1,0 0-16,13-39 47,0 13-32,1 0-15,-1-1 16,0 1 0,0 13-16,1 13 15,-1 1 1,0-1-1,-13 0 1,0 0 0,0 0-1,13-26 17,1 0-32,-1 13 15,-13-13-15,13 13 16,0 0-16,14 0 0,-1 0 15,-26 13 1,13-13-16,-13 13 0,14-13 0,-1 13 16,0 1-1,-13-1 1,13 0-16</inkml:trace>
  <inkml:trace contextRef="#ctx0" brushRef="#br0" timeOffset="30966.83">10848 2487 0,'13'-13'0,"-13"0"31,-13-1-15,0 14 31,-1 0-31,1 0-1,0 14 1,0-1-1,0 0 1,13 0-16,-14-13 16,14 14-1,-13-14-15,13 13 16,0 0 0,-13-13 15,0 13 78,13 0-62,0 1-16,13-14 1,0 0-32,0 0 0,1-14 15,12-12 1,-13 13-1,0 0 1,-13-1 0,14 28 15,-14 12-31,0-13 0,13 40 16,-13-40-1,0 1-15,0-1 0,0 13 0,0-12 16,-13 12-16,13-13 0,-14 0 15,1 14-15,0-14 16,13 0-16,-13-13 16,0 0-16,-1 14 15,1-28 1,0 14-16,13-13 16,0 0-1</inkml:trace>
  <inkml:trace contextRef="#ctx0" brushRef="#br0" timeOffset="31486.05">10927 2527 0,'14'0'31,"-14"13"-15,0 0-16,0 0 15,13 1 1,-13-1-16,0 0 16,26-26 15,-13 0-16,1 13 1,-1 0 0,0 0-1,0 0 1,1 13-16,-1-13 16,-13 13-1,13-13 1,0-13 15,14 13-15,-14-13-16,0 13 31,0 0-15,1 13-16,-14 0 15,13-13 1</inkml:trace>
  <inkml:trace contextRef="#ctx0" brushRef="#br0" timeOffset="31783.19">11443 2394 0,'0'-13'0,"0"40"47,-13-1-32,13-13-15,-13 14 16,13-14-16,0 27 16,0-27-16,0 0 0,13 0 15,-13 1-15,13-1 16,0-13-1,-13 13-15,27-26 16,-14 13 0</inkml:trace>
  <inkml:trace contextRef="#ctx0" brushRef="#br0" timeOffset="32030.81">11218 2474 0,'14'0'31,"25"-13"-31,1-1 16,-14 14-16,-12 0 15,12 0-15,1-13 0,-1 13 0,27-13 16,-27 13-1,1 0 1,-14 0-16,0 0 0,1 0 16</inkml:trace>
  <inkml:trace contextRef="#ctx0" brushRef="#br0" timeOffset="37454.74">8467 3254 0,'0'-13'0,"-14"0"0,1 26 16,-13 14 0,13-14-16,13 0 15,-14 27-15,1-27 16,13 0-16,0 14 0,0 12 15,0-25-15,13-1 0,-13 0 16,14 0-16,-1 0 16,0-13-16,0 14 0,0-14 15,40 13-15,-39-13 16,12-13 0,-13 13-16</inkml:trace>
  <inkml:trace contextRef="#ctx0" brushRef="#br0" timeOffset="37783.92">8784 3334 0,'-13'13'31,"0"0"-15,13 14-1,13-14-15,-13 0 16,0 0-16,13-13 16,0 14-16,1-14 15,-1 0-15,0-14 0,14 1 16,-14 13-16,0-13 16,0 0-1,-13-1-15,13 1 16,-13 0 15</inkml:trace>
  <inkml:trace contextRef="#ctx0" brushRef="#br0" timeOffset="38075.87">9049 3281 0,'0'-13'16,"-13"39"15,13 1-15,0-14-1,13 13 1,-13-13-16,0 14 15,0-14-15,0 0 16,-13 14 0,13-14-16,-14-13 15,1 13-15,0-13 0,0 0 16,-1 0 0,1 0-16</inkml:trace>
  <inkml:trace contextRef="#ctx0" brushRef="#br0" timeOffset="38335.25">9234 3188 0,'13'0'31,"-13"13"-16,0 1-15,13 25 16,-13-25-16,0 12 16,0-13-16,0 14 0,0-14 15,0 0-15,0 40 16,0-40-16,0 1 0,0 12 16,14-26-16,-14 13 15</inkml:trace>
  <inkml:trace contextRef="#ctx0" brushRef="#br0" timeOffset="38558.03">9141 3413 0,'0'0'0,"14"0"15,-1-13-15,0 13 0,0 0 0,14-13 16,-14 13-16,0-14 16,14 14-16,12 0 15,-25 0-15,12 0 0,-13-13 16,0 13-16</inkml:trace>
  <inkml:trace contextRef="#ctx0" brushRef="#br0" timeOffset="38930.33">9499 3347 0,'-40'13'16,"27"14"-1,13-14-15,0 0 0,0 0 16,0 1-16,0-1 0,0 0 16,13 13-16,0-26 15,0 0-15,1 14 0,12-28 16,-13 14 0,0 0-16,1-13 0,-1 0 0,0 0 15,-13 0 1,0-1-16,-13-12 15,13 13-15,-13 13 0,13-14 0,-14 14 16,1-13 0,0 0-16,0 13 15</inkml:trace>
  <inkml:trace contextRef="#ctx0" brushRef="#br0" timeOffset="39450.87">9657 3321 0,'14'0'16,"-14"13"0,13 0-16,-13 0 15,0 14-15,13-27 16,-13 13-16,0 0 15,0 0 1,0 1-16,26-14 31,-26-14-15,14 14-16,-1 0 0,0 0 16,-13-13-16,13 13 15,1 0 1,-1 0-16,-13 13 15,13-13 1,13 0 47,-12-13-48,-1 13 1,0-13-1,0 13 1,1 0-16,-1 0 16,0 0-1,-13 13-15,13-13 32,-13 13-32</inkml:trace>
  <inkml:trace contextRef="#ctx0" brushRef="#br0" timeOffset="39902.81">10107 3426 0,'27'-26'0,"-27"13"16,0-1-16,13 1 15,-13 0-15,-13 13 16,13-13 0,-14 13-1,1 13 1,13 0-16,13 0 16,1 14-1,-1-27 1,-13 13-16,13-13 15,0 0-15,14 13 16,-1-13-16</inkml:trace>
  <inkml:trace contextRef="#ctx0" brushRef="#br0" timeOffset="40175.11">10332 3360 0,'0'-13'16,"0"26"-16,13-26 15,0 26 1,-13 0 0,14 1-16,-14-1 15,0 0-15,-14 0 16,14 1-16,14-28 47,-1 1-32,0 13-15,-13-13 0,27-14 16,-14 14-16,0 0 16,0 13-16,1-13 0,12 0 15,-13 13-15</inkml:trace>
  <inkml:trace contextRef="#ctx0" brushRef="#br0" timeOffset="43326.11">10993 3122 0,'14'0'0,"-28"27"15,1-14 1,13 0-16,-13 0 0,-13 53 16,12-52-16,14-1 0,-13 27 15,0-27-15,13 13 16,13 14-1,-13-27-15,13-13 0,1 13 16,-1-13-16,13 14 16,-13-14-16,1 0 0,-1 0 15,13 0-15,-12-14 16</inkml:trace>
  <inkml:trace contextRef="#ctx0" brushRef="#br0" timeOffset="43754.88">10808 3307 0,'27'0'16,"-1"0"-1,1 0 1,-14 0-16,0 0 0,0 0 15,27 0-15,-27 0 16,0 0-16,14 0 16,-14 14-1,0-14-15,1 0 16,-1 26 0,0-26-16,0 13 15,-13 0-15,0 1 0,13-1 16,-13 0-16,0 0 15,14 1 1,-14-1-16,0 0 16,0 0-16,13-52 31,0 39-15,-13-14-16,13 1 0,1 0 0,-1 0 15,27-14 1,-27 14-16,0 0 0,13 0 15,-12 13-15,-1 0 16</inkml:trace>
  <inkml:trace contextRef="#ctx0" brushRef="#br0" timeOffset="44403.03">11417 3453 0,'13'-27'0,"-13"14"16,13 0-16,-13 0 16,-13 39 31,13-13-32,0 1-15,0-1 16,0 0-1,0 0 1,13-13 0,0 0-16,1 0 15,-1 0 1,0 0 15,0 13-15,1-13 46,-1-13-46,0 0 0,0 13-1,14 0 1,-27 13-1,13-13-15,0 0 16,0 0-16</inkml:trace>
  <inkml:trace contextRef="#ctx0" brushRef="#br0" timeOffset="44643.43">11827 3228 0,'0'-13'15,"-13"39"17,-1 14-17,14-14-15,-13-12 0,13 12 16,0-13-16,-13 14 15,13-1-15,-13-13 0,13 1 0,0 12 16,0-13-16</inkml:trace>
  <inkml:trace contextRef="#ctx0" brushRef="#br0" timeOffset="44830.39">11708 3426 0,'0'-13'0,"13"0"15,14 13 1,-14 0-16,0-13 16,27 13-16</inkml:trace>
  <inkml:trace contextRef="#ctx0" brushRef="#br0" timeOffset="45033.87">11906 3334 0,'13'0'16,"14"13"-1,-27 13-15,13-12 16,0-1-16,-13 0 16,0 0-16,14-13 0,-14 14 0,0-1 15,0 0-15,-14 0 16,14 0-16,-13-13 0,0 14 15,-14-1 1,14-13-16,0 0 0,-13 0 16,-14 0-16,13 0 0</inkml:trace>
  <inkml:trace contextRef="#ctx0" brushRef="#br0" timeOffset="45854.98">9551 1482 0,'0'26'31,"-26"54"-15,13-14-16,0-27 16,-1 1-16,1 0 0,-27 39 15,27-39-15,0-14 0,0 14 16,-40 39-16,40-52 16,-1-14-16,1 0 15,13 0-15</inkml:trace>
  <inkml:trace contextRef="#ctx0" brushRef="#br0" timeOffset="46375.73">9750 1707 0,'-13'26'16,"13"0"0,0-12-16,0 12 15,0-13-15,-14 14 0,14 26 16,0-27-16,-13-13 0,13 1 15,0-1-15,0 13 16,-13-12-16,13-1 0,0 0 16,0-39 15,0-54 0,0 54-31,13-27 16,-13 26-16,0 1 0,13 13 0,-13-1 0,27-12 15,-27 13-15,13 0 16,0 13 0,1 13-16,12 0 15,-26 0-15,0 0 16,0 14 0,0-14-16,0 0 0,-13 1 0,0-1 15,13 0-15,-14-13 0,1 27 16,0-27-16,0 13 15</inkml:trace>
  <inkml:trace contextRef="#ctx0" brushRef="#br0" timeOffset="46644.03">9856 1799 0,'13'0'0,"0"13"0,0 1 15,-13-1-15,14 0 16,-14 0-16,0 1 0,0-1 16,0 13-1,0-13-15,13-13 16,0-13 15,-13 0-31,0 0 16,13 0-1,1 13-15,-1 0 0,-13-14 0,26 1 16,-13 13-16</inkml:trace>
  <inkml:trace contextRef="#ctx0" brushRef="#br0" timeOffset="46917.15">10120 1773 0,'-13'26'15,"13"1"1,0-14-16,13 13 16,1-12-1,-1-14 1,0 0-16,0 0 0,0-14 16,1 14-1,-1-13-15,-13 0 16,0 0-1,-13 13-15,13-14 16,-14 14-16,1 0 16,0 0-1</inkml:trace>
  <inkml:trace contextRef="#ctx0" brushRef="#br0" timeOffset="47330.97">10253 1640 0,'13'14'31,"-13"12"-15,13 1-16,-13-14 0,0 13 0,13-13 0,-13 14 16,27 79-1,-14-93-15,-13 66 16,0-65-16,0 12 0,0-13 15,0 1-15,0-1 0,-13 13 16,0-13-16,13 1 0,-14-1 16,1-13-1,0-13 1,26-14 0,-13 14-16,13 0 0,1 0 15,-1-1 1,0 1-16,13 0 15,-12 0-15,-1 13 0,0 0 16,14 13 0,-14-13-16,0 13 15,-13 0-15,13-13 16,-13 14-16,0-1 16</inkml:trace>
  <inkml:trace contextRef="#ctx0" brushRef="#br0" timeOffset="47479.62">10530 1812 0,'0'0'0,"0"-13"15,-26 26 1</inkml:trace>
  <inkml:trace contextRef="#ctx0" brushRef="#br0" timeOffset="47677.82">10623 1733 0,'13'13'16,"0"0"-16,-13 14 15,14-14-15,-14 0 16,13 14-16,-13-14 0,0 0 0,0 27 16,0-27-16,0 0 0,0 1 15,0-1-15,0 0 16</inkml:trace>
  <inkml:trace contextRef="#ctx0" brushRef="#br0" timeOffset="47854.09">10649 1971 0,'0'-13'16,"14"0"-1,12-1 1,-13 14-16,1 0 16,12-13-1,-13 13-15,27-13 16</inkml:trace>
  <inkml:trace contextRef="#ctx0" brushRef="#br0" timeOffset="48094.7">11046 1442 0,'0'79'16,"-13"-52"-16,0 65 16,13-52-16,-13 0 0,-1 66 15,1-80-15,13 1 16,-13-1-16,13-13 0,-13 14 0,13-14 16,-13 0-16,13 0 0,-14 1 15,14-1-15</inkml:trace>
  <inkml:trace contextRef="#ctx0" brushRef="#br0" timeOffset="48514.48">11324 1588 0,'-13'39'32,"0"14"-17,-1-26-15,14-14 0,-13 13 16,-13 40-16,26-39 15,-13-1-15,-1-12 0,14 12 0,-13-13 16,13 0-16,0 1 0</inkml:trace>
  <inkml:trace contextRef="#ctx0" brushRef="#br0" timeOffset="48838.93">11417 1773 0,'-27'26'15,"27"-13"-15,-13 14 16,13-1-16,13-12 16,-13-1-16,0 0 15,14-13-15,-1 0 0,0 13 16,13-13-1,-26-13-15,14 13 0,-1-13 16,-13 0 0,13-1-16,-13 1 15,-13 0 1,0 0-16,-1 13 16</inkml:trace>
  <inkml:trace contextRef="#ctx0" brushRef="#br0" timeOffset="49149.95">11655 1733 0,'-27'26'15,"27"-12"1,0 12 0,0-13-16,14 1 0,-14-1 15,0 0-15,13 0 0,0 1 0,0 12 16,1-13 0,-14 0-16,0 1 15,-14-1-15,14 0 16,-13-13-16,0 13 0,0-13 0,-1 0 15,1 14-15,-13-14 16,13 0-16,-1 0 16</inkml:trace>
  <inkml:trace contextRef="#ctx0" brushRef="#br0" timeOffset="49443.78">11814 1720 0,'-14'13'0,"14"13"16,0-12-1,0-1-15,0 13 16,0-12-16,0-1 0,14 0 15,-28 0-15,14 1 16,0-1-16,-13 13 16,13-13-16,-13 1 0,0-14 15,0 13-15,-1 0 0,1-13 0,0 13 16,-40 14 0</inkml:trace>
  <inkml:trace contextRef="#ctx0" brushRef="#br0" timeOffset="58167.79">12475 1389 0,'13'-13'32,"-13"0"-17,14 13-15,-1 0 32,13 0-17,-13 13-15,1 0 16,-1 0-16,0 1 0,0-1 0,27 66 15,-27-52-15,27 78 16,-27-52 0,-13-13-16,13 13 0,1 0 0,-1 79 15,0-79-15,0 53 16,14 13 0,13 93-1,-27-159-15,-13-1 0,26 94 16,-13-106-1,-13-1-15,0 1 0,14 0 0,-1 52 16,-13-65-16,0-1 16,0 14-1,0-27-15,0 14 0,0-14 16,0 0-16,-13 0 0,13 1 0,-14-14 0,1 26 16,-26-13-1,25 0 1,-25 1-16,25-14 15,-25 13 1,25-13-16,1 0 16,0-13-16,13-1 15</inkml:trace>
  <inkml:trace contextRef="#ctx0" brushRef="#br0" timeOffset="58600.7">13507 1759 0,'0'27'16,"-13"39"0,13-39-16,-13-1 0,-1 40 15,1-39-15,0-1 0,0 40 16,-1-53 0,14 1-16,-13-1 0,13 0 0,0 0 15,0 1-15</inkml:trace>
  <inkml:trace contextRef="#ctx0" brushRef="#br0" timeOffset="59042.79">13520 1733 0,'53'-26'0,"-40"39"0,14 0 15,-14 13 1,-26 14-1,-14-13 1,14-14-16,-40 53 16,40-53-16,-13 0 15,26 1-15,-27-1 16,27 0-16,-13-13 0,13 13 16,0 1-1,0-1-15,13 0 16,0-13-16,1 13 15,-1-13-15,13 14 16,-13-14-16,1 0 16,12 0-1,-13 0-15</inkml:trace>
  <inkml:trace contextRef="#ctx0" brushRef="#br0" timeOffset="59341.96">13785 1998 0,'13'-53'16,"-13"39"-16,0 1 16,0 0-16,-26 26 31,12 14-16,1-14 1,0 0-16,13 14 16,0-14-16,0 0 15,0 0 1,13 1-16,0-1 16,27-13-16,-27 0 15,0 0-15</inkml:trace>
  <inkml:trace contextRef="#ctx0" brushRef="#br0" timeOffset="59845.63">14036 1931 0,'-66'0'15,"132"0"-15,-145 0 0,66 14 16,-1-14-16,1 13 15,0-13-15,13 13 16,13 0 0,14 14-1,-14-27-15,0 13 0,-13 0 0,13-13 16,0 14-16,-13-1 16,14-13-16,-14 13 0,0 0 0,0 0 15,0 1-15,0-1 0,-14 0 0,-12 14 16,13-14-16,0-13 15,13 13-15,-14 0 0,1-13 0,-13 13 16,26 1 0,13-41 15,13 14-15,-12 0-16,12 0 0,-13-1 0,40-25 15,-40 25-15,14 1 0,-14 13 0,0-13 16,1 0-1,-1 13-15,0-13 0,0 13 16,0 13 0,-13 0-1,0 13 1,0-12-16,-13-1 16,13 0-1,0 0-15</inkml:trace>
  <inkml:trace contextRef="#ctx0" brushRef="#br0" timeOffset="59982.79">14261 1971 0,'0'-13'15</inkml:trace>
  <inkml:trace contextRef="#ctx0" brushRef="#br0" timeOffset="60611.38">14499 1931 0,'-26'14'16,"-1"25"0,14-39-16,0 27 15,13-14 1,-13 0-16,13 1 0,0-1 16,0 0-1,13 0 1,0-13-16,0 0 0,27 0 15,-40-13 1,13 13-16,0-13 0,1 0 16,-1-14-1,-13 14-15,0 0 16,0-1-16,-13 1 16,-1 0-1,28 26 48,-1 0-48,-13 1 1,13-14-16,-13 13 0,13 0 16,-13 0-1,0 1-15,14-14 16,-14 13-16,13-13 31,0 0-15,0 0-16,0 0 15,1 0 1,-1 0-16,0 0 16,0 0-16,1 0 15,-1 13-15,0-13 16</inkml:trace>
  <inkml:trace contextRef="#ctx0" brushRef="#br0" timeOffset="67998.89">13666 2619 0,'-14'40'16,"14"-27"-16,0 1 0,-13-1 0,13 0 16,0 0-16,0 0 15,-13-13-15,13 14 0,0-1 16,13-40 31,-13 14-47,0 0 15,13 0 1,1 0 0,-1 26-1,-13 0 1,0 0-16,13-13 16,-13 13-16,0 1 15,0-1 1,13-13-1,1-13 17,-1-1-17,0 14 1,0 0-16,1 0 16,-1 14-1,0-1-15,-13 0 16,26-13-1</inkml:trace>
  <inkml:trace contextRef="#ctx0" brushRef="#br0" timeOffset="68407.89">14063 2646 0,'-14'-13'0,"1"13"16,-13 13 0,12 0-1,1 0 1,0 1-16,0-1 0,13 0 16,0 0-16,-13-13 15,13 13-15,0 1 16,13-14-1,0-14 1,13 14 0,-26-13-16,14 13 15,-14-13-15,13 26 32,-13 0-17,13-13 1,-13 14-16,0-1 15,0 0 1,13-13 0</inkml:trace>
  <inkml:trace contextRef="#ctx0" brushRef="#br0" timeOffset="68728.05">14142 2686 0,'0'0'15,"-13"26"64,13-13-64,26-13 63,-13 0-62,-13 13 15,14-13-31,-1 0 0</inkml:trace>
  <inkml:trace contextRef="#ctx0" brushRef="#br0" timeOffset="69131.39">14407 2606 0,'0'-13'0,"-14"13"15,1 13 1,-13 0 0,26 1-16,-14-14 0,14 13 15,-13 13-15,13-12 16,0-1 0,0 0-1,13-13-15,1 0 16,-1-13-1,0 0 1,0-1-16,-13 1 16,14 13-1,-14 13 17,0 1-17,0 12 1,0-13-1,0 0-15,13-13 0,-13 14 16</inkml:trace>
  <inkml:trace contextRef="#ctx0" brushRef="#br0" timeOffset="69824.03">14631 2580 0,'-13'0'0,"13"-14"0,-13 28 31,0-14-31,13 13 16,0 0-16,0 14 15,0-14-15,0 0 16,0 0-16,0 1 0,0-1 0,0 0 15,-13 0-15,13 14 16,-14-14-16,-12 13 16,26-12-16,-13-14 15,13 13-15,-14-13 0,14 13 0,-13-13 0,26-13 63,1 0-63,-1-1 15,0 1-15,27-13 16,-27 12-16,0 1 0,0 0 16,14 0-16,-14 0 15,-13-1-15,13 1 0,1 0 0,-14 0 16,13 13 0,-13-14-16,13 1 15,0 13 32,1 13-47,-14 1 31,13-1-15,-13 0-16,0 0 16,0 1-1,13-1 1,0-26 31,14-14-47,-14 14 31,0 0-31,0 13 0,-13-14 0,14 14 0,-1 0 16</inkml:trace>
  <inkml:trace contextRef="#ctx0" brushRef="#br0" timeOffset="70119.73">15042 2514 0,'-14'0'0,"1"13"15,13 0 1,-13 0-16,13 0 16,0 1-1,0-1-15,0 0 0,0 0 0,-13 1 16,-1 12 0,1-13-1,-13 1 1,12-14-16,1 0 0,0 0 15</inkml:trace>
  <inkml:trace contextRef="#ctx0" brushRef="#br0" timeOffset="73189.75">9049 3956 0,'-13'-14'0,"-1"14"16,-12 14-1,13-1-15,-1 0 16,1 0-16,0 0 0,0 14 0,-1-14 16,14 0-16,-13 14 0,0-14 0,13 0 0,0 1 15,-13 12 1,13-13-16,0 0 0,0 1 0,0-1 15,13-13-15,-13 13 16,13 0-16,0 1 0,14-14 16,-14 0-1,0 0-15,1 0 0,-1 0 0,0 0 16,0 0 0</inkml:trace>
  <inkml:trace contextRef="#ctx0" brushRef="#br0" timeOffset="73676.25">9287 4022 0,'-13'-14'16,"26"28"-16,-40-28 15,1 28 1,26-1-16,-13-13 0,13 13 0,-13 0 16,-1 1-16,14-1 15,-13 0-15,13 0 0,0 1 16,13 12-16,1-13 31,-1 0-31,0-13 0,0 0 0,0 0 16,1 0-16,-1 0 0,0 0 15,14 0 1,-14-13-16,0 0 16,-13 0-16,13 0 15,-26-14 1,13 14-16,-13-14 15,0 27-15,-1-13 16,14 0 0,-13 13-1</inkml:trace>
  <inkml:trace contextRef="#ctx0" brushRef="#br0" timeOffset="74471.78">9591 4008 0,'-26'0'0,"12"14"0,1-1 15,0 13 1,13-12 0,13-1-1,14 13 1,-27-12-16,13-14 0,-13 13 0,13-13 15,-13 13-15,13-13 16,1 13-16,-14 0 31,-14 1-31,1-14 0,13 13 0,-13-13 16,0 0-16,-1 13 0,1-13 16,0 0-16,0 13 0,0-13 15,-1 0-15</inkml:trace>
  <inkml:trace contextRef="#ctx0" brushRef="#br0" timeOffset="74720.06">9763 3850 0,'13'13'15,"-13"40"1,0-27 0,0 54-1,0-67-15,0 0 0,0 14 0,0-14 16,0 0-16,14 0 0,-14 1 16,26 12-1,-13-13 1</inkml:trace>
  <inkml:trace contextRef="#ctx0" brushRef="#br0" timeOffset="74956.62">9723 4088 0,'27'-13'32,"-1"13"-17,-12 0-15,-1 0 0,0-14 16,0 14-16,0 0 0,14 0 0,-1-13 16,-12 13-16</inkml:trace>
  <inkml:trace contextRef="#ctx0" brushRef="#br0" timeOffset="75247.67">10279 4035 0,'0'0'0,"27"-13"31,-14 13-31,0 0 16,13 0-16,-12 0 0,-1 0 15,0-14-15,14 14 0,-14 0 0,0 0 16,0 0-16,1 0 0,-1 0 15,0-13-15</inkml:trace>
  <inkml:trace contextRef="#ctx0" brushRef="#br0" timeOffset="75491.67">10478 3850 0,'13'0'15,"0"0"-15,0 0 0,0 0 0,1 13 16,-1-13-16,13 13 0,-12-13 0,-1 13 16,26 27-1,-25-27-15,-1 1 0,-13 12 0,13-13 16,-13 0-16,0 1 0,-13 12 16,13 1-16,-13-14 0,-27 40 15,27-40-15,0 0 16,-1 0-16,1 14 0,0-27 15</inkml:trace>
  <inkml:trace contextRef="#ctx0" brushRef="#br0" timeOffset="75953.82">11060 3876 0,'0'27'15,"0"-14"-15,13 13 16,-13-12-16,0 25 16,0-26-16,0 1 0,0-1 0,0 0 15,0 0-15,13 1 0,-13-1 16,0 0-16,0 0 0,0 1 16</inkml:trace>
  <inkml:trace contextRef="#ctx0" brushRef="#br0" timeOffset="76278.2">11073 3836 0,'13'-26'15,"0"26"1,-13-13-16,13 13 0,1 0 16,-1 0-16,27 26 15,-14 14 1,-13-14 0,-26-12-16,13-1 15,0 0-15,-26 27 16,12-27-16,14 0 0,-13-13 15,0 13-15,0 1 16,-14-1 0</inkml:trace>
  <inkml:trace contextRef="#ctx0" brushRef="#br0" timeOffset="76667.03">11232 3942 0,'0'0'0,"13"14"0,0-14 16,-13 13-16,13-13 0,-13 13 16,0 0-16,13 0 0,-13 1 0,0-1 15,0 0-15,0 0 16,0 1-16,0-1 0,0 0 0,0 0 16,-13 1-1,13-1 1,13-40 15,1 14-31,-14 0 0,13 0 16,0 13-16,0-14 0,-13 1 0,14 0 15,-1 13-15,0-13 0,0-1 16,1 14-16,-1 0 0,0-13 16,0 26-16,0-13 15,1 14-15,-14-1 16,13-13-16,-13 26 15,0-12 1,0-1-16,0 0 16,0 0-16</inkml:trace>
  <inkml:trace contextRef="#ctx0" brushRef="#br0" timeOffset="76828.32">11523 3903 0</inkml:trace>
  <inkml:trace contextRef="#ctx0" brushRef="#br0" timeOffset="77214.62">11734 3889 0,'-26'0'15,"26"14"-15,-13-14 0,-1 13 16,14 0-16,-13-13 0,13 13 0,-13 1 15,13-1-15,-13 0 0,13 0 16,0 0-16,0 1 0,0-1 16,13 0-16,13-13 15,-12 0 1,-1 0-16,0 0 0,14 0 0,-14-13 16,0 13-16,0-13 0,0-1 15,1 14-15,12-13 16,-26 0-1,13 13 1,1 13-16,-14 14 16,0-14-1,0 0-15,0 0 16,13 1 0,-13-1-16</inkml:trace>
  <inkml:trace contextRef="#ctx0" brushRef="#br0" timeOffset="77695.75">11999 3956 0,'0'26'0,"0"0"15,13-39 48,0 0-48,1 13-15,-1-13 16,0 13 0,0 0-16,0 0 15,1 0-15,-1 0 0,13 0 16</inkml:trace>
  <inkml:trace contextRef="#ctx0" brushRef="#br0" timeOffset="78353.92">12343 3876 0,'-13'-13'0,"-14"26"32,14 0-17,13 1 1,-13-14-1,13 13 1,0 0-16,13 0 16,-13 27-1,13-27-15,-13 0 16,0 40-16,0-39 16,-13 12-16,13-13 0,-27 27 15,14-27-15,-13 14 16,13-14-16,-1 0 15,1-13-15,0 13 0,13-26 32,26-27-17,1 14 1,-14 13-16,0 0 16,14-14-16,-14 14 0,0 0 0,0-1 15,-13 1-15,14 0 0,-1-27 16</inkml:trace>
  <inkml:trace contextRef="#ctx0" brushRef="#br0" timeOffset="78533.96">11959 3612 0,'-13'-14'16</inkml:trace>
  <inkml:trace contextRef="#ctx0" brushRef="#br0" timeOffset="111156.05">14724 3585 0,'-13'-13'16,"0"13"-16,-1 0 16,1 0-16,0 0 0,-14 0 0,-12 13 15,26-13-15,-1 0 16,1 13-16,0-13 0,0 0 0,-1 14 16,1-14-16,13 13 15,-13 0-15,13 0 16,13-13-16,-13 13 0,13-13 0,-13 14 15,14-1-15,-1-13 0,-13 13 0,13 0 16,0-13-16,1 14 0,-1-14 16,-13 13-16,13-13 0,0 13 15,-13 0-15,13 1 16,-26-1-16,0 0 16,13 0-16,-26 0 15,12-13-15,-12 14 0,-1-1 16,14-13-1,0 13-15,0-13 0,-1 0 16,1 0 0</inkml:trace>
  <inkml:trace contextRef="#ctx0" brushRef="#br0" timeOffset="111695.69">14737 3678 0,'14'0'0,"-14"13"62,0 0-46,0 0-16,0 1 16,0-1-1,0 0 1,13-13-16,-13 13 16,13-13-1,0 0 1,0-13-16,1 13 15,-1 0 1,0-13 0,0 26-16,1 0 15,-14 1 1,26-14 0,-13 0-16,0 0 31,14-14-16,-14-12-15,0 26 0,-13-13 16,0-1-16,14 1 16,-14 0-1,13 0 17</inkml:trace>
  <inkml:trace contextRef="#ctx0" brushRef="#br0" timeOffset="111864.06">15068 3651 0,'13'0'16,"0"13"-1,-13 1-15,0-1 0,0 0 16,0 0-16,0 1 16,0-1-16,0 0 15,0 0-15,0 1 16</inkml:trace>
  <inkml:trace contextRef="#ctx0" brushRef="#br0" timeOffset="112007.84">15187 3572 0,'-13'-13'0</inkml:trace>
  <inkml:trace contextRef="#ctx0" brushRef="#br0" timeOffset="112620.03">15372 3387 0,'-13'26'16,"0"1"-1,13-14-15,0 13 16,0 1-16,0-1 0,13 40 16,-13-26-16,0 39 15,0-52-15,13 13 0,-13-14 0,0 0 16,14 1-16,-14-1 0,0-12 15,0-1-15,0 13 0,-14-26 0,14 14 16,0-1-16,-13 0 0,0-13 16,-14 0-1,14-13 1,0 0-16,13-1 0,-13 1 16,13-27-1,0 27-15,0 0 0,13 0 0,-13-1 16,13 1-16,0 0 0,-13 0 15,14 13-15,-1-13 0,0-1 0,0 1 16,1 0-16,-1 0 0,0-14 16,0 14-16,0 13 15,-13-13-15,14-1 0,-1 14 16,-13-13-16,13 13 0,-13-13 0,13 0 31,1 26 0,-28 0-15,14 0 0,0 1-16,0-1 31,0 0-15,14 0-1,-1-26 1,0 13-1</inkml:trace>
  <inkml:trace contextRef="#ctx0" brushRef="#br0" timeOffset="113019.76">15610 3426 0,'0'40'15,"0"-27"-15,0 0 16,-13 1-16,13-1 0,0 13 0,0-12 16,-13 12-16,13-13 0,0 27 15,-13 0-15,13-1 16,0-25-16,13 12 16,-13 1-16,13-14 15,-13 0-15,13-13 0,1 13 16,-1-13-16,0 0 0,14 0 15,-14-13-15,0 0 16,0 0-16</inkml:trace>
  <inkml:trace contextRef="#ctx0" brushRef="#br0" timeOffset="113239.03">15478 3612 0,'40'0'16,"-27"-14"-16,0 14 15,1 0-15,12 0 16,0-13-16,1 13 0,-1 0 0,1 0 0,12-13 16,-12 13-16,-1 0 15,-12 0-15,-1 0 16,0 0-16</inkml:trace>
  <inkml:trace contextRef="#ctx0" brushRef="#br0" timeOffset="113894.97">16351 3241 0,'0'40'15,"-13"-14"1,13 1-16,0-1 0,-13-13 15,13 14-15,-13-1 0,13 1 0,0-1 16,0-13-16,0 14 0,-14-1 16,14-12-16,0-1 15,0 13-15,0-12 16,0-1-16,-13-26 31,0-14-15,0 27-16,-1-13 15,1 13-15,0 0 16,0 0-16,-1 0 0,1 13 16,-13 0-16,13-13 0,-1 14 15,1-14-15,0 13 0,0 0 16,13 0-16,0 0 16,0 1-16,13-14 15,0 13-15,0-13 0,1 0 16,-1 0-16,13 0 0,-13 0 15,14 0-15,-1 0 0,-12-13 0,12 13 16,14 0-16,-14-14 0</inkml:trace>
  <inkml:trace contextRef="#ctx0" brushRef="#br0" timeOffset="114242.24">16510 3612 0,'13'-14'0,"0"14"0,-13-13 16,14 0-1,-14 0-15,0-1 16,13 1-16,-26 13 31,-14 13-15,14 1-16,0 12 15,13-13 1,13 27 0,13-27-1,-12-13-15,-1 13 16,13-13-16,-12 0 0,-1 0 0</inkml:trace>
  <inkml:trace contextRef="#ctx0" brushRef="#br0" timeOffset="114591.65">16828 3532 0,'-27'0'0,"54"0"0,-67 0 15,27 13-15,-1-13 16,14 14-16,-13-1 16,13 0-1,13 0 1,1 1 0,-1-14-16,0 0 0,27-14 15,-27 14 1,0 0-1,0 0-15,1-13 16,-1 26-16,0-13 16,-13 27 15,13-27-31,-13 13 16,14-13-16,-14 13 15</inkml:trace>
  <inkml:trace contextRef="#ctx0" brushRef="#br0" timeOffset="114751.14">17026 3413 0,'-13'-13'0</inkml:trace>
  <inkml:trace contextRef="#ctx0" brushRef="#br0" timeOffset="115019.58">17145 3479 0,'0'40'16,"0"-27"0,0 0-16,13 1 0,-13-1 15,0 0-15,0 0 0,13 1 0,-13-1 16,0 0-16,0 0 16,0 0-16,0 1 0,-13-14 15,13 13-15,-13 0 0,0-13 16,0 13-16,-1-13 0,1 0 15,0 0-15,0 0 16,-1 0-16</inkml:trace>
  <inkml:trace contextRef="#ctx0" brushRef="#br0" timeOffset="115195.72">17304 3479 0,'0'13'31,"0"-26"-31,0 40 0,13-14 16,-13 13-16,0-12 15,0-1-15,0 0 0,0 0 16,0 1-16,-13-1 0,13 0 16</inkml:trace>
  <inkml:trace contextRef="#ctx0" brushRef="#br0" timeOffset="115390.77">17410 3387 0,'-14'13'31</inkml:trace>
  <inkml:trace contextRef="#ctx0" brushRef="#br0" timeOffset="116027.61">17515 3532 0,'-13'13'0,"13"1"15,-13-1 1,13 0-16,0 14 31,0-14-31,13-13 16,0 0-16,1 0 15,-1-13-15,0-1 16,0 1 0,-13 0-16,14 13 0,-14-27 15,0 14-15,0 0 16,0 0 0,-14-1-16,1 14 15,0 0 1,0 0-16,13 14 15,-14-14-15,14 13 16,0 0-16,0 0 31,14 1-15,-1-14-16,0 0 0,0 0 16,1 0-1,12 13 1,-13-13-16,0 0 15,1 0-15,-1 0 16,13 13 0,-12-13 15,-1 0-31,13 0 31,-12 0-31,-1 0 0,0-13 16,0 13-16,0 0 0,1 0 15,-1 0-15,0 0 0,0 0 0,1 0 16</inkml:trace>
  <inkml:trace contextRef="#ctx0" brushRef="#br0" timeOffset="116416.22">15849 3942 0,'211'-39'0,"-158"25"0,0 14 16,13-13-16,14 13 0,39-13 15,-66 0-15,13 13 0,-13 0 16,0 0-16,-14 0 0,1 0 15,0-14-15,-14 14 0,1 0 0,-1 0 16,-13 0-16,14 0 0,-14 0 0,0 0 16,0 14-1</inkml:trace>
  <inkml:trace contextRef="#ctx0" brushRef="#br0" timeOffset="116647.8">16060 4061 0,'27'0'16,"-1"0"-1,1 0-15,12-13 0,67 13 0,-40-13 16,0 13-16,14-13 0,-14-1 16,0 1-16,0 13 0,0-13 15,-13 0-15,-13 13 0,13-13 0,-13 13 16,12-14-16,-25 14 0,39-13 15,-53 13-15,1-13 16,-1 13-16,0 0 0</inkml:trace>
  <inkml:trace contextRef="#ctx0" brushRef="#br0" timeOffset="139546.72">7263 2990 0,'39'-27'0,"-12"27"16,-14-13-16,27 13 16,-14-13-16,1 0 0,-14 13 15,13-14-15,1 14 0,-14-13 0,14 13 16,-14-13-16,13 13 0,14-13 15,-27 13-15,0-13 16,1 13-16,-1 0 0,0-14 16,14 14-1,-27-13-15</inkml:trace>
  <inkml:trace contextRef="#ctx0" brushRef="#br0" timeOffset="139867.76">7620 2738 0,'26'14'16,"-12"-14"-16,-1 0 0,40 13 16,-40 0-16,0-13 0,1 13 15,-1 1-15,0-1 0,0 0 16,-13 27 0,0-1-16,-13-12 15,0-14-15,13 14 0,-13-1 0,-1 0 16,-25 14-16,25-13 15,1-14-15</inkml:trace>
  <inkml:trace contextRef="#ctx0" brushRef="#br0" timeOffset="144687.32">4630 3969 0,'0'-13'0,"0"39"15,0-13-15,13 0 0,-13 27 16,0-27-16,0 1 16,0-1-16,0 0 0,0 0 15,14 1-15,-14-1 0,0 0 0,0 0 16</inkml:trace>
  <inkml:trace contextRef="#ctx0" brushRef="#br0" timeOffset="144923.16">4551 3823 0,'0'0'0,"-13"0"0</inkml:trace>
  <inkml:trace contextRef="#ctx0" brushRef="#br0" timeOffset="145307.69">4683 3889 0,'13'14'0,"-26"-28"0,40 41 0,-27-14 0,26 14 16,-13-1-1,-13-13-15,0 0 16,13 1-16,-13-1 0,14 0 31,-1-26-15,0 0 0,0-1-1,-13 1-15,14 13 0,-1-13 16,0 13-1,0 0-15,14 13 16,-14 0-16,0 1 16,0-1-1,-13 0-15,14 0 0</inkml:trace>
  <inkml:trace contextRef="#ctx0" brushRef="#br0" timeOffset="145784.9">5040 3784 0,'-13'13'15,"13"0"1,-13 0-16,13 0 0,0 1 16,0-1-16,13 0 0,-13 0 0,0 1 15,0-1-15,0 0 0,13 0 16,1 1-16,-1-14 0,0 0 15,0 0-15,0 0 16,27-27 0,-27 27-16,1-26 0,-14 12 15,13 14-15,-13-13 0,0 0 16,13 13-16,-13-13 0,13-1 16,1 28-1,-14-1 1,13-13-1,-13 13-15,13 0 16,0-13-16,0 14 0,1-14 16</inkml:trace>
  <inkml:trace contextRef="#ctx0" brushRef="#br0" timeOffset="146114.56">5384 3770 0,'14'27'47,"-14"-1"-32,0-13-15,0 1 16,0-1-16,0 0 0,0 0 15,-14-13-15,28-26 47,-1-1-31,-13 14-16,13 0 0,-13 0 16,13 0-16,-13-1 0,13 14 15,-13-13-15,14 13 0,-14-13 16,13 13-16,0-13 0</inkml:trace>
  <inkml:trace contextRef="#ctx0" brushRef="#br0" timeOffset="146363.63">5609 3625 0,'-13'0'16,"13"26"-1,13 1 1,-13-14 0,13 0-16,-13 0 0,0 1 0,14-1 15,-14 0-15,0 0 16,0 1-16,0-1 0,-14-13 16,14 13-16,0 0 0,-13 0 15,13 1-15,-13-14 16,13 13-16,-13-13 0</inkml:trace>
  <inkml:trace contextRef="#ctx0" brushRef="#br0" timeOffset="147615.57">5226 3797 0,'-14'-13'0,"14"26"31,-13 0-31,13 0 15,0 0-15,0 14 16,0-14 0,0 0-16,0 1 15,0-1-15,0 0 0,13 0 16,-13 1-16,14-14 16,-1 13-1,0-13 1,0-13-1,0 13-15,1-14 16,-1 1 0,-13 0-1,13 0 1,-13-1 0,0 1-16,0 0 15,0 0 1,0-1-1,0 1-15,0 0 16,0 0 15,13 13-31,-13-13 32,0-1-1</inkml:trace>
  <inkml:trace contextRef="#ctx0" brushRef="#br0" timeOffset="150719.51">4273 3836 0,'251'-105'15,"-184"91"-15,-15-12 0,15-1 0,12 1 16,-13 0-16,13-1 0,67-26 15,-67 27-15,-12-1 0,-1 1 16,0-1-16,26 1 0,-52 13 16,-13-1-16,-1 1 0,0 0 0,-12 13 15,-1 0-15,0-13 0,0 13 16,1 0-16,-1 0 0,0 0 0,0 0 16,14 0-16,-14 13 0,0 0 15,27 0-15,-14 1 0,1 12 16,-1 1-16,1-1 0,-1 0 15,14 1-15,-14-1 0,1 1 0,-1-1 16,1 1-16,-14-1 0,13 1 16,-12-1-16,12 1 0,-13-14 15,1 0-15,-14 14 0,13-14 0,0 13 16,0-13-16,-13 1 0,0-1 16,13 0-16,-13 0 0,0 1 15,0-1-15,0 0 16,0 0-16,-13-13 0,13 14 15,-26 12-15,13-13 0,-54 27 16,41-14-16,-14-12 16,1 12-16,-1-13 0,-13 14 0,13-14 15,1 13-15,-14-12 0,13 12 0,-13-13 16,0 14-16,0-1 0,-53 14 16,54-27-16,-1 14 0,-53 12 15,53-12-15,0-14 16,13 0-16,1 14 0,-41-1 15,40-13-15,14 1 0,-14-1 0,14-13 16,-1 13-16,14-13 0,-13 13 16,12-13-16,-12 14 0,0-14 15,-1 0-15,14 0 16,0 0-16,-1 0 16,1 0-16,0-14 0,0-12 15,0 13-15,13-1 16,-14 1-16,1-40 15,13 27-15,-13-1 0,0-12 16,-1-1-16,1 0 0,0 14 0,0-14 0,-1 0 16,1 14-16,0-14 0,0 14 15,0-1-15,-1 1 0,14 13 16,-13-14-16,0 14 0,13 0 16,-13-14-16,13 14 15,0 0-15</inkml:trace>
  <inkml:trace contextRef="#ctx0" brushRef="#br0" timeOffset="156083.62">6152 4008 0,'26'-13'0,"-13"13"15,0-13-15,1 13 0,-1 0 0,0 0 16,0 0-16,1 0 0,-1-13 16,0 13-16,14 0 0,-14 0 15,0 0-15,0 0 0,-13-13 16,13 13-16,1 0 0,-1 0 16,0 0-16,0-14 0</inkml:trace>
  <inkml:trace contextRef="#ctx0" brushRef="#br0" timeOffset="156428.6">6403 3863 0,'-13'0'16,"39"13"15,-13-13-31,-13 13 16,14-13-16,-14 14 0,13-14 15,0 13-15,0 0 0,-13 0 16,14 1-16,-14-1 15,0 0-15,0 0 0,0 0 16,0 1-16,0-1 16,-14 0-16,14 0 15,0 1 1</inkml:trace>
  <inkml:trace contextRef="#ctx0" brushRef="#br0" timeOffset="191180.69">21140 8440 0,'13'13'31,"-13"1"1,-13-1-17,13 27 1,0-27-1,0 0-15,0 0 0,13 0 16,1 1 0,-1-1-1,0-13 1,0 0-16,1-13 16,-1 13-16,0-14 0,-13 1 15,13 13-15,-13-13 16,13 13-16,1 13 31,-14 0-15,0 1-16,0-1 0,13 0 15,13 0 1,-12-13 0,-1 0-16,-13-13 15,13 13-15,0-13 0,1 0 16,-14-1-16,13 14 0,0-39 15,-13 26 1,0-1-16,0 1 0,0 0 16,0 0-1,-13 13 1</inkml:trace>
  <inkml:trace contextRef="#ctx0" brushRef="#br0" timeOffset="191466.78">21669 8308 0,'14'0'16,"-28"26"15,14 1-31,0-14 15,-13 14-15,13-14 0,0 0 16,0 0-16,-13 0 0,13 1 0,0 12 16,-13-13-1,13 1-15,0-1 0,0 0 16,0 0 0</inkml:trace>
  <inkml:trace contextRef="#ctx0" brushRef="#br0" timeOffset="191743.71">21643 8334 0,'66'-39'0,"-53"39"0,14 0 0,-14-14 16,0 14-16,0 0 0,1 0 0,12 0 15,-26 14 1,13-14-16</inkml:trace>
  <inkml:trace contextRef="#ctx0" brushRef="#br0" timeOffset="191907.72">21656 8440 0,'0'0'16,"0"13"-16,13-13 31,14 0-16,-14 0-15,0 0 0,1 0 16,-1 0-16,0 0 0,0 0 0,14-13 16,-14 13-16</inkml:trace>
  <inkml:trace contextRef="#ctx0" brushRef="#br0" timeOffset="192102.77">22027 8308 0,'0'-13'16,"0"39"15,-14 1-15,14-14-16,0 0 15,-13 0-15,13 1 0,0-1 0,-13 0 16,13 0-16,0 0 0,-13 1 16,-1 12-1,14 1 1</inkml:trace>
  <inkml:trace contextRef="#ctx0" brushRef="#br0" timeOffset="192350.92">22238 8229 0,'0'0'15,"-13"26"17,0 0-32,13-12 0,0-1 15,0 0-15,0 0 0,-13 1 16,13 12-16,0 1 16,0-14-16,0 0 15,0 0 1</inkml:trace>
  <inkml:trace contextRef="#ctx0" brushRef="#br0" timeOffset="192534.5">21987 8440 0,'0'0'16,"26"-13"-1,-12 13-15,-1 0 0,0 0 0,0 0 0,0-13 16,1 13-16,-1 0 0,0 0 16,14 0-16</inkml:trace>
  <inkml:trace contextRef="#ctx0" brushRef="#br0" timeOffset="193001.71">22807 8242 0,'13'53'16,"-13"-40"-16,0 0 0,0 14 15,0 12-15,-13-12 0,13-14 16,0 13-16,-13-12 0,13 12 0,0 1 16,0-14-16,0 0 15,-13 0-15,13 0 0,0 1 16</inkml:trace>
  <inkml:trace contextRef="#ctx0" brushRef="#br0" timeOffset="193259.61">22886 8281 0,'-26'0'16,"13"14"-1,0-1-15,-1-13 0,1 13 16,-13 0-16,12 1 16,-25 12-16,-1 14 15,27-27-15,0 0 0,-14-13 0,14 13 0,13 1 16,-13-14-16,-1 13 15</inkml:trace>
  <inkml:trace contextRef="#ctx0" brushRef="#br0" timeOffset="193447.39">22847 8268 0,'13'0'0,"0"13"31,0-13-31,-13 14 0,14-1 0,-1-13 16,0 13-16,-13 0 0,13 1 0,1-1 16,-1 0-16,0 0 0,0-13 15,1 14-15,-1-1 0,0-13 0,0 13 16,-13 0-16,13-13 0,1 13 0</inkml:trace>
  <inkml:trace contextRef="#ctx0" brushRef="#br0" timeOffset="195448.16">21392 9141 0,'-14'-13'0,"1"13"0,0 0 16,-14 0-16,14 0 15,0 13-15,0 1 16,13-1 0,0 0-16,13 14 15,27 12 1,-27-26 0,0-13-16,-13 14 0,13-1 15,1 13 1,-14-12-1,-14-1-15,1 0 16,0-13-16,13 13 0,-13-13 16,-54 27-1,54-27-15,0 0 0,0 0 0,0 0 16,-1 0 0</inkml:trace>
  <inkml:trace contextRef="#ctx0" brushRef="#br0" timeOffset="195710.67">21564 9128 0,'13'-13'0,"-13"26"15,0 0 1,0 1-16,0-1 0,0 0 15,0 0-15,0 1 0,0-1 0,0 0 16,0 0-16,-13 0 0,13 1 0,0-1 16,0 0-16,0 0 15,0 14-15,0-14 32,0 0-32</inkml:trace>
  <inkml:trace contextRef="#ctx0" brushRef="#br0" timeOffset="196020.8">21511 9260 0,'13'0'16,"0"0"-16,0 0 0,1-13 15,-1 13-15,13 0 16,-13 0-1,1 0-15,-1 0 0,13 0 16</inkml:trace>
  <inkml:trace contextRef="#ctx0" brushRef="#br0" timeOffset="196678.67">21762 9221 0,'-13'39'16,"13"-25"-1,0-1 1,13 0-16,0-13 16,-13 13-16,13-13 15,1 0-15,-1 0 0,0-13 16,0 13-16,1 0 0,-14-13 15,13 13-15,-13-13 0,13 13 16,0-14-16,1 1 16,-14 0-1</inkml:trace>
  <inkml:trace contextRef="#ctx0" brushRef="#br0" timeOffset="197060.85">22119 9036 0,'13'13'31,"-26"26"-15,13-25-16,0-1 0,-13 0 0,13 14 15,0-14-15,-13 0 16,13 0-16,0 1 0,0-1 15,0 0-15,0 0 16,-14-13 0,1 0 15,0 0-15,0 0-16,0 0 15,13 13-15,-14-13 16,1 14-1,13-1-15,0 0 16,13-13 0,1 0-16,-1 0 15,0 0-15,0 0 0,0 0 16</inkml:trace>
  <inkml:trace contextRef="#ctx0" brushRef="#br0" timeOffset="197989.67">22238 9141 0,'0'14'15,"0"12"-15,0-13 16,0 1-16,0-1 0,0 0 15,13 0-15,-13 0 16,14-13-16,-1 0 16,-13 14-16,26-28 15,-12 1 1,-1 0 0,0 0-1,0 13 1,-13 13-1,0 27 1,-13-14 0,13 14-16,-13-14 0,13-13 15,-13 14-15,-1-1 0,1 14 16,0-27-16,0 1 16,-1 12-16,14-13 0,-13-13 15,13 13-15</inkml:trace>
  <inkml:trace contextRef="#ctx0" brushRef="#br0" timeOffset="198319.3">22714 9062 0,'-13'26'31,"13"-12"-31,-13-1 0,13 0 16,-13 0-16,0 1 15,13-1-15,-14 0 16,14 0-16</inkml:trace>
  <inkml:trace contextRef="#ctx0" brushRef="#br0" timeOffset="198556.54">22767 9062 0,'0'-13'16,"14"26"15,-14 13-16,0-12-15,0-1 16,0 0-16,0 0 0,0 1 16,0-1-1,0 0-15,0 0 16</inkml:trace>
  <inkml:trace contextRef="#ctx0" brushRef="#br0" timeOffset="198773.44">22648 9221 0,'27'0'16,"-14"0"-16,0 0 15,0 0 1,1-13-16</inkml:trace>
  <inkml:trace contextRef="#ctx0" brushRef="#br0" timeOffset="198995.53">22701 9208 0,'-13'13'0,"0"0"16,13 0-1,-13 0-15,-1 1 16,1 12-16,0-13 0,13 1 16,-13 12-16,-1-13 0,14 0 15,-13-13 1,13 14-16,0-1 0</inkml:trace>
  <inkml:trace contextRef="#ctx0" brushRef="#br0" timeOffset="199257.91">22794 9247 0,'13'0'16,"-26"13"15,13 1-31,-13-1 16,-1 13-16,1-12 15,13-1-15,-13 13 31</inkml:trace>
  <inkml:trace contextRef="#ctx0" brushRef="#br0" timeOffset="199827.78">22820 9075 0,'27'0'0,"-14"0"0,0 0 15,14-13-15,-14 13 0,0 0 16,0 0-16,1 0 0,-1 0 16,13-13-16,-12 13 15,-1 0 1,0 0-16,0 0 16,0 0-1,-13 13-15,0 0 31,0 14-15,0-14-16,0 13 16,0-12-1,-13-1-15,13 0 16,0 0 0,-13 1 15,0-14-31,0 0 15,-1 0-15,1 0 16,-27 0 0,14 13-16,-1-13 15,14 0-15,0 13 16,0-13 0,0 0-16</inkml:trace>
  <inkml:trace contextRef="#ctx0" brushRef="#br0" timeOffset="200051.65">22953 9221 0,'13'0'15,"0"13"1,-13 0-16,-13 0 15,13 27 1,-13-27-16,13 1 0,0-1 16,0 0-16,0 0 15,0 0-15</inkml:trace>
  <inkml:trace contextRef="#ctx0" brushRef="#br0" timeOffset="200234.64">23058 9379 0,'-26'-13'16,"0"26"0,12-13-16,1 0 15,-13 0-15,12 0 0,-25 14 16,12-14-16,14 13 0</inkml:trace>
  <inkml:trace contextRef="#ctx0" brushRef="#br0" timeOffset="200727.28">23482 9340 0,'0'-13'16,"0"-1"-16,0-12 15,0 13-15,13-1 0,-13 1 0,0 0 16,0 0-16,13-27 0,-13 14 16,0 12-16,0 1 15,13 0-15,-13 0 0,0-14 0,0 14 16,0 0-16,-13 0 16,0 13-1</inkml:trace>
  <inkml:trace contextRef="#ctx0" brushRef="#br0" timeOffset="200933.87">23521 9022 0,'-13'14'16,"0"-1"-16,0-13 15,0 26-15,-1-13 16,-39 27-16,14-13 16,12-1-1,14-13-15,0 1 16</inkml:trace>
  <inkml:trace contextRef="#ctx0" brushRef="#br0" timeOffset="201136.98">23561 9009 0,'13'0'0,"14"27"16,-14-14 0,14 26-1,-14-25-15,0-1 16,13 13-16,-12-12 15,-1 12 1</inkml:trace>
  <inkml:trace contextRef="#ctx0" brushRef="#br0" timeOffset="203372.59">21008 8215 0,'-27'-26'16,"14"26"-16,-13 0 15,13 0-15,-1 0 0,1 13 16,0-13-16,13 13 0,-13 1 16,13 12-16,-14-13 0,14 14 15,0-1-15,0 1 0,0-1 0,0 1 16,0 12-16,0 1 0,0 0 0,0-14 15,0 14-15,0-1 0,-13 1 16,13-13-16,-13 12 0,-14 1 16,14-14-16,13-12 0,-13-1 15,0 0-15,0 0 0,13 1 0,-14-14 16,14 13-16,-13-13 0,40 0 47,-27 13-32,13 40 1,-13 0-16,0-13 0,0-1 16,0 94-1,0-94-15,0 27 0,0-39 16,0-1-16,0 14 0,0-14 0,0 1 16,0-14-16,13 14 0,-13-14 0,0 0 15,13 0-15,-13 0 0,13 1 16,1-1-16,-1-13 0,0 0 15</inkml:trace>
  <inkml:trace contextRef="#ctx0" brushRef="#br0" timeOffset="203917.25">18746 7964 0,'-14'13'0,"14"27"16,0-27-16,0 0 15,0 14-15,0-14 0,0 27 0,0-27 16,0 0-16,0 14 0,0-14 16,0 0-16,14 0 15,-14 1-15</inkml:trace>
  <inkml:trace contextRef="#ctx0" brushRef="#br0" timeOffset="204225.74">18719 7898 0,'13'-13'16,"-26"26"-16,40-26 0,-14 13 15,13 0 1,1 13-16,-14 0 0,0 0 0,1 1 15,-1-1-15,0 0 0,-13 0 16,0 0-16,0 54 16,-13-54-16,13 13 0,-13-13 0,-1 1 15,1 12-15,0-13 0,0 1 16,-1-1-16,14 0 0,-26 0 16,13-13-16,-1 14 0,1-28 15</inkml:trace>
  <inkml:trace contextRef="#ctx0" brushRef="#br0" timeOffset="204528.76">19090 7951 0,'13'-13'15,"-26"39"16,13-13-15,0 0-16,-14 1 0,14-1 0,-13 0 16,13 0-16,0 1 0,0-1 15,0 0-15,-13-13 16,13 13-16,13 0 16,-13 1-1,13-14-15,1 13 0,-1-13 16,13 0-1,-12-13 1,-1 13-16,0-14 16</inkml:trace>
  <inkml:trace contextRef="#ctx0" brushRef="#br0" timeOffset="204949.53">19037 8043 0,'-13'-13'0,"52"0"16,-26 13-16,14-13 16,-14 13-1,0 0-15,1-14 0,-14 1 32,0 0-17,0 0-15,0 0 0,-14 13 16,14-27-1,14 14 1,12 0 0,-13-1-1,1 14-15,-1 0 16,0 14-16,0-1 16,-13 0-16,0 0 15,0 1-15,0-1 16,13 0-16,-13 0 15,0 0-15,0 1 0,14-1 16,-14 0 0,26 0-1,-13-13 1,14-13 0,-14 13-16</inkml:trace>
  <inkml:trace contextRef="#ctx0" brushRef="#br0" timeOffset="205185.83">19539 7845 0,'14'-13'0,"-28"26"0,1 0 16,13 0 0,-13 1-16,13-1 15,0 0-15,-13 0 0,26 1 16,-13 12-1,13-26-15,0 0 16,1 13-16,-1-13 16,0 0-16,0 0 15,1 0-15,12 0 16,-13 0-16</inkml:trace>
  <inkml:trace contextRef="#ctx0" brushRef="#br0" timeOffset="206347.64">20082 7977 0,'13'0'15,"14"0"-15,-14 0 0,13 0 16,40 13-16,14 1 16,-27-14-16,-14 13 0,1-13 15,0 13-15,13-13 0,-27 0 16,14 0-16,-14 0 0,14 0 0,-14 0 16,1 13-16,-1-26 0,1 13 15,-1 0-15,-13 0 0</inkml:trace>
  <inkml:trace contextRef="#ctx0" brushRef="#br0" timeOffset="206624.83">20664 7818 0,'26'0'16,"-12"14"-16,-1-14 0,13 39 16,-12-25-1,12 12-15,-26 1 0,0-14 16,0 13-16,0-13 0,0 14 16,0-1-16,-13 1 0,-27 39 15,14-40-15,12 1 0,-12-1 0,0 1 16,-1-14-16,14 13 0,-27 1 15,27-27-15</inkml:trace>
  <inkml:trace contextRef="#ctx0" brushRef="#br0" timeOffset="211797.36">18891 8731 0,'-13'40'31,"13"-27"-31,-13 27 16,0-14-16,13-12 15,0-1-15,0 13 0,-14-13 0,14 1 16,0 12-16,-13-13 0,13 1 15,0-1-15,0 0 0,0 0 16,13-39 15,1 26-31,-14-13 16,13-1-16,26-12 16,-25 13-16,12 13 15,-13 0 1,1 0-16,-14 13 15,13-13-15,-13 13 0,13 0 16,-13 1-16,0-1 16,0 0-1,0 0-15</inkml:trace>
  <inkml:trace contextRef="#ctx0" brushRef="#br0" timeOffset="212027.42">19196 8758 0,'0'-14'0,"0"67"15,0-39-15,-14 12 0,14-13 16,0 1-16,-13-1 0,13 13 15,0-13-15,-13 1 0,13-1 0,-13 0 16,13 0-16,0 1 0,0-1 0,0 0 16</inkml:trace>
  <inkml:trace contextRef="#ctx0" brushRef="#br0" timeOffset="212351.17">19209 8705 0,'13'-13'15,"-26"26"-15,52-26 0,-25 26 16,-1-13-16,0 13 16,0 0-16,-13 0 0,14-13 15,-14 14-15,0-1 0,0 0 16,0 0-16,0 1 0,-14 12 31,1-13-31,0-13 0,0 14 0,-1-14 16</inkml:trace>
  <inkml:trace contextRef="#ctx0" brushRef="#br0" timeOffset="213129.53">18838 8599 0,'106'-53'0,"-53"40"16,-26 13-16,12-13 0,1 13 0,0 0 15,92 13 1,-92-13-16,-1 0 0,1 13 16,0 0-16,-1 0 0,1 1 0,53 52 15,-67-53 1,1 14-16,-1-1 0,-13 0 16,0 1-16,1-14 0,-1 14 0,-13-14 15,0 13-15,13 1 0,-13-14 0,-13 13 16,13 1-16,-13-1 0,13-12 0,-27 39 15,1-27-15,13 0 16,-1-12-16,1-1 0,-13 0 16,-1 0-16,14 1 0,-14-1 0,14 0 15,-13 0-15,-1-13 0,1 14 16,-1-14-16,1 13 0,0-13 0,-14 0 16,13 0-16,1 0 0,-14 0 0,14 0 15,-14 0-15,14 0 16,-14 0-16,13-13 0,1 13 0,0-14 0,-1 14 15,-13-13-15,14 0 0,-1 0 0,-12-14 16,12 14-16,14-14 0,-13 1 16,12 0-16,1-1 0,13 1 15,-13 12-15,13-12 0,0-1 0,0 1 16,0 0-16,0-1 0,13-26 16,0 27-16,-13 12 0,14 1 15,-1-13-15,-13 13 0,13-1 0,0 1 16,1 0-16,-1 13 15,13-27-15,-13 27 0,1-13 0</inkml:trace>
  <inkml:trace contextRef="#ctx0" brushRef="#br0" timeOffset="214312.28">18997 9631 0,'0'40'16,"-13"-27"-16,13 0 0,0 0 15,-13 0-15,13 1 0,-14-1 0,14 0 0,-13 0 16,13 14 0,-13-14-16,13 0 0,-13 0 0,13 1 15,0-1 1,13 0-16,0-13 15,0 0-15,1 0 16,-1 0-16,0 0 0,0 0 0,1 0 16,-1 0-16,0-13 0,0 13 15,14 0-15,-1-13 16,1-1-16,-14 14 0</inkml:trace>
  <inkml:trace contextRef="#ctx0" brushRef="#br0" timeOffset="214614.53">19222 9803 0,'13'-27'16,"0"14"-16,-13 0 15,0 0 1,14 13-16,-14-14 15,-14 28 17,1-1-17,26 0 1,-13 0-16,14 1 16,-14-1-16,13-13 15,-13 13-15,13-13 16,0 0-16,1 0 15</inkml:trace>
  <inkml:trace contextRef="#ctx0" brushRef="#br0" timeOffset="-214563.92">19420 9737 0,'0'26'31,"0"-13"1,-13 1-32,13-1 15,0 0-15,27-26 47,-27 0-47,13 13 0,0-14 16,0 14-1,1 0-15,-1 0 16,0 0 0,0 14-16,0-14 15,1 13-15,-1-13 16</inkml:trace>
  <inkml:trace contextRef="#ctx0" brushRef="#br0" timeOffset="-214272.77">19725 9684 0,'-27'-13'0,"14"13"15,0 13 1,66-13-16,-106 13 0,40 0 16,13 0-16,-14-13 0,14 14 0,0-1 15,0 0-15,0 0 16,14 1-16,-1-14 0,-13 13 15,13-13-15,0 0 0,0-13 16,1 13-16,-14-14 16,0 1-1,0 0 1,-14 0 0,-12 13-1,13 0 1</inkml:trace>
  <inkml:trace contextRef="#ctx0" brushRef="#br0" timeOffset="-213988.61">19778 9671 0,'13'0'16,"0"0"-1,0 13-15,1 13 31,-14-13-31,0 1 0,13-14 16,-13 13-16,0 0 0,13-13 16,0 0-1,14 0 1,-27-13 0,13 13-16,-13-13 15,13 13-15,-13-14 0,13 14 16,-13-13-16,14 13 15,-14-13-15,13 13 16</inkml:trace>
  <inkml:trace contextRef="#ctx0" brushRef="#br0" timeOffset="-213711.06">20082 9618 0,'0'-14'0,"-13"14"31,-14 0-31,27 14 16,-13-14-16,13 13 0,53-26 0,-119 39 16,66-13-1,0 1-15,0-1 16,13-13 0,0 0-1,0 0-15,1 13 16,-1-13-1,-13 13 1,13-13-16,0 13 16</inkml:trace>
  <inkml:trace contextRef="#ctx0" brushRef="#br0" timeOffset="-212571.32">19209 10226 0,'-13'40'0,"13"-27"16,-14 0-16,14 1 0,0 12 16,-13-13-16,13 14 15,-13-14-15,13 0 0,-13 0 0,13 1 16,-14 12-16,14-13 0,-13 1 16,13-1-16,-13 0 15,13-39 16,13-1-31,-13 14 16,27-40-16,-1 0 16,1-13-16,-14 39 0,0 14 15,13-13-15,-26 12 16,14 1-16,12 0 0,-13 13 16,14 13-1,-14-13-15,-13 13 16,13 1-16,1 12 0,-1 1 15,-13-14-15,0 0 0,0 0 16,13 1-16,-13 12 16,0 0-16,0-12 15,0-1-15</inkml:trace>
  <inkml:trace contextRef="#ctx0" brushRef="#br0" timeOffset="-212196.13">19235 10358 0,'13'-13'15,"1"0"1,-1 13-16,27-13 16,-14 13-16,-13-13 15,14 13-15,12-14 0,1-12 16,-27 13-16,1-1 15,-1 14-15,13-26 0,1 13 16,-27-1 0,-318 186-1,609-330 17,-304 171-32,13 0 15,0 0-15,-13 1 0,13 12 16,0-13-1,13 1-15,-13-1 0,13 0 16,0-13-16,1 13 16,-1-13-16,0 0 15,0 0-15,1 0 0,-1 0 16</inkml:trace>
  <inkml:trace contextRef="#ctx0" brushRef="#br0" timeOffset="-211939.87">19791 10266 0,'0'-40'32,"-13"67"-1,13-14-31,0 0 15,0 0 1,0 1-16,13-1 16,0-13-1,-13 13-15,13-13 16</inkml:trace>
  <inkml:trace contextRef="#ctx0" brushRef="#br0" timeOffset="-211656.18">19989 10173 0,'13'-13'15,"1"39"17,-14 1-17,-14-14 1,-197 27-16,422-53 15,-197-1 17,-1 1-17,0-13-15,0 12 0,1 14 16,-1-13-16,13 0 16,-12 0-16,12 0 15</inkml:trace>
  <inkml:trace contextRef="#ctx0" brushRef="#br0" timeOffset="-207790.39">19831 10239 0,'13'-53'32,"-13"40"-17,0 0-15,-13 0 16,-1 13 0,1 0-16,0 13 0,0 0 15,-1 0-15,1 1 16,0-1-16,13 0 0,-13 0 15,13 14-15,0-14 16,0 0-16,0 1 0,13-1 0,-13 0 16,13-13-16,0 13 0,1-13 15,52 27 1,-53-27-16,13 0 0,1 0 16,-1 0-16</inkml:trace>
  <inkml:trace contextRef="#ctx0" brushRef="#br0" timeOffset="-207352.16">20042 10081 0,'27'26'16,"-27"-13"-16,13 1 16,-13-1-16,0 0 0,0 13 0,0-12 15,0 12-15,-13 14 16,13-27-16,-14 14 0,1-14 15,0 0 1,0 0-16,26-39 31,0 13-15,14-27-16,52-40 16,-26 28-16,0-1 15,-13 39 1,-14-12-16,27-1 0,-27 14 15,14 0-15,-13 0 0,-14 13 16,0 0-16</inkml:trace>
  <inkml:trace contextRef="#ctx0" brushRef="#br0" timeOffset="-205201.2">19222 10835 0,'-13'39'31,"13"-25"-31,-13-1 16,13 13-16,0-12 0,-14-1 0,14 13 15,0-13-15,-13 1 16,13 12-16,-13-13 0,13 1 0,0-1 0,-13-13 16,13 13-16,0 0 15,0 0-15,13-39 31,-13 13-15,13 0-16,0-40 0,1 26 16,-1 1-16,-13-1 0,26-12 15,-13-1-15,1 13 16,-14 14 0,13 13-16,0 0 15,-13 13-15,13 1 16,1-1-16,-1 27 15,-13-27-15,13 13 0,-13-12 16,0-1-16,13 0 0,-13 0 16,0 14-16,14-14 15,-14 0-15</inkml:trace>
  <inkml:trace contextRef="#ctx0" brushRef="#br0" timeOffset="-205006.22">19209 11007 0,'0'-14'15,"26"14"1,-13-13 0,27 13-16,-13 0 15,-1-13-15,-13 13 0,1 0 0,12-13 16,0 13-16</inkml:trace>
  <inkml:trace contextRef="#ctx0" brushRef="#br0" timeOffset="-204734.04">19632 10821 0,'-93'27'15,"67"13"16,26-27-31,0 0 16,0 14-16,0-14 0,0 0 16,13-13-16,-13 13 15,0 14-15,0-14 0,0 0 16,-13 0-16,13 1 16,-13-1-16,0-13 15,13 13-15,-14-13 0,1 13 16,0-13-16,13 13 0,-13-13 15,-1 0-15,1 0 16</inkml:trace>
  <inkml:trace contextRef="#ctx0" brushRef="#br0" timeOffset="-204410.46">19619 10888 0,'-13'39'15,"13"-25"-15,0 12 16,-384 27-16,768-93 0,-384 53 0,13 14 16,-423-40-16,820 39 15,-397-26-15,0 0 0,1 0 16,-1 0-16,0 0 0,0 0 15,0-13-15,1 13 16,-1-13-16,0-1 0,-13 1 16,13 13-16,-13-13 15,14 0-15,-14 0 16,-146-107 0</inkml:trace>
  <inkml:trace contextRef="#ctx0" brushRef="#br0" timeOffset="-204136.78">19883 10835 0,'-13'26'16,"13"-13"-16,0 67 31,13-67-31,-13 0 16,0 0-1,0 1-15,-13-1 0,13 0 16,-13 0-16,0-13 16,13 14-16,-13-1 15,-1-13-15</inkml:trace>
  <inkml:trace contextRef="#ctx0" brushRef="#br0" timeOffset="-197906.06">19368 11430 0,'-14'26'31,"14"1"-15,0-14-1,0 0 1,0 14-16,0-14 16,0 0-1,14-26 17,-14 0-32,13 0 15,-13-1 1,13 14-16,0-13 15,0 13 17,1 0-32,-14 13 0,13 1 15,-13-1 1,0 0 0,13-13-1,0-13 16,1 0-15,-1 13 0,0 0-1,0 0-15,0 0 16,1 13-16,-1-13 16,0 13-1</inkml:trace>
  <inkml:trace contextRef="#ctx0" brushRef="#br0" timeOffset="-197740.59">19725 11470 0,'13'0'0,"-13"13"15,0 13 1,0-12-16,0-1 0,0 0 15</inkml:trace>
  <inkml:trace contextRef="#ctx0" brushRef="#br0" timeOffset="-197570.07">19791 11390 0,'0'-13'0,"0"0"16,-13 13-16</inkml:trace>
  <inkml:trace contextRef="#ctx0" brushRef="#br0" timeOffset="-196367.96">19368 11827 0,'-27'26'16,"14"-26"-16,0 14 15,-1-1-15,14 0 16,0 0 0,14 0-16,-1 14 15,0-27-15,0 26 16,1-26-16,-14 14 15,13-1-15,-13 0 16,0 0-16,0 1 16,-13-1-16,-1 0 15,1-13-15,0 13 16,0 0-16,-1-13 0,1 0 16,0 0-16,0 0 15,-1 14-15,1-14 0,0-14 0,0 14 0,0 0 31</inkml:trace>
  <inkml:trace contextRef="#ctx0" brushRef="#br0" timeOffset="-195810.23">19566 11919 0,'-27'0'16,"14"0"-16,13 14 15,-13-1 1,0 0-16,13 0 0,-13 1 0,13-1 15,-14 0-15,14 0 16,0 1-16,14-1 16,-1-13-1,0-13 1,13-1 0,-26 1-16,14 0 15,-1 13 1,0 0 15,0 13-15,-13 0-16,14 1 15,-1-14-15</inkml:trace>
  <inkml:trace contextRef="#ctx0" brushRef="#br0" timeOffset="-195279.25">19751 11893 0,'0'26'16,"0"1"15,0-14-31,0 0 16,0 1-1,13-14 32,1-14-31,-1 14-16,0 0 15,0 0 1,1 0-16,-1 0 31,-13 14-15,13-14 15,0-14-15,0 14-1,1 0 1,-1 0 0,0 0-1,0 0-15</inkml:trace>
  <inkml:trace contextRef="#ctx0" brushRef="#br0" timeOffset="-194552.9">20135 11840 0,'-13'0'0,"-14"13"15,14 1 1,13-1-16,0 0 16,0 0-1,0 0-15,0 1 0,13-14 16,-13 13-16,13 0 0,1 0 16,-1 1-16,0-1 15,-13 0 1,0 0 15,-13 1-31,0-1 16,-1-13-1,1 13-15,0-13 16</inkml:trace>
  <inkml:trace contextRef="#ctx0" brushRef="#br0" timeOffset="-194244.88">20241 11880 0,'0'26'15,"0"1"1,13-14-1,-13 0-15,13 0 0,0 1 16,1-14 0,-14 13-16,26-13 15,-13-13-15,0 13 16,1-14 0,-14-12-1,0 13 16,0-1-31</inkml:trace>
  <inkml:trace contextRef="#ctx0" brushRef="#br0" timeOffset="-193940.52">20452 11893 0,'0'0'0,"0"13"15,0 0 1,0 1-16,0-1 16,0 0-1,0 0 1,14-13 0,12-13-1,-13 13-15,0-13 16,1 13-1,12 0 1,-13 0-16,1 0 16,-1 13-1,0-13 1,0 0-16</inkml:trace>
  <inkml:trace contextRef="#ctx0" brushRef="#br0" timeOffset="-193598.52">20730 11853 0,'-13'0'16,"0"14"0,13-1-1,0 0-15,0 0 16,0 0-16,0 1 0,0-1 15,-14 0-15,1 14 16,13-14 0,-13 0-1,0-13-15,13 13 0,-13-13 16,13-13 15,26-13-15,-13 12-16,0 1 0,1 13 15,-1-13-15,0 0 16,0 13-16,1-14 0,-1 1 16</inkml:trace>
  <inkml:trace contextRef="#ctx0" brushRef="#br0" timeOffset="-192917.55">19606 12634 0,'-27'0'0,"14"0"0,0-13 16,-1 26 0,1-13-16,13 13 15,0 0 1,0 1-16,13-14 0,1 26 16,-1-13-16,0 0 0,0 1 15,1-14-15,-1 13 0,-13 0 16,13 0-16,0 1 0,-13-1 15,14 0-15,-28-13 16,14 13-16,-13 1 16,0-1-16,0-13 0,13 13 15,-14-13-15,-12 13 16,13-13-16,-1 0 16</inkml:trace>
  <inkml:trace contextRef="#ctx0" brushRef="#br0" timeOffset="-192613.6">19738 12700 0,'-13'26'31,"13"-12"-31,13-14 0,-13 13 0,0 0 16,13-13-16,-13 13 0,13 1 15,1-1-15,-1-13 16,0 0-16,0 0 0,1 0 16,-1-13-16,0 13 0,0-14 0,0 14 15,-13-13-15,14 0 16,-14 0-16,0-14 16,-14 14-16,1 13 15,13-13-15,-13 13 0,0 0 16,0 0-16,-1 0 15</inkml:trace>
  <inkml:trace contextRef="#ctx0" brushRef="#br0" timeOffset="-192191.14">19923 12660 0,'13'0'16,"-13"14"-16,14-1 16,-14 26-1,0-25 1,0-1 0,13-13-16,0-13 46,-13-14-30,13 27 0,-13-13-1,13 13 1,1 13-16,-1-13 31,0 0-31,0 0 16,1-13-1,-1 0 1,-13 0 0</inkml:trace>
  <inkml:trace contextRef="#ctx0" brushRef="#br0" timeOffset="-191870.27">20214 12554 0,'-13'-13'16,"13"26"0,0 1-16,13-14 15,14 0 1,-14 0-16,0 0 0,0 0 15,1 0-15,-1 0 0,-13-14 0,13 14 16,0 0-16,0 0 16,-13 14-1,0-1 1,0 0 0,-13 0-16,13 1 0,0-1 0,-13 0 15,13 0-15,-13 1 0,0-1 0,13 0 16,-14 0-16,14 0 0,0 1 15,-13-1-15,13 0 0</inkml:trace>
  <inkml:trace contextRef="#ctx0" brushRef="#br0" timeOffset="-183630.02">21815 7977 0,'-79'-13'16,"52"13"-16,-13 0 15,27 0-15,-40 0 16,40 0-16,-13 0 0,-1 0 15,14 13-15,-14-13 0,14 0 0,-13 0 16,12 13-16,-12-13 0,13 0 16,0 14-16,-14-14 0,14 13 15,0-13-15,-1 13 0,1-13 0,0 13 16,0-13-16,-1 14 0,1-1 16,0 0-16,0 0 0,0 0 0,-1 1 15,1 12-15,-13 1 0,12-1 16,1 1-16,0 12 0,0-12 0,0-1 15,-1 14-15,14-14 0,-13 1 0,-13 39 16,26-40-16,-14 14 16,1-14-16,0 14 0,13 0 15,-13-14-15,13 14 0,-14 0 0,1-1 16,13 14-16,0-13 0,-13 0 0,13-1 16,-13 1-16,0 0 0,13-1 15,-14 1-15,14 0 0,-13 0 0,13-1 16,-13-12-16,13-1 0,0 1 15,0-1-15,0 0 0,0 1 0,0-1 16,0 1-16,0-1 0,13-12 0,-13 12 16,13 0-16,-13 1 15,14-14-15,-14 0 0,13 1 0,0-1 16,0 0-16,14-13 16,-14 13-16,0-13 15,0 14-15,1-14 0,12 0 0,-13 13 0,14-13 16,-14 13-16,13-13 0,1 13 15,-1-13-15,14 13 0,39 1 16,-26-1-16,-13-13 0,13 13 16,0 0-16,0-13 0,0 0 15,0 14-15,0-14 0,-14 0 0,1 0 16,0 13-16,-14-13 0,1 0 0,-14 0 16,13 0-16,-13 0 0,14 0 15,-14 0-15,0 0 0,1 0 0,-1 13 16,0-13-16,0 0 15</inkml:trace>
  <inkml:trace contextRef="#ctx0" brushRef="#br0" timeOffset="-174048.17">22106 11337 0,'13'-13'16,"27"13"-1,-27 0-15,0 0 16,14 0-16,12 0 16,-12 13-16,-14-26 0,0 13 15,14 0-15,-14 0 0,0 0 16,1 0-16,12-13 16</inkml:trace>
  <inkml:trace contextRef="#ctx0" brushRef="#br0" timeOffset="-173810.08">22397 11126 0,'40'0'0,"-14"13"16,-13-13-16,1 13 15,-1 0-15,0 1 0,0-1 0,0 13 16,1-12-16,-1-1 0,-13 13 15,0-13-15,0 14 0,-13-14 0,-14 40 16,1-26-16,-1-1 16,14 0-16,-13 1 0,-1-14 0,1 14 15,-1-14-15,14-13 0,0 13 0,0 0 16</inkml:trace>
  <inkml:trace contextRef="#ctx0" brushRef="#br0" timeOffset="-172227.92">23058 11099 0,'-52'13'0,"52"1"0,-14-1 15,1 0 1,13 0-16,13 14 15,-13-14-15,14 0 16,12 27-16,-26-27 16,13-13-16,-13 13 0,13 1 0,-13-1 15,0 13 1,0-12-16,-13-1 16,13 0-16,-26 0 15,13 1 1,-1-14-16,1 13 0,-13-13 15,-1 0 1</inkml:trace>
  <inkml:trace contextRef="#ctx0" brushRef="#br0" timeOffset="-172008.79">23032 11046 0,'0'0'0,"13"14"32,0 25-17,-13-26-15,0 14 0,-13 52 16,13-52-16,0-1 16,-13 1-16,13-1 0,-13 1 0,13-14 15,-13 13-15,13 14 16,-14-27-16</inkml:trace>
  <inkml:trace contextRef="#ctx0" brushRef="#br0" timeOffset="-171774.2">23283 11152 0,'14'0'0,"-28"27"32,14-14-32,0 0 0,-13 40 15,0-40-15,13 14 0,-13-14 16,-1 40 0,1-40-16,13 0 0,0 1 15,-13-14-15,13 13 0</inkml:trace>
  <inkml:trace contextRef="#ctx0" brushRef="#br0" timeOffset="-171458.11">23402 11192 0,'0'-13'0,"0"26"0,-26-13 15,26 26 1,-13-12-16,13-1 0,0 0 0,0 0 15,0 0-15,0 1 0,0-1 0,0 0 16,0 0-16,26 14 16,-13-27-1,1 13-15,-1-13 0,0 0 0,-13-13 0,13 13 16,14-13 0,-27-1-16,13 14 15,-13-13 1,-13 0-16,0 0 15,-1-1-15,1 14 16,0 0 0,0 0-16,-1 0 0</inkml:trace>
  <inkml:trace contextRef="#ctx0" brushRef="#br0" timeOffset="-171165.09">23561 11179 0,'0'13'0,"0"0"0,-13 27 31,13-27-31,0 0 0,13-13 0,-13 13 0,0 1 16,0-1-16,13 0 0,14 0 16,-14-13-16,0 0 15,1 0-15,-1 0 0,0 0 16,0-13-16,0 0 15,-13 0-15,0-14 16,-13 14 0,0 0-16,0 13 0,-14-13 15,14-1 1,0 14-16,0 14 16</inkml:trace>
  <inkml:trace contextRef="#ctx0" brushRef="#br0" timeOffset="-170696.75">23865 11298 0,'0'-27'16,"14"27"-16,-14-13 0,0 0 0,13 13 15,0-40 1,0 27-16,1 13 15,-1 0 17,-13 13-17,0 0-15,13-13 0,-13 14 16,13-14-16,0 13 16,1-13-1,-1 0-15,0-13 16,-13 26-16,13-13 0,1 0 15,-14 26 1,13-26-16,-13 27 16,13-14-1</inkml:trace>
  <inkml:trace contextRef="#ctx0" brushRef="#br0" timeOffset="-170135.09">23482 11536 0,'0'13'0,"53"-13"31,-27 0-31,1 0 15,26 0-15,-14-13 0,14 13 0,0-13 16,0 13-16,-13-14 0,13 1 16,13 0-16,-27 0 0,28-1 0,78-25 15,-92 12 1,26-12-16,-26-1 16,-13 13-16,66-92 15,-80 80-15,-13-1 0,1 0 16,12-39-16,-26 26 15,-13 13-15,0 1 0,-80-94 16,-13 54-16,40 39 16,0 14-16,0-1 0,-14 14 15,1-13-15,0 26 0,-14-13 0,14 13 16,-14 0-16,1 0 0,12 13 0,-12 13 16,-28 1-16,28-1 0,-1 14 15,1-1-15,-1 14 0,40-13 0,-79 53 16,79-54-16,0 14 0,-26 40 15,52-40 1,14 0-16,0-14 0,13 1 0,13 0 0,27 66 16,-1-67-16,1 1 15,26 0-15,0-1 0,0-12 16,1-1-16,12 1 0,0-14 0,1 0 16,-14 0-16,79 1 15,-92-14-15,0 0 0,0 0 0,-13 13 16,0-13-16,-14 0 0,0 0 0</inkml:trace>
  <inkml:trace contextRef="#ctx0" brushRef="#br0" timeOffset="-168086.98">23508 11787 0,'-13'27'0,"-13"12"16,26-25-16,-14 12 15,-25 40 1,25-39-16,1-1 0,-27 40 15,27-53-15,0 1 0,0-1 16,0 27 0,-1-40-16,14 13 0,-13-13 0</inkml:trace>
  <inkml:trace contextRef="#ctx0" brushRef="#br0" timeOffset="-167739.76">23429 11800 0,'-66'40'0,"52"-40"0,14 13 0,-13 1 15,0-1 1,0 0-16,0 0 0,39-13 31,0-13-15,1 13-16,-1-13 15,1 13-15,-14 0 0,0 0 16,53 0-16,-52 0 16,-1 13-16,0-13 0,0 13 15,1-13-15,-14 13 0,13-13 16,0 14-16,0-1 0,1-13 15,-14 13-15,13-13 0,0 13 0</inkml:trace>
  <inkml:trace contextRef="#ctx0" brushRef="#br0" timeOffset="-166214.77">22344 12700 0,'40'0'16,"-27"0"-16,53-13 15,-26 13 1,-14 0-16,1 0 0,-1-13 15,-13 13-15,14 0 16,-14 0-16,0-14 0,1 14 16</inkml:trace>
  <inkml:trace contextRef="#ctx0" brushRef="#br0" timeOffset="-165986.99">22648 12502 0,'14'-14'16,"-1"28"0,0-1-16,0-13 0,-13 13 0,13 0 15,14 27 1,-27-14-16,0-12 0,0 12 0,0-13 0,0 14 16,-27 26-1,14-14-15,0-12 0,-53 39 16,53-40-16,-1-12 0,1-1 15,0 0-15,0-13 0,-1 13 16,1-13-16</inkml:trace>
  <inkml:trace contextRef="#ctx0" brushRef="#br0" timeOffset="-164644.9">23416 12488 0,'-14'27'0,"-12"-1"16,13-13 0,-27 27-1,27-27-15,0 14 0,-1-14 0,1-13 16,0 27-16,0-14 15,13 0-15,-14 0 0,14 0 16,0 1 0,0-1-16,14-13 0,-1 0 15,13 13 1,-12-13-16,25-13 16,-26 13-16,1 0 0,-1 0 15,0 0-15,0-13 16</inkml:trace>
  <inkml:trace contextRef="#ctx0" brushRef="#br0" timeOffset="-164453.99">23402 12607 0,'-26'106'0,"26"-93"0,0 14 15,0-14-15,0 27 16,0-27-16,0 14 0,0-14 0,0 0 16,0 0-16,0 0 0</inkml:trace>
  <inkml:trace contextRef="#ctx0" brushRef="#br0" timeOffset="-163932.96">23601 12607 0,'0'-13'0,"0"53"46,13-27-30,-13 0-16,13 1 16,1-1-16,-1-13 15,-13 13 1,13-13-16,0 0 16,0 0-1,1 0 1,-1 0-1,0 0 1,-13-13 0,13 26 15,1-13-15,-1 13-1,0-13-15,0 0 31,0-13-31,1 0 16,-1 0 15,0-1-15</inkml:trace>
  <inkml:trace contextRef="#ctx0" brushRef="#br0" timeOffset="-163206.86">23958 12700 0,'26'-13'0,"-12"0"0,-14-1 16,13 14-1,-13-13 1,-13 26 15,13 1-15,0-1-16,0 0 16,0 0-1,13 0-15,0-13 16,0 0-16,1 0 0,12-13 15,-13 0 1,1 13-16,-1 0 0,-13-13 16,13 13-16,0 0 15,0 13 1,-13 0 0,14 0-16,-1 1 15,13-14 1,-12-14-1,-1 14-15,-13-13 0,26 0 0,-12 0 16,25-40 0,-26 26-16,1 14 15,-14-13-15,13-1 0,0 14 0,14-40 16,-27 40-16,13 0 16,-13-1-16,13 14 15,0-13 1,14 40-1,-27-14-15,-13 13 16,-1-26-16,14 14 16,-13-1-16,0 0 0,13 0 0,-27 14 15,14-27 1,13 13-16,-13 13 16,13-12-1,26-14 1,-12 0-16,-1 13 0,27-26 15,-27 13 1,0 0-16,0 0 0,0 0 0,1 0 0,-1 0 16,0 0-1</inkml:trace>
  <inkml:trace contextRef="#ctx0" brushRef="#br0" timeOffset="-162378.15">23680 13044 0,'185'0'16,"-158"0"-16,158-26 0,-132 12 15,0 1-15,13-13 0,-26 12 0,13 1 16,0-13-16,0 12 16,-14-12-16,1-14 0,79-52 15,-79 65-15,52-92 16,-65 79-16,-1-12 0,-13-1 15,14 0-15,-27 13 0,0 0 0,0 1 16,-13-1-16,-14 0 0,-92-66 16,53 80-1,0 0-15,0-1 0,-14 14 0,14-14 0,-13 14 16,-186 0 0,186 13-16,-93 26 15,79-26-15,14 27 0,-40-1 16,-172 67-16,225-53 15,-14-1-15,14 1 0,-40 53 16,53-54-16,14 1 0,-1 0 16,13 13-16,14-14 0,0-12 0,13 12 15,0-12-15,40 65 16,-1-52-16,14-13 0,0-1 16,159 27-1,-119-53-15,-14 13 0,13-13 0,94 13 16,-107-13-16,-13 0 15,-13 0-15</inkml:trace>
  <inkml:trace contextRef="#ctx0" brushRef="#br0" timeOffset="-161178.7">18415 8943 0,'-93'-53'0,"80"66"0,13 0 15,-13 1-15,0 12 0,-1 93 16,14 0 0,0-53-16,0 1 0,-13 12 0,13-13 15,-13 0-15,0 14 0,-53 118 16,13-79 0,40-66-16,-14-27 0,14 14 0,-14-27 15,14 14-15,-27-1 16,27-52-1,40-40 1,-1 26-16,40-13 16,-52 40-16,12 13 15,-13 13-15,14 0 0,-1 27 0,-13 13 16,1 0-16,-1 26 0,-13 1 16,0 12-16,0 27 0,-13 0 15,13 14-15,-14-14 0,14 0 0,-13 13 0,13-26 16,-13 13-16,13-26 0,0-14 15,13 0-15,14 133 16,-14-146-16,13-26 0,1 13 16,-1-14-16,67 41 15,-67-67-15,27 0 0,-13 0 16,0-13-16,12 14 0,1-14 0</inkml:trace>
  <inkml:trace contextRef="#ctx0" brushRef="#br0" timeOffset="-159798.89">21934 13282 0,'-13'53'31,"13"-40"-31,0 14 0,0-1 16,-13 1-16,13-1 0,0 14 0,-14-14 15,14 1-15,0-1 0,0-13 0,0 40 16,0-40-16,0 1 16,14-1-16</inkml:trace>
  <inkml:trace contextRef="#ctx0" brushRef="#br0" timeOffset="-159409.64">22172 13348 0,'40'0'16,"-80"0"-16,93 0 0,-40 0 0,-13 13 15,13 1-15,-13-1 16,0 0-16,0 0 0,-13 14 16,13-14-16,-13 14 0,0-1 0,13-13 15,-13 14-15,-1-14 0,14 0 16,-13 0-16,13 1 0,-13-1 0,13 0 15,-13 0 1,26 0-16,0-13 16,-13 14-16,27-14 15,12-14 1,14 1 0,-40 13-16,14 0 0,-14-13 0,0 0 0,1 13 15</inkml:trace>
  <inkml:trace contextRef="#ctx0" brushRef="#br0" timeOffset="-159016.06">22556 13414 0,'-14'14'31,"1"-1"-31,13 13 16,0 1-1,13-14-15,1 0 16,-1-13 0,0 13-1,0-13 1,1 14 0,12-14-1,1 0 16,-14-14-31,0 1 16,-13 0-16,13 13 16,-13-13-16,13 0 0,-13-1 0,0 1 31,14 0-31,-1 26 31,0 0-15</inkml:trace>
  <inkml:trace contextRef="#ctx0" brushRef="#br0" timeOffset="-158341.83">22939 13454 0,'0'-13'0,"0"0"0,14 13 16,-41 13 30,27 0-30,0 0-16,0 1 16,0-1-1,13 0-15,1-13 16,-1-13 0,0 13-1,0-13 1,1 13-16,-1-14 15,13 1 1,-26 0-16,13 13 0,-13-13 16,14 13-16,-1-14 15,-13 1-15,13 0 16,0 0 0,-13 39 15,0-13-16,14-13 1,-1 0 0,0-13-16,14 0 15,-14 13-15,-13-13 16,13 13-16,0-14 0,0 1 16,1 13-1,-1-13-15,-13 26 31,-27 40-15,14-40-16,0 1 16,0-1-16,-14 13 15,1 1 1,13-14 0,39-13 15,-13 0-31,1 0 0,12 0 15,-13 0-15,80-26 16,-80 26-16,13 0 0,-12-14 16,-1 14-16</inkml:trace>
  <inkml:trace contextRef="#ctx0" brushRef="#br0" timeOffset="-157300.09">23310 13798 0,'39'-26'15,"-25"26"-15,-1 0 16,0 0-16,0 0 0,-13 13 0,14 0 15,-14 0-15,0 0 16,0 1-16,-14-1 16,14 0-16,-13 0 0,13 1 0,-13 12 0,0-13 15,13 1-15,0-1 16,-14 0-16,14 0 0,0 0 0,0 1 16,0-1-16,14-13 15,12-13 1,1-1-16,-14 1 0,0 0 15,27-13-15,-27 12 0,0 14 16,0-13-16,14 0 16,-14 13-16,0 0 15,1 13 1,-1 0 0,0-13-16,-13 14 15,13-14-15,1 0 31,-14-14-15,0 1-16,0 0 16,0 0 15</inkml:trace>
  <inkml:trace contextRef="#ctx0" brushRef="#br0" timeOffset="-157004.98">23693 13864 0,'27'0'31,"-14"13"-15,0 1 0,1-14-1,-1 13-15,0-13 16,0 0-1,0 0 1,1 0-16,-1 0 0,0 0 16,-13-13-16,13 13 0,1 0 15,12-14 1,-13 14 0,1 0-16,-14-13 15</inkml:trace>
  <inkml:trace contextRef="#ctx0" brushRef="#br0" timeOffset="-155225.27">19103 10755 0,'-13'-13'47,"-1"13"-32,1 0-15,-13 13 16,-1-13-16,14 0 0,0 14 0,-14-1 16,14-13-16,0 13 0,-14-13 15,14 13-15,0 0 0,-13 14 16,12-14-16,1 0 0,13 1 15,0-1-15,0 0 0,0 40 16,13-40 0,-13 14-16,14 12 0,-1 1 0,-13 0 15,13-1-15,0 1 0,-13 0 16,0-1-16,0 14 0,0-13 0,0 13 16,0-13-16,0 13 0,0 0 0,-13-1 15,0-12-15,0 0 0,-1 0 16,1-1-16,0 1 0,0-14 0,-14 1 15,14-14-15,0 13 0,-1-26 16,1 14-16,0-1 0,0 0 16,39-26 31,-13 13-47,1 26 15,12-12 1,-13 12-16,-13-13 0,14 27 0,-1-14 15,0 14-15,-13 79 16,0 27 0,-13-93-16,13 0 0,-13-1 0,13 1 15,-14-13-15,14 0 0,0-1 0,0 1 16,0-13-16,0-14 0,0 13 16,14 14-16,-14-27 0,13 0 15,0 1-15,0-1 0,1-13 0,-1 13 16,0-13-16,0 0 15,0 0-15,1 13 0,-1-26 0,0 13 16,0 0-16,1 0 0,-1-13 0</inkml:trace>
  <inkml:trace contextRef="#ctx0" brushRef="#br0" timeOffset="-154484.93">18812 12396 0,'-93'13'15,"67"-13"-15,-14 13 0,0 0 0,1 1 16,-14 12-16,0-13 0,0 14 0,0-14 16,0 0-16,0 14 0,0-14 15,0 13-15,14-12 0,-1-1 16,0 0-16,-13 0 0,27 1 0,-14-1 16,14 0-16,-1 0 0,1-13 0,13 0 15,-1 13-15,-12-13 0,13 14 16,0-14-16,-1 13 15,1-13-15</inkml:trace>
  <inkml:trace contextRef="#ctx0" brushRef="#br0" timeOffset="-154053.74">18137 12528 0,'0'-13'0,"-13"0"31,-13 13-15,12 13-16,1-13 0,0 0 15,0 0-15,-14 13 16,14 0-16,-14 0 0,14-13 0,0 14 16,-13-1-16,12 0 0,-12 14 15,13-14-15,-1 0 16,14 0-16,0 1 0,0-1 15,0 0-15,14-13 0,-14 13 0,13 0 16,0 1-16,0-14 0,14 13 16,-1 0-16,-13 0 0,1-13 0,12 0 15,-13 14-15,1-14 0,-1 0 0,0 13 16,0-13-16</inkml:trace>
  <inkml:trace contextRef="#ctx0" brushRef="#br0" timeOffset="-153631.75">16986 12674 0,'-79'119'0,"66"-93"0,-1 14 16,1-14-16,-26 80 16,25-66-16,1-14 0,13 1 0,-13-14 15,13 13-15,-13-12 0,13-1 16,0 0-16,-14 0 0</inkml:trace>
  <inkml:trace contextRef="#ctx0" brushRef="#br0" timeOffset="-153436.18">16669 12885 0,'26'0'15,"-13"0"-15,-52 0 0,92 13 16,-40-13-16,13 14 0,1-1 0,-1 0 15,14 0-15,0 1 0,-1-1 0,-12 0 16,12 0-16,1 1 0,-13-1 16,-1 0-16,14 0 0,-27 0 15,0-13-15,0 14 0,1-14 0</inkml:trace>
  <inkml:trace contextRef="#ctx0" brushRef="#br0" timeOffset="-152894.12">17198 12396 0,'-66'-93'0,"-14"40"16,41 40 0,12 13-16,-12 0 0,-1 0 0,0 13 15,-13 14-15,0-1 0,0 14 16,1-14-16,12 27 0,-13-13 0,13 13 16,-13 26-16,14-13 0,-1 14 15,13-14-15,1 0 0,0 13 0,12-12 16,1 12-16,13-13 0,0 13 15,13-12-15,1-1 0,-1-13 0,40 52 16,-14-65-16,14 0 0,0-14 16,80 1-16,-67-27 15,13-14-15,106-38 0,-92 12 16,-1-13-16,-12-13 0,12 13 0,-25-13 16,12 0-16,-39 13 0,13 0 15,-27 0-15,0 0 0,1-13 0,-27-40 16,0 40-16,-27 13 15,14-13-15,-53-53 0,26 66 16,-13-13-16,1 13 0,-1 0 16,-80-13-16,67 39 0,0 1 15,0 26-15,-53-13 16,53 26-16,0 0 0,-1 0 0,15 14 16,-15-1-16,28 14 0,-14-14 15,13 14-15,14 0 0,-1-14 0,1 14 16,12-14-16</inkml:trace>
  <inkml:trace contextRef="#ctx0" brushRef="#br0" timeOffset="-149057.46">20796 10795 0,'27'-13'0,"-27"26"16,0 0-1,0 0-15,0 1 0,-14 12 0,1 14 16,0-14-16,0 14 0,0 0 16,-1 39-16,1-39 15,0-1-15,13 1 0,0-27 0,0 14 16,13-1-16,-13 1 0,13-14 0,1 0 15,-1 0-15,0 1 0,0-1 16,40 0-16,-13-13 16,-27 0-16,0 0 0,1 0 15,-1 0-15,0 13 0,13-13 16,-12 14-16,-1 12 0,27 53 16,-14-39-16,-13 13 0,14 13 0,-14-13 15,0 0-15,14 13 0,-14-13 16,0 0-16,0 40 15,-13-54-15,14 1 0,-14 0 0,0-14 16,-14 1-16,14-14 0,-26 40 16,26-40-16,-13 0 0,-1-13 15,1 13-15,0-13 0,0 0 16,0 0-16,-1 0 0</inkml:trace>
  <inkml:trace contextRef="#ctx0" brushRef="#br0" timeOffset="-129563.62">18587 10676 0,'26'0'16,"1"0"0,-14 0-16,27 0 0,-1 0 0,14 0 15,14 0-15,-1-13 0,13 13 0,0-14 16,173-12-1,-160 26-15,1-13 0,0 13 0,-14-13 16,0 13-16,80-14 0,-93 14 16,-13 0-16,13 0 0,-13 14 15,-13-14-15,13 0 0,-27 13 0,14-13 16,-27 13-16,14-13 0,12 26 16,-12-12-16,-14-1 0,0 13 15,1-12-15,12 25 0,-26-12 16,13-1-16,0 14 15,1-14-15,-14 14 0,13 0 0,-13-1 0,13 1 16,0-13-16,-13 25 0,14-12 16,-14 0-16,13 0 0,0-1 15,-13 1-15,13 13 0,1-13 0,-14 12 16,13 1-16,0 14 0,0-15 0,0 1 16,1 0-16,-1 0 0,0-13 15,14 13-15,-14-14 0,0 14 0,0-13 16,0 0-16,1-1 0,-1 1 0,0 0 15,0 0-15,1-14 16,-1 40-16,0-39 0,-13-1 16,13-13-16,-13 14 0,0-14 0,14 0 15,-14 14-15,0-14 0,13 13 16,-13-12-16,0-1 0,0 0 16,0 0-16,0 0 0,0 1 15,0-1-15,0 0 0,0 0 16,-13 1-16,13-1 0,0 0 15,-14 0-15,14 1 0,0 12 0,-13-13 16,13 0-16,0 1 0,-13-1 16,13 13-16,-13-12 15,13-1-15,0 0 0,0 0 16,-14 1-16,14-1 16,-13 0-16,0 0 15,0 0-15,-1 1 0,1-1 0,-13 0 16,-1 0-16,-12 1 0,-1-1 15,0 0-15,1 0 0,-147 40 16,120-40-16,-13 1 0,13-1 16,-93 27-16,66-14 15,1-13-15,-14 14 0,13-14 0,-13 13 16,14-12-16,-1-1 0,14 0 16,-14 0-16,14 1 0,0-1 15,-1-13-15,14 13 0,0 0 0,-53 0 16,66-13-16,0 0 0,13 14 0,-52-14 15,52 0 1,-13 0-16,13 0 0,1-14 16,12 14-16,1-13 15,-1-13-15,14 13 0,-13-14 0,12-13 16,1 1-16,0-14 0,0-13 0,13-14 16,-13 1-16,13-40 0,-14 0 15,28-14-15,-14 14 0,0-13 16,13 0-16,0 0 0,13-1 0,-12 14 15,25 0-15,-12 13 0,-1 14 0,1 12 16,-1 14-16,14-40 16,-14 53-16,14 0 0,-14 27 0,1 0 15,-1 12-15,1 1 0,-1 0 16</inkml:trace>
  <inkml:trace contextRef="#ctx0" brushRef="#br0" timeOffset="-108338.3">8731 2937 0,'53'0'16,"-40"-13"-16,40 13 15,0 0-15,0-14 0,13 14 16,14-13-16,-1 13 16,0-13-16,80 0 0,-66 0 15,-14 13-15,106-27 0,-105 27 16,-1-13-16,0 13 15,-12 0-15,-14-13 0,-1 13 0,81-14 16,-94 14-16,-25 0 16,-1-13-16</inkml:trace>
  <inkml:trace contextRef="#ctx0" brushRef="#br0" timeOffset="-108051.14">9723 2897 0,'635'-106'46,"-582"106"-46,53-13 16,-53 0-16,13 13 16,-26 0-16,0 0 0,-27 0 15,0 0-15,14 0 16,-14 0-16</inkml:trace>
  <inkml:trace contextRef="#ctx0" brushRef="#br0" timeOffset="-105654">10147 3612 0,'39'-14'15,"-12"14"-15,-1 0 0,27-13 16,0 13-16,13 0 0,1-13 16,78 0-16,-13-1 15,-66 14-15,-13-13 0,0 13 16,40 0-16,-53-13 16,39 13-16,-66 0 15,0 0-15,1 0 0</inkml:trace>
  <inkml:trace contextRef="#ctx0" brushRef="#br0" timeOffset="-105436.95">10372 3678 0,'516'-53'47,"-411"40"-31,-65 13-16,13 0 0,13 0 15,0 0 1,-52 0-16,12 0 0</inkml:trace>
  <inkml:trace contextRef="#ctx0" brushRef="#br0" timeOffset="-102610.12">8017 3625 0,'-13'13'32,"-1"-13"-32,14 13 0,-26-13 15,13 0-15,0 0 0,-1 13 0,1-13 16,0 0-16,0 0 16,-27 0-16,27 14 0,-1-14 15,-12 0-15,13-14 0,-14 14 0,14 0 16,-13 0-16,12-13 0,-12 13 15,13-13-15,-27-13 0,27 12 16,0 1-16,-1 0 0,1-14 0,0 14 16,0 0-16,13 0 0,-14-27 15,14 14 1,-13 12-16,13 1 0,0-13 0,0 12 16,0 1-1,0 0-15,0 0 0,0 0 16,0-1-16,0 1 15</inkml:trace>
  <inkml:trace contextRef="#ctx0" brushRef="#br0" timeOffset="-102328.84">7435 3215 0,'0'-14'16,"66"-25"15,-53 39-15,27 0-16,-27 0 15,27 13-15,-27-13 16,13 0-16,-12 13 0,-1 0 0,13 1 15,-12-1-15,-1 0 16,0 0-16,-13 1 16,0-1-16</inkml:trace>
  <inkml:trace contextRef="#ctx0" brushRef="#br0" timeOffset="-101534.89">7435 3519 0,'-66'0'0,"39"0"16,1 0-16,-1 0 0,1-13 16,-27 13-16,26-14 0,1 14 15,-14-13-15,14 0 0,-1 0 16,1 0-16,-14-14 0,14 1 16,13-1-16,-14 14 0,14-13 0,0-1 15,-1 1-15,-12-27 16,26 26-16,-13 1 0,13-14 0,-14 14 15,14-1-15,-13 1 0,13-1 16,-13-39-16,13 0 16,0 26-16,0 14 0,13-14 15,-13 14-15,0-14 0,13 14 16,1-41-16,-1 41 0,0-1 16,0 1-16,27-14 0,-13 14 15,-1-1-15,40 1 0,-26-1 16,0 14-16,39-13 0,0-1 15,-39 14-15,39-13 16,-52 12-16,-1 14 16,14-13-16,-14 13 0,1 0 15,-14-13-15,14 13 16,-14 0 0</inkml:trace>
  <inkml:trace contextRef="#ctx0" brushRef="#br0" timeOffset="-101191.43">7474 2183 0,'-13'-13'0,"93"13"47,-41 0-31,-25 13-16,38 0 15,-12 0-15,-13 0 16,-14-13-16,13 27 15,-26-1-15,0 14 16,-26 0 0,13-14-16,-1 1 0,-25 12 15,25-12-15,1-14 16</inkml:trace>
  <inkml:trace contextRef="#ctx0" brushRef="#br0" timeOffset="-83789.09">8996 2249 0,'159'-40'0,"-120"40"0,41-13 15,-41 0-15,1 0 16,0 13-16,-14 0 0,14-14 16,26 1-16</inkml:trace>
  <inkml:trace contextRef="#ctx0" brushRef="#br0" timeOffset="-83454.05">9644 2196 0,'79'0'0,"-39"-13"16,13 13-16,-225 13 0,384-26 0,-186 13 15</inkml:trace>
  <inkml:trace contextRef="#ctx0" brushRef="#br0" timeOffset="-81816.77">11298 2209 0,'92'-13'0,"-65"13"0,12-13 0,1 13 16,13-13-16,13 13 15,-39-14-15,39 1 0</inkml:trace>
  <inkml:trace contextRef="#ctx0" brushRef="#br0" timeOffset="-79249.23">11192 4313 0,'304'-27'0,"-251"14"16,0 13-16,-13 0 0,13 0 0,0-13 15,-14 13-15,67 0 16,-53 0-16,-40 0 15,14 0-15</inkml:trace>
  <inkml:trace contextRef="#ctx0" brushRef="#br0" timeOffset="-79031.18">11232 4458 0,'516'-53'63,"-331"40"-63,-132 0 16,39 0-16,-39 13 0,-26-14 15</inkml:trace>
  <inkml:trace contextRef="#ctx0" brushRef="#br0" timeOffset="-39215.22">3016 10041 0,'0'-13'15,"13"13"-15,1-14 0,-1 14 16,27 0 0,-27 14-16,-13-1 15,0 13 1,-13-26-16,13 14 15,-14-1-15,14 0 0,-13 0 16,13 1 0,0-1-16,13 0 15,1-13-15,-1 13 16,0 0-16,0 1 16,1-1-1,-14 0-15,-14 0 0,1 1 16,0-1-16,-40 0 15,26-13 1,14 13-16,0-13 0,-13 0 0,12 0 16,1-13-16</inkml:trace>
  <inkml:trace contextRef="#ctx0" brushRef="#br0" timeOffset="-38997.14">3162 9842 0,'39'27'16,"-25"-14"-16,-67-53 0,106 107 0,-40-54 15,-13 13-15,13 14 0,-13-14 0,0 14 16,0 0-16,-13 0 0,-27 65 16,27-52-16,-13-13 15,-14 13-15,13-13 0,1 13 0,-1-14 16,1-12-16,13-1 0,-14-13 0,14 14 15</inkml:trace>
  <inkml:trace contextRef="#ctx0" brushRef="#br0" timeOffset="-37678.66">4061 10028 0,'0'26'16,"0"14"0,14-14-1,-14-12-15,0-1 0,13-13 16,-13 13-16,13-13 16,-13 13-16,27-26 15,-1 0 1,-13 13-1,0 0 1,1 13 0,-1 0-1,-13 0-15,13-13 0,-13 14 16,13-14-16,1 0 0,-1 0 16,0-14-16,0 1 15,0 13-15,1-13 0,-14 0 16,13 0-16,-13-1 0,0 1 15,13 0-15,-13 0 0,0-14 0,13 14 16,-13 0-16,0-1 16,0 1-16,-13 40 31,13-14-15</inkml:trace>
  <inkml:trace contextRef="#ctx0" brushRef="#br0" timeOffset="-37501.77">4458 10120 0,'13'14'0,"-13"12"16,0-13-16,0 0 0,-13 1 15,13 12-15,0-13 16,0 1-1</inkml:trace>
  <inkml:trace contextRef="#ctx0" brushRef="#br0" timeOffset="-37353.17">4498 10067 0,'-13'0'0,"26"0"0</inkml:trace>
  <inkml:trace contextRef="#ctx0" brushRef="#br0" timeOffset="-37110.41">4670 9948 0,'-13'27'31,"13"-14"-31,0 27 16,-14-14-16,14 1 0,-13-1 15,0 14 1,13-14-16,-13 1 0,13-14 0,-13 27 15,13-27-15,0 0 0</inkml:trace>
  <inkml:trace contextRef="#ctx0" brushRef="#br0" timeOffset="-36753.34">4815 9962 0,'0'-14'0,"0"28"0,-13-1 32,13 0-17,0 13-15,-13-12 0,13-1 0,0 13 16,-13 1-16,-1 26 16,14-27-16,0-13 15,0 1-15,0-1 0,0 0 0,0 0 0,0 1 16,14-14-1,-1 0 1,0 0 0,0-14-16,1 14 15,-1 14 1,-13-1 0,-13 0-16,13 0 15,0 1 1,0-1-1</inkml:trace>
  <inkml:trace contextRef="#ctx0" brushRef="#br0" timeOffset="-36615.16">4934 10081 0</inkml:trace>
  <inkml:trace contextRef="#ctx0" brushRef="#br0" timeOffset="-36189.24">5106 10107 0,'-26'40'16,"26"-27"-16,0 0 15,-13-13-15,13 13 0,0 1 16,0-1-16,-13-13 16,13 13-16,13 0 15,0-26 17,0 0-17,0 13 1,1 0-16,12-13 15,1 13 1,-1 0 15,-13 0-31,1 0 0,-1 0 16,0 0-16</inkml:trace>
  <inkml:trace contextRef="#ctx0" brushRef="#br0" timeOffset="-35533.36">5371 10107 0,'13'13'16,"-26"-26"-16,26 40 0,-13 12 16,0-26-1,0 1-15,-13 12 0,13-13 16,0 1-16,-13-1 0,0 27 15,-1-27-15,1 0 32,0 0-32,39-26 31,-12 13-15,-1-13-16,13-14 15,-12 14-15,-1-13 0,13-1 16,-13 14-16,1 0 0,-14-1 15,13 1-15,-13 0 0,13 0 16,-13 0-16,13 13 0,-13-14 16,-13 28 31,13-1-32,13 0 1,-13 0-1,14-13 17,-14 13-32,0 1 15,0-1 1,13-13 15,-13 13-31,13-26 31,0 13-15,-13-13 0,13 13-16,-13-14 15,14 14-15,12 0 47</inkml:trace>
  <inkml:trace contextRef="#ctx0" brushRef="#br0" timeOffset="-34985.67">6046 9869 0,'13'-13'15,"-13"39"1,0-13-16,13 1 16,-13 12-16,0-13 0,0 1 0,0 12 15,0-13-15,0 14 0,0-1 16,0-13-16,0 14 0,0-14 0,0 0 15,0 1-15,0-1 0,0 0 0,0 0 16</inkml:trace>
  <inkml:trace contextRef="#ctx0" brushRef="#br0" timeOffset="-34618.13">5966 10134 0,'0'-14'16,"40"-12"15,-27 26-31,0-13 0,1 13 16,-1 0-16,0-14 15,14 14-15,-14 0 0,0-13 0,0 13 16,14 0-16,-14-13 0,0 13 16,-238 93-16,450-173 0,-212 80 15,1 13 1,-1 1-1,0-14-15,-13 13 0,13-13 16,1 0-16,-1 0 0,0 0 16,0 0-16,1 0 15,-14-13-15,13 13 0,-13-14 16,0 1 0,-13 13-16,-1-13 15,-12 13 1</inkml:trace>
  <inkml:trace contextRef="#ctx0" brushRef="#br0" timeOffset="-34133.17">6601 9909 0,'0'39'31,"0"-12"-31,0-14 0,-13 40 16,13-27-16,0 1 0,0-1 15,0 14-15,-13-14 0,13 27 16,-13-26-16,13-1 0,0-12 0,0-1 16,-14 0-16,14 0 0,0 0 0,0 1 15,0-54 17,14 27-17,12-106 1,-13 92-16,1-12 15,12-1-15,-13 13 16,1 14-16,12 0 16,-26 26 15,-13 0-31,13 1 16,-13-14-16,13 13 0,-14-13 0,14 13 15,-13 0-15</inkml:trace>
  <inkml:trace contextRef="#ctx0" brushRef="#br0" timeOffset="-33219.06">6879 9948 0,'-13'0'16,"0"14"-16,-1-1 15,14 0-15,-13 0 16,13 14 0,13-27-1,1 0 1,12 0-1,-26-14 1,13 14-16,-13 14 16,14-14-1,-14 13 1,0 0-16,13-13 16,0 0-16,0 0 15,1 0-15,-1-13 16,0 0-16,13 13 15,-26-14-15,14 14 0,-1-13 16,0 13 0,0 0-1,1 13-15,-1 1 16,-13-1-16,13-13 16,0 26-1,1-12-15,-1-1 31,0-26-15,0 13-16,0-14 0,1 1 16,12-13-1,-13 26-15,1-14 16,-1 1-16,0 13 16,13 13-1,-26 1 1,0-1-16,14 0 15,-14 0-15,-14 1 0,14-1 0,0 13 16,-13 1-16,0-1 0,-27 27 16,14-26-16,-1-1 0,14 1 15,-13-1-15,13-13 0,-1-13 0,1 13 16,0 1-16,0-14 0,-1 0 31,14-14-31,0-12 16,14 13-16,-1-14 15,0 27-15,0-13 0,1 0 16,-14 0-16,13-1 0,0 14 16,0-13-16</inkml:trace>
  <inkml:trace contextRef="#ctx0" brushRef="#br0" timeOffset="-32954.87">7805 9988 0,'-13'0'15,"39"0"1,1 0-1,-1 0 1,-12 0-16,-1 0 0,0 0 16,14 0-16,-27-13 15</inkml:trace>
  <inkml:trace contextRef="#ctx0" brushRef="#br0" timeOffset="-32727.46">7964 9842 0,'93'67'31,"-80"-54"-31,0 0 0,0 14 0,-13-14 16,-132-146-16,277 292 0,-145-146 0,0 14 0,-13-14 15,13 0-15,-13 14 16,0-14-16,0 14 0,-1-14 0,1 0 0,0 0 15,-14 0-15,14 1 0,0-14 0,0 13 16,0-13-16</inkml:trace>
  <inkml:trace contextRef="#ctx0" brushRef="#br0" timeOffset="-31654.45">6469 10729 0,'159'0'15,"-318"0"-15,371 0 16,-159 0-16,13 0 0,13 0 0,1 13 0,-1-13 15,0 0-15,1 0 16,12 0-16,-12 0 0,-1-13 0,0 13 16,14-13-16,-14-1 0,1 1 0,-1 0 15,1 13-15,-14-27 0,0 14 16,0 0-16,0 0 0,-13-14 0,-13 14 16,-1 0-16,1 0 0,0-14 0,-14 14 15,1-13-15,12-1 16,-12 1-16,-14-1 0,27-26 0,-14 14 15,-13-1-15,1 0 0,-14 0 16,0 1-16,0-1 0,-14 0 16,-12-39-16,-1 39 0,1 1 15,0-1-15,-14 0 0,13 14 0,-12-14 16,-1 14-16,-13-1 0,-39-26 16,-14 0-16,40 27 15,13-1-15,-13 1 0,-1 0 0,1-1 16,-13 1-16,-1 12 0,-12-12 15,-1-1-15,-92 1 0,106 0 16,-14 12-16,0 1 0,-26 0 16,0 0-16,0-1 0,-13 1 0,13 13 15,-13-13-15,-265 0 16,291 0-16,-13 13 16,-13 0-16,39 0 0,-13 0 15,0 0-15,0 0 0,-105 13 16,118-13-16,1 13 0,-1 0 15,-26 0-15,26 14 0,-13-14 0,27 14 16,0-1-16,13 0 0,-14 14 0,27-13 16,-13 12-16,13-12 0,14 12 15,-1 1-15,0-13 0,-26 65 16,53-65-16,-14 12 0,14 1 0,0 0 16,13-1-16,-13 14 0,13-13 15,0 0-15,13 13 0,-13-14 16,13 27-16,-13-13 0,13 0 0,14 0 0,-14-13 15,13 13-15,14-13 16,0 12-16,0-12 0,79 26 16,-53-39-16,0-1 0,27-13 0,-14 14 15,40-14-15,-26 0 16,39 1-16,-26-14 0,158 0 0,-131 0 16,-28 0-16,28-14 0,-14 1 0,13 0 15</inkml:trace>
  <inkml:trace contextRef="#ctx0" brushRef="#br0" timeOffset="-29247.63">8797 10094 0,'67'-13'16,"-1"13"-1,-53 0-15,13 0 0,1 0 16,-14-14-16,14 14 0,-1 0 15,-13 0-15,0 0 0</inkml:trace>
  <inkml:trace contextRef="#ctx0" brushRef="#br0" timeOffset="-28957.39">9049 9856 0,'0'-14'0,"13"1"15,0 13 1,0 13-16,14-13 16,-1 14-16,-12-1 0,-1-13 0,13 13 15,-12 14-15,-1-14 0,0 0 16,0 0-16,-13 1 0,13 12 15,-26 0-15,13-12 0,-13 12 0,0-13 16,-14 40-16,1-39 16,13-1-16,-1 13 0,1-13 15</inkml:trace>
  <inkml:trace contextRef="#ctx0" brushRef="#br0" timeOffset="-24680.22">10398 9671 0,'-13'79'15,"0"-66"-15,13 14 0,0-14 0,-14 13 16,14-13-16,0 14 0,-13-14 16,13 0-16,-13 14 0,13-14 0,0 0 15,0 1-15,-13-1 0,13 0 16,0 0-16</inkml:trace>
  <inkml:trace contextRef="#ctx0" brushRef="#br0" timeOffset="-24477.29">10517 9882 0</inkml:trace>
  <inkml:trace contextRef="#ctx0" brushRef="#br0" timeOffset="-24020.98">10702 9790 0,'0'0'0,"-26"0"16,13 0-1,-1 0-15,-12 13 16,13-13-16,0 13 16,-1-13-16,14 13 15,0 0-15,14 1 16,-1-1-16,-13 0 15,13-13-15,0 13 0,-13 1 16,13-14-16,-13 13 0,14 0 16,-14 0-16,0 1 15,-14-1 1,1 0-16,0-13 0,0 13 0,0 0 0,-1-13 16,1 0-16,0 14 0,0-14 15,-1 0 1</inkml:trace>
  <inkml:trace contextRef="#ctx0" brushRef="#br0" timeOffset="-23794.1">10888 9763 0,'0'13'15,"0"1"-15,-14 25 16,14-26-16,-13 1 16,13-1-16,-13 0 0,13 14 15,-13-14-15,13 0 0,0 0 0,-14 1 16,14-1-16,0 0 0,0 0 16</inkml:trace>
  <inkml:trace contextRef="#ctx0" brushRef="#br0" timeOffset="-23236.27">11060 9869 0,'-27'0'16,"14"0"-1,0 13-15,-1 0 0,1 1 16,0-1-16,13 0 15,0 0-15,0 1 16,13-1 15,0-13-31,1 0 16,-1 0-16,0 0 31,0 0-31,14-13 16,-1 13-1,-26-14-15,13 14 0,1 0 16,-1-13-16,0 13 16,0-13-1,-26 26 48,13 0-48,27-13 17,-1-13-17,-13 13-15,1 0 16,-1 0 0,0 13-1,0-13 1,0 0-16,1 14 15,-1-14-15,0 0 0,0 0 16</inkml:trace>
  <inkml:trace contextRef="#ctx0" brushRef="#br0" timeOffset="-22465.08">11946 9631 0,'0'26'15,"13"1"1,-13-14-16,0 0 0,0 14 15,13 26-15,-13-27 0,0 0 0,0 14 16,-13-13-16,13-1 0,-13 1 16,13-1-16,-13 0 0,-1-12 0,1 12 15,0-13-15,13 1 0,-26 12 16,12-26-16,1 13 16,0-13-16,0 0 15,13-13 1,13 0-1,0 0-15,0-1 0,1 1 16,-1 0-16,0 0 0,0-14 16,0 14-16,1 0 0,12 0 0,-13-1 15,1 1-15,-1 0 0,-13 0 0,13-1 16,0 14-16,-13-13 16,14 13-16,-14-13 15,13 26 1,-13 0-1,0 1-15,0-1 16,13 0-16,-13 0 16,13-13-16,14 0 15,-14 0 1,0 0-16,0-13 16,1 0-16,-1-14 31,0 14-31,0 13 31,1 0-15,-14 13-1,0 1 1,13-14-16,-13 13 16,13-13-1,0-13 1,0-1-1,1 14-15,-1-13 16,0 0-16,0 0 16,1 13-16,-1 0 0</inkml:trace>
  <inkml:trace contextRef="#ctx0" brushRef="#br0" timeOffset="-22046.02">12938 9763 0,'-66'40'15,"53"-27"1,13 0-16,0 0 16,13 1-1,13-14 1,-12 0-16,-1 0 15,0 0-15,0 0 0,1 0 16,-1 0 0,-13 13-16,40-13 15,-40 13 1,13-13-16,0 0 16,0 0-16,0 0 0</inkml:trace>
  <inkml:trace contextRef="#ctx0" brushRef="#br0" timeOffset="-21517.17">13560 9618 0,'-13'26'16,"13"-13"-16,0 14 0,0-1 0,0-13 15,-14 14-15,14-1 0,0 1 0,-13-1 16,13-13-16,-13 14 0,0-1 15,13 1-15,-13-14 0,13 0 0,-14 1 16,14 12-16,0-13 0,-13-13 16,40-26 15,-14 26-31,26-53 16,-25 40-16,25-14 15,-25 14-15,12 0 16,-13-1-16,14 14 15,-14-13-15,0 26 16,-13 1 0,-26 12-1,12-26 1,1 13-16,-13 1 16,13-14-16,-1 13 0,1-13 15,0 0 1,0-13-16</inkml:trace>
  <inkml:trace contextRef="#ctx0" brushRef="#br0" timeOffset="-20883.97">13811 9551 0,'0'14'16,"0"-1"0,0 0-16,0 0 0,0 1 15,-13 12-15,13-13 0,0 1 0,-13-1 16,13 0-16,0 0 16,0 0-16,-13 14 0,13-14 15,0 0-15,0 1 16,13-14 15,0-14-31,0 14 0,0 0 16,1 0-1,-1 0 1,0 0-16,0 14 16,1-1-1,-1-13 1,0 0-1,0 0 1,1-13-16,12 13 16,-13-14 15,0 28 0,1-14-15,-1 0-1,0-14-15,0 14 16,1 0-16,-14-13 16,0 0-1,-14 0 1,1 13 0,0 0 15</inkml:trace>
  <inkml:trace contextRef="#ctx0" brushRef="#br0" timeOffset="-20512.88">14208 9723 0,'0'-13'0,"13"26"47,1 1-16,-14-1-16,13-13 17,0 13-1,14-26-15,-14 13-16,0 0 15,0 0-15,27 0 16</inkml:trace>
  <inkml:trace contextRef="#ctx0" brushRef="#br0" timeOffset="-17265.46">14393 9247 0,'80'0'0,"-54"0"0,1 13 16,-1 1-16,14-1 0,-14 0 16,14 14-16,-14-1 0,1 14 0,-1-1 15,1 1-15,-14-13 0,13 12 16,-12 1-16,-1-14 0,0 14 0,-13 0 15,13-14-15,-13 1 0,0-1 16,-13 1-16,13-14 0,-13 13 0,0 1 16,-1-1-16,-12 1 0,0-1 15,-1-13-15,-39 27 16,53-27-16,-14-13 0,1 13 0,13-13 0,-1 0 16,-12 0-16,13 0 0,-1 0 15,14-13-15,-13 13 0,0 0 0,13-13 16</inkml:trace>
  <inkml:trace contextRef="#ctx0" brushRef="#br0" timeOffset="-16837.08">14870 9671 0,'13'-27'15,"0"27"1,0-13-16,0 13 0,14-27 15,-1 27-15,-12-26 0,-1 13 0,0-1 16,14-12-16,-14 0 0,0-1 16,0 1-16,-13-1 0,0-13 0,13 1 15,-26-14-15,13 13 0,-13-13 0,0 0 16,-40-66-16,26 66 16,-12 0-16,-1 14 0,0-14 15,1 13-15,-1 0 0,14 14 0,-14 0 16,-13-27-16,26 39 15,14-12-15,-13 26 0,13-13 0,-1-1 16,1 14-16,13-13 0,-13 13 0</inkml:trace>
  <inkml:trace contextRef="#ctx0" brushRef="#br0" timeOffset="-16529.39">14433 8731 0,'0'-66'16,"0"53"-16,0 0 0,0-1 0,0-12 15,0 13-15,0-1 16,13 14-16,-13-13 0,13 13 0,1-13 16,-1 13-16,0 0 0,0 0 0,14 0 15,-14 0-15,27 0 0,-14 13 0,14-13 16,0 13-16,13-13 0,-14 14 16,-12-14-16,26 13 0,-14-13 0,-12 13 15,12-13-15</inkml:trace>
  <inkml:trace contextRef="#ctx0" brushRef="#br0" timeOffset="-8408.8">7633 10861 0,'0'40'16,"0"-14"-16,0-12 0,-13-1 0,13 13 15,-13 27-15,0-40 16,-1 40-16,14-26 16,-13-1-16,13-13 0,-13 14 0,0-1 15,13-12-15,-14 12 0,14-13 16,-13 0-16,0 1 0,13-1 16,0 0-16,-13-13 0</inkml:trace>
  <inkml:trace contextRef="#ctx0" brushRef="#br0" timeOffset="-8002.11">7607 10927 0,'-80'66'31,"54"-52"-15,13-1-16,-1 0 0,14 0 15,-13 1-15,-13-1 0,13 0 16,-1 0 0,41-39 15,-27 13-31,13-1 0,40-25 15,-40 25-15,0 1 16,27-13-16,-13 13 16,-1-1-16,-13 14 0,0 0 15,1-13-15,-1 13 0,0 0 0,-13 13 16,13-13-16,1 0 0,-1 14 16,0-14-16,-13 13 0,13-13 0,-13 13 15,14 13-15,-1-26 0,-13 14 16,13-1-16,0 0 15</inkml:trace>
  <inkml:trace contextRef="#ctx0" brushRef="#br0" timeOffset="-7124.04">8678 11298 0,'93'0'0,"-80"0"0,14 0 16,-14 0-16,13 0 0,1 0 0,-14 0 16,13 0-16,-12 0 15,12 0-15,-13 0 0,1 0 0,12 0 16,-13 0-16,1 0 15,-1 0-15</inkml:trace>
  <inkml:trace contextRef="#ctx0" brushRef="#br0" timeOffset="-6869.14">8969 11152 0,'67'0'16,"-54"0"0,0 13-16,0-13 0,0 14 0,14-1 0,-14 0 15,0 0-15,1 1 0,-1-1 16,0 26-16,-13-12 16,0-1-16,-13-12 0,13 12 0,-13 1 15,-1-14-15,1 13 0,-146-317 16,305 609-16,-159-305 0,13 0 15,0 0-15,-14-13 0,14 14 0</inkml:trace>
  <inkml:trace contextRef="#ctx0" brushRef="#br0" timeOffset="-32.18">10742 11139 0,'0'53'15,"-13"-27"-15,0 14 16,13-27-16,-14 14 0,1 26 16,13-40-1,0 0-15</inkml:trace>
  <inkml:trace contextRef="#ctx0" brushRef="#br0" timeOffset="199.9">10967 11165 0,'0'27'16,"0"-14"-16,0 14 16,0-14-16,-13 26 15,13-25-15,0-1 0,-13 0 16,13 14-16,0-14 16</inkml:trace>
  <inkml:trace contextRef="#ctx0" brushRef="#br0" timeOffset="921.61">10411 11126 0,'-13'0'0,"0"13"15,26 40 1,0-27 0,1-12-16,-14 12 0,0-13 0,13 27 15,0-14-15,-13-12 16,0-1-16,-13 0 0,13 0 0,0 14 15,-13-14-15,-1 0 0,1 0 16,-13 1-16,12-1 0,1 0 16,0-13-16,0 0 15</inkml:trace>
  <inkml:trace contextRef="#ctx0" brushRef="#br0" timeOffset="1106.66">10464 11152 0,'0'106'16,"-26"-252"-1,52 186-15,-26 79 0,0-79 0,0 0 16,-13-1-16,13 41 0,-13-41 16,13 1-16,0 0 0,0-1 0,0-12 15,0-1-15,13 1 0,-13-1 16,13-12-16</inkml:trace>
  <inkml:trace contextRef="#ctx0" brushRef="#br0" timeOffset="2258.69">12488 10993 0,'0'-13'0,"0"53"16,-13-27-16,13 14 0,-13-1 16,13-13-16,0 14 0,-13 26 15,-1-40-15,14 0 16,0 27-1,0-27-15,-13 0 0,13 0 0</inkml:trace>
  <inkml:trace contextRef="#ctx0" brushRef="#br0" timeOffset="2581.5">12660 11046 0,'0'27'31,"-13"-1"-15,13-13-16,-13 1 0,13 12 0,-13-13 0,13 1 15,-14-1-15,14 13 0,0-12 16,-13-1-16,13 0 0,13 0 16</inkml:trace>
  <inkml:trace contextRef="#ctx0" brushRef="#br0" timeOffset="2941.74">12991 11046 0,'-26'40'31,"26"-27"-31,-14 0 0,1 1 16,0 12-16,0-13 0,-1 1 0,-12 12 16,26 1-16,-13-14 0,0-13 15,-1 13-15,14 0 16,-13-13-16,13 13 0</inkml:trace>
  <inkml:trace contextRef="#ctx0" brushRef="#br0" timeOffset="3094.99">12846 11099 0,'0'-13'16,"0"26"0,13 0-1</inkml:trace>
  <inkml:trace contextRef="#ctx0" brushRef="#br0" timeOffset="3253.7">13004 11245 0,'14'0'16,"-28"0"-1,41 0 1</inkml:trace>
  <inkml:trace contextRef="#ctx0" brushRef="#br0" timeOffset="3582.73">13785 10993 0,'-13'14'0,"-1"-1"16,14 0-16,0 0 0,-13 1 16,13 12-16,0-13 15,0 0-15,-13 14 0,13-14 0,0 14 0,-13-14 16,13 13-16,0-12 0,-14-1 16,14 0-16,0 0 0</inkml:trace>
  <inkml:trace contextRef="#ctx0" brushRef="#br0" timeOffset="4014.61">13586 11179 0,'27'-14'16,"-14"14"-1,0-13-15,14 13 0,-14 0 16,13-13-16,27 0 0,-26 13 16,-14 0-16,13-14 0,-12 14 0,-1 0 15,13-13-15,-12 13 16,-1 0-16,0 0 0,0 0 16,-13 13-1,14 1 1,-14-1-16,0 0 0,13 0 15,0 1-15,13-1 32,-12-13-32,-1 0 0,0-13 15,0 13-15,1 0 0,-1 0 0,-13-14 16,13 14-16,-13-13 0,0 0 16,0 0-16,0-1 15,-13 14-15,13-13 16,-27 0-16,14 13 15,0 0 1</inkml:trace>
  <inkml:trace contextRef="#ctx0" brushRef="#br0" timeOffset="4325.61">14526 10941 0,'0'26'0,"0"-13"16,0 0-16,0 27 16,0-27-16,0 14 15,0-14-15,-14 13 0,14-12 0,0-1 0,-13 13 16,13-12-16,0-1 0,0 0 16</inkml:trace>
  <inkml:trace contextRef="#ctx0" brushRef="#br0" timeOffset="4694.67">14803 10967 0,'14'0'0,"-1"0"15,-13 13-15,13-13 16,-26 13-16,13 1 16,-13-1-16,-1 0 0,1 0 15,0 1-15,-13 12 0,-1-13 16,14 0-16,0 1 0,-14-1 0,14 0 16,0 0-16,-1 1 0,1-1 15,13 0 1,13-13-1,14 0 1,-14 0-16,0 0 0,1 0 16,-1 0-16,13 0 0,1-13 0,-14 13 15,13-13-15,1 13 0,-1-14 0,1 1 16,12 0-16,-12 0 0</inkml:trace>
  <inkml:trace contextRef="#ctx0" brushRef="#br0" timeOffset="4864.27">15227 10967 0,'13'13'47,"-66"53"-16,53-52-31,-13 12 16,0-13-16,-1 0 0,1 1 0,0-1 15,0 0-15,13 0 0,-14-13 0,1 14 16,0-1-16</inkml:trace>
  <inkml:trace contextRef="#ctx0" brushRef="#br0" timeOffset="4999.35">15055 11007 0,'0'-14'0</inkml:trace>
  <inkml:trace contextRef="#ctx0" brushRef="#br0" timeOffset="5132.61">15333 11139 0,'26'-13'16</inkml:trace>
  <inkml:trace contextRef="#ctx0" brushRef="#br0" timeOffset="5997.71">14274 11509 0,'27'0'0,"-14"0"0,0 0 0,14 0 16,12 14-16,1-14 0,13 0 15,0 0-15,0 0 0,0 0 0,13 0 16,-13 0-16,0 0 0,13 0 0,-13-14 16,13 14-16,-13-13 0,0 13 0,0-13 15,0 0-15,-14-1 16,14 1-16,-13 0 0,0 0 0,12 0 16,-12-1-16,-13 1 0,12 0 0,-12 0 15,-1-1-15,1 1 0,-1 0 16,-13 0-16,1 13 0,-1-14 0,0 1 15,0 0-15,0 0 0,-13 0 0,14-1 16,-14 1-16,0-13 16,0 12-16,0-12 0,-14-1 0,1-12 0,0 12 15,0-12-15,0 12 0,-1-12 16,1-1-16,-13 13 0,-1-12 0,1-1 16,-14 0-16,14 14 0,-14-14 0,0 14 15,-13-1-15,0 1 0,0-1 16,1 1-16,-1 13 0,-14-14 15,15 1-15,-15 13 0,1-14 0,0 14 16,-13 0-16,13-14 0,-14 14 0,14 0 16,-13-1-16,-1 1 0,1 0 0,0 13 15,-14-13-15,14 0 0,-1 13 16,-12 0-16,12 0 0,1 0 0,-1 0 16,-12 0-16,26 0 0,-14 13 15,14-13-15,0 13 0,0 0 0,13 0 16,-13 14-16,13-14 0,0 14 15,13-14-15,-13 13 0,14-12 0,-1-1 16,14 13-16,-54 14 16,54-14-16,-1 1 0,1-1 0,-1 1 15,1-1-15,-1 1 0,14-1 0,-13 1 16,-1-1-16,-12 27 16,12-27-16,14 1 0,-14-1 0,14 1 15,-13-1-15,13 1 0,-1-14 0,1 0 16,0 14-16,13-14 0,-13 0 0,13 0 15,-14 0-15,14 1 0,0-1 16,0 0-16,0 0 0,0 1 16,14-1-16,-1 0 0,13 14 0,1-14 0,12 0 15,1 13-15,13-12 0,13-1 16,-13 13-16,13-12 0,0-1 16,-13 0-16,14 0 0,-28 1 0,14-1 15,-13 0-15,13 0 0,-14 0 16,1 1-16,0-14 0,-14 13 0,1 0 15,-1-13-15</inkml:trace>
  <inkml:trace contextRef="#ctx0" brushRef="#br0" timeOffset="6848.98">12846 11483 0,'-159'66'16,"119"-39"-16,0-14 0,1 0 16,-41 27-16,27-27 15,0 13-15,-13 1 0,0-14 0,0 14 16,0-1-16,13-13 0,-13 14 0,0-14 15,0 13-15,-1-12 0,15-1 16,12 0-16,-13 0 0,13 0 16,1 1-16,-14-1 0,26-13 0,1 13 15,-1-13-15,1 0 0,13 13 16,-1-13-16,1 0 0,0 0 0,0 0 16,-1 0-16,1 0 0</inkml:trace>
  <inkml:trace contextRef="#ctx0" brushRef="#br0" timeOffset="7129.94">11496 11774 0,'0'0'0,"-26"13"16,12 0-16,1 1 0,0-1 15,0 13-15,0-12 0,-1 12 0,1-13 16,0 40-16,0-26 16,13-14-16,0 13 0,0-12 0,0 12 15,0-13-15,0 0 0,13 1 16,0-1-16,0 0 0,14 0 0,-1 1 16,14-14-16,0 13 0,13-13 0,-1 0 15,1 0-15,14 0 0,-15 0 16,28 0-16,-14-13 0,53 13 15,-66-14-15,0 14 0</inkml:trace>
  <inkml:trace contextRef="#ctx0" brushRef="#br0" timeOffset="57218.89">4485 5569 0,'-40'80'0,"27"-67"0,13 0 15,-13 1 16,26-54 1,-13 27-32,0-1 0,13 1 15,-13-13-15,26-40 16,-12 39-16,25-39 16,-25 53-16,-1 0 0,-13-1 15,40-12-15,-27 26 16,0 0-16,13 26 15,-12-12-15,-14-1 16,13 0-16,0 27 16,-13-14-16,13-13 0,-13 1 15,0 25-15,0-26 16,14 14 0,-14-14-16,0 0 15,0 1-15</inkml:trace>
  <inkml:trace contextRef="#ctx0" brushRef="#br0" timeOffset="57441.07">4498 5596 0,'-13'0'0,"39"-13"16,-13-1-16,1 14 0,-1 0 0,0 0 15,0 0-15,14-13 0,-14 13 0,13 0 16,-12 0-16</inkml:trace>
  <inkml:trace contextRef="#ctx0" brushRef="#br0" timeOffset="58411.97">2103 5596 0,'27'0'0,"-14"-13"0,0 13 0,1 0 16,38 0-1,-12-14-15,-27 14 0,14 0 16,-14 0-16,14 0 0,-14-13 16,0 13-16,0 0 0</inkml:trace>
  <inkml:trace contextRef="#ctx0" brushRef="#br0" timeOffset="58741.12">2394 5517 0,'-13'0'16,"26"0"-16,-39 13 15,13 0-15,13 0 16,-13 0 0,13 1-16,0-1 0,-14 40 15,1-27-15,0-12 16,13 12-16,-13-13 0,-1 0 16,-12 14-1,26-14-15,-13-13 0,-1 13 16,1 1-1,0-1 1,39-13 15,-12-13-31,12 13 16,-13 0-16,1 0 0,-1 0 16,0-14-16,0 14 0,14 0 0,-14 0 15,0-13-15,40 0 16,-40 13-16</inkml:trace>
  <inkml:trace contextRef="#ctx0" brushRef="#br0" timeOffset="58964.1">2593 5543 0,'-13'-13'31,"-1"26"-16,14 13 1,0-12-16,-13 25 16,13-25-16,0-1 15,0 0-15,0 0 0,0 1 16,0-1-16,0 13 16</inkml:trace>
  <inkml:trace contextRef="#ctx0" brushRef="#br0" timeOffset="59501.97">2553 5556 0,'-13'-13'0,"13"0"31,13 0 78,0 26-46,1-13-48,-1 13 1,0 0-16,-13 0 0,27 14 16,-27-14-1,13 0-15,-13 14 16,0-14 0,13 0-16,-13 1 15,13-14 1,1 0-1</inkml:trace>
  <inkml:trace contextRef="#ctx0" brushRef="#br0" timeOffset="59793.81">2884 5437 0,'0'0'0,"0"27"31,0-14-31,0 0 0,0 27 15,-13-27-15,13 13 16,0-12-16,0-1 0,0 0 16,0 0-16,0 27 15</inkml:trace>
  <inkml:trace contextRef="#ctx0" brushRef="#br0" timeOffset="60171.13">2844 5490 0,'0'0'15,"14"13"17,-1-13-32,13 27 31,-13-27-31,1 0 0,-1 13 0,13-13 15,-12 0-15,-1 0 0,0 0 0,40-13 16,-40 13-16,0 0 16,1-13-16,-1 13 15,-13-14-15,13 14 16,-53 14 15,1-1-15,25 0-16,1 0 0,0-13 0,0 27 15,0-27-15,13 13 16,-14-13-16,14 13 0,14-13 31</inkml:trace>
  <inkml:trace contextRef="#ctx0" brushRef="#br0" timeOffset="60334.92">3096 5543 0,'39'-53'0,"-39"40"16,14 13-16,-1 13 31,-13 14-15,0-14-16,0 0 0,0 0 0,0 0 15,0 27 1,0-27-16,0 1 0,0-1 0,0 0 16,0 0-16</inkml:trace>
  <inkml:trace contextRef="#ctx0" brushRef="#br0" timeOffset="61233.64">3307 5569 0,'-13'14'0,"0"-14"15,0 13 17,-1 13-32,28-12 31,-1-14 0,0 13-15,0 0-1,1 0 17,-1-13-32,0-13 15,13 0-15,-12 13 16,-1 0-16,-13-13 0,26-14 16,-12 27-16,-14-13 15,13 0-15,0-1 16,0 1-1,0 26 17,-13 1-17,0-1-15,14 0 16,-1-13-16,0 0 16,14-13-1,-1-14 1,-13 14-16,-13 0 15,14 13-15,-14-13 0,13 0 0,-13-1 16,13-12-16,0 26 16,-13-13-1,13 39 1,-26 1 0,13-14-1,0 0 1,-13 0-16,13 0 0,0 1 31,0-1-15,13-13-16,-13 13 15,13-13 1,1 0 0,-14 13-16,13-13 0,0 0 15</inkml:trace>
  <inkml:trace contextRef="#ctx0" brushRef="#br0" timeOffset="61494.43">3426 5556 0,'27'-13'0,"-1"0"15,-13 13-15,1-13 0,12 13 0,1 0 16,-14-14-16,13 14 0,1 0 15</inkml:trace>
  <inkml:trace contextRef="#ctx0" brushRef="#br0" timeOffset="62259.22">4934 5490 0,'-13'0'0,"0"0"16,0 27 0,0-27-16,-1 13 15,14 0-15,0 0 16,-13-13-16,13 13 0,13 14 16,-13-14-1,14 0 1,-1-13-16,0 0 0,13 0 15</inkml:trace>
  <inkml:trace contextRef="#ctx0" brushRef="#br0" timeOffset="63026.02">5146 5503 0,'-26'-13'15,"12"13"-15,1 0 16,0 13 0,0 1-16,0-1 15,13 0-15,-14 0 16,14 0-16,0 1 16,14-1-1,-1 0-15,0-13 16,13 0-1,-12 0-15,-1-13 16,0 13-16,0-13 16,1 13-16,12-27 15,-26 14 1,13 0-16,-13 39 47,0-13-32,14 1 1,-14-1-16,13-13 16,0 13-1,0-13-15,0-13 16,14 13-16,-14-13 16,0-1-1,1 14 1,-14-13-16,13 13 0,0 0 31,-13 13-15,13 1-1,-13-1 1,14 0 15,-1-13-15,0-13-1,0 0 1,0 13 0,1-14-16,-1 14 15,0 0 1,0 0 0,-13 14-16,14-14 15,-1 0 16,0 0-31,0 0 16</inkml:trace>
  <inkml:trace contextRef="#ctx0" brushRef="#br0" timeOffset="63482.42">5689 5503 0,'0'-13'0,"-27"26"16,27 1 0,-13-14-16,13 13 0,-13 13 15,13-13 1,13 1 0,-13-1-1,13-26 1,0 13-16,-13-14 15,14 14-15,-1-13 16,-13 0 0,13 26 15,-13 0-15,13 1-1,0-14 1</inkml:trace>
  <inkml:trace contextRef="#ctx0" brushRef="#br0" timeOffset="64103.35">5940 5503 0,'-13'0'0,"-1"-13"32,1 26-32,0-13 15,0 14-15,0-1 16,13 0 0,0 0-16,-14-13 15,28 13 1,-1-13-1,0 0 1,0 0-16,0 0 16,1 0-16,-1 0 0,0 0 15,0-13 1,1 26 0,-1-13-1,13 0 16,-13 0-15,14 0 0,-14 0-16,0 27 15,1-27-15,-14 13 0,26 40 16,-26-40 0,0 1-16,13 12 0,-13-13 15,-13 27-15,13-27 0,-13 40 16,0-53-16,13 13 15,-14 1-15,1-1 16,0-40 0,26 1-1,-13 13-15,27-40 16,-27 39-16,13 1 16,0 0-16,0 0 0,1 0 15,12-27 1</inkml:trace>
  <inkml:trace contextRef="#ctx0" brushRef="#br0" timeOffset="64720.58">6469 5490 0,'-13'-13'0,"0"26"15,-1 0-15,14 27 16,0-27 0,0 0-1,0 1-15,0-1 0,14-13 0,-1 13 16,0-13-16,0 0 16,14 0-1,-14 0-15,-13-13 0,13 13 16,-13-13-16,13-1 15,-13 1-15,-13-13 16,13 13-16,-13 13 16,0 0-1,0 0 1,39 13 15,0-13-15,-26 13-16,14-13 0,-1 13 15,27 14-15,-27-14 16,0 0-16,14 67 16,-14-54-16,0-13 0,-13 14 15,0-1-15,0 1 0,0-1 16,0 1-16,0-1 0,-13 0 0,13-12 16,-13 25-1,13-25-15,0-1 0,-14-13 16,41-13-1,-1-27 1,-13 13-16,14 1 0,-14 0 16,14-1-16,39-52 15,-53 65-15,13-12 0,-12 13 16,12 0-16,-26-1 0,13 1 16,-13 0-16,14 0 15</inkml:trace>
  <inkml:trace contextRef="#ctx0" brushRef="#br0" timeOffset="65145.89">7422 5278 0,'-14'14'31,"14"25"-15,0-12-16,0-14 0,0 14 16,0-1-16,0 0 0,-13 1 0,13-1 15,0 40 1,0-39-16,0-14 0,13 0 0,-13 1 15,0 12 1,0-13-16</inkml:trace>
  <inkml:trace contextRef="#ctx0" brushRef="#br0" timeOffset="66030.58">7236 5530 0,'-13'0'0,"40"-13"15,12-1 1,-26 14 0,14-13-16,-1 13 0,14-13 15,-13 0-15,-1-1 0,0 14 16,1-13-16,-14 0 0,40-13 15,-53 12-15,13-12 0,1 13 16,-1-27 0,-13 27-16,0-14 15,0 14-15,-13 26 32,-1 27-17,14-27 1,-13 40-1,0-40-15,13 14 0,0-14 0,0 0 16,0 0-16,0 1 0,0-1 16,0 13-16,13-12 15,0-14 1,1 13-16,-1-13 16,0 0-1,-13 13 1,13 0-1,0-13-15,-13 13 0,14-13 16,-1 0-16,13 0 16,-12 0-16,-1 0 15,0 0-15,-13-13 0,40 0 16,-27 13-16,0-13 16,-13 0-16,13 13 0,1-14 15,-14 28 16,0-1-15,13 0-16,-13 0 0,26 0 16,-12-13-1,39 0 1,-40 0-16,26-13 16,-25 0-16,-1 13 0,0-13 15,-13-14 1,0 14-16,0 0 0,-13 0 0,0-1 15,-1 14-15,1-13 0,-13 13 16,13 0-16,-27 0 16,27 0-16,-1 13 0,1-13 15,0 14 1,13-1-16,13 0 16,0-13-16,1 13 15,-1-13-15,0 0 0,40 14 16,-27-14-16,-12 0 15,12 0-15,14 0 0,-27 0 16,0 0-16,14 0 0,-14 0 16,0 0-16</inkml:trace>
  <inkml:trace contextRef="#ctx0" brushRef="#br0" timeOffset="66634.09">7699 5450 0,'14'-39'0,"-14"26"16,-27 39 31,27 0-31,0-12-1,13-14-15,1 26 16,25-26-1,-25 13-15,-1-13 0</inkml:trace>
  <inkml:trace contextRef="#ctx0" brushRef="#br0" timeOffset="67045.95">8109 5384 0,'40'14'16,"-27"-1"-16,-13 0 15,14 13 1,-14-12-16,0-1 0,13 0 0,-26-13 16,13 13-16,0 1 0,0 12 15,0-13 1,13-39 15,0 13-15,-13-1-16,13 1 0,27-27 15,-14 27 1,-12 0-16,-1 13 16,0 13-16,0-13 15,-13 13 1,14 1-16,-14-1 15,0 13-15,0-12 32,0-1-32,0 0 0</inkml:trace>
  <inkml:trace contextRef="#ctx0" brushRef="#br0" timeOffset="67196.1">8374 5345 0,'0'-14'16</inkml:trace>
  <inkml:trace contextRef="#ctx0" brushRef="#br0" timeOffset="67589.84">8572 5490 0,'0'-13'0,"0"26"0,14-39 0,-14 12 15,0 1 16,-27 26-15,14 1 0,0-14-16,13 13 0,-13-13 0,13 13 15,0 0-15,-14-13 0,28 14 16,12-14 0,-13 0-16,0 0 15,1 0-15,39 0 16,-40 0-16,13 0 15,-12 0-15,-14 13 0,13-13 0,0 13 16,-13 13 0,-13-12-1,-14 12-15,27-13 16,-13-13-16,-40 27 16,13-27-1,27 13-15</inkml:trace>
  <inkml:trace contextRef="#ctx0" brushRef="#br0" timeOffset="68786.31">2871 5927 0,'39'0'16,"-12"0"-16,-14 0 0,80-27 16,-67 27-16,14-13 15,0 13-15,-1-13 0,41 0 16,-41 13-16,-12 0 0,39-14 15,-53 14-15,14 0 16,-14 0-16,0 0 16,0 0-16</inkml:trace>
  <inkml:trace contextRef="#ctx0" brushRef="#br0" timeOffset="68965.34">2990 6099 0,'0'0'16,"26"-14"-16,40 1 15,-39 13-15,13-13 0,-1 0 16,-12 13-16,39-14 16,-26 14-16,-14-13 0,-13 13 15,14 0-15</inkml:trace>
  <inkml:trace contextRef="#ctx0" brushRef="#br0" timeOffset="69555.59">2170 7091 0,'0'26'16,"0"-12"-16,-14-14 0,1 39 15,13-26-15,-13 27 16,13-27-16,-13 1 16,13 12-1,-14-13 1</inkml:trace>
  <inkml:trace contextRef="#ctx0" brushRef="#br0" timeOffset="69742.04">2103 6985 0,'0'-13'0,"-13"13"15,0 0 1</inkml:trace>
  <inkml:trace contextRef="#ctx0" brushRef="#br0" timeOffset="70097.68">2249 7104 0,'0'13'0,"0"1"0,0-1 15,0 0 1,13-13-16,-13 13 0,0 0 16,13 1-1,1-14 1,-1 0-1,0 0-15,0 0 16,14 0 0,-14 0-16,0 13 15,0-13-15,1 26 16,-1-12-16,-13-1 16,13 0-1,0-13-15</inkml:trace>
  <inkml:trace contextRef="#ctx0" brushRef="#br0" timeOffset="70830.13">2725 7223 0,'53'-53'0,"-53"40"0,13-27 16,-13 27-1,14 0-15,-14 0 16,0-1 0,-14 14-16,1 14 15,0 12 1,13-13 0,0 1-16,0-1 0,0 0 0,-13-13 15,26 13-15,-13 0 0,0 1 16,0-1-16,13-13 0,-13 13 0,13-13 15,-13 13-15,14-13 0,-1 0 0,0 0 16,0 0-16,1 0 0,-1 0 16,0 0-16,0-13 0,0 13 0,14 0 15,-14-13-15,-13 0 0,13 13 0,1-14 16,-1 1-16,0 13 16,0-13-16,0 26 31,-13 0-16,0 1 1,0-1-16,14 0 16,-14 0-16,13-13 0,-13 14 15,13-14-15,0 0 0,1 0 16,-1 0-16,13 0 16,1-14-16,-1 14 0,-13-13 15,1 13-15,-1 0 0,-13-13 0,13 13 16,0-13-16,-13-1 15,14 1 1,-1 13-16,-13-13 0</inkml:trace>
  <inkml:trace contextRef="#ctx0" brushRef="#br0" timeOffset="71666.9">3254 7064 0,'-13'14'0,"0"-14"0,13 26 16,0-13-16,0 1 15,0-1-15,0 0 0,0 0 0,0 0 16,0 1-16,0-1 0,0 0 0,13 0 16,0 1-1,1-14-15,12 13 16,-13-13-16,1-13 0,-1 13 16,0-14-16,0 14 0,0-26 15,1 13-15,-14-1 16,0 1-16,0-13 0,0 13 15,-14-14-15,1 14 16,0 13 0,13-13-16,-13 13 15,0 0-15,-1 0 0,1 13 16,26 0 31,1-13-47,-1 0 0,26 0 15,-25 0-15,-1 0 16,0 13-16,0-13 16,1 14-16,-1-14 0,0 13 0,0-13 15,-13 13-15,13-13 0,1 13 16,-14 0-16,13-13 16,-13 14-16,13-1 15,-13 0-15,0 0 16,13-13 15,1-13-15,-1 13-16,-13-13 0,13 13 15,0-13-15,1-1 0,-1 14 16,0 0-16,0-13 16,0 26-1,1-13-15,-1 14 16,0-1-1,0 0 1,1-13-16,-1 0 16,-13 13-1</inkml:trace>
  <inkml:trace contextRef="#ctx0" brushRef="#br0" timeOffset="72087.49">3889 7064 0,'-26'14'15,"26"-1"-15,0 0 16,0 0-16,0 1 0,0-1 0,0 0 16,0 0-16,13 14 15,-13-14-15,13-13 0,1 0 16,-14 13-16,39-13 16,-25 0-16,-1-13 0,0 13 15,0-13-15,0-1 16,-13-12-1,0 13-15,0 0 0,-26-14 16,26 14 0,-13 13-16,13-13 0,-13 13 0,-14 0 15,1 0 1,12 13 0</inkml:trace>
  <inkml:trace contextRef="#ctx0" brushRef="#br0" timeOffset="72618.66">4075 7038 0,'26'13'15,"-13"0"-15,1 1 16,-14-1-16,13 13 15,-13-12 1,0-1-16,0 0 16,0 0-1,0 0-15,13-13 32,0-13-17,0 0 1,14 0-1,-14 13 1,0 13 0,1-13-16,-14 13 15,13-13 1,-13 13 0,13-13 15,0-13-16,0 0 1,1 13-16,-14-13 0,13 13 16,0 0-1,0 0 1,1 0-16,-1 13 16,0-13-1,0 0 1,1 0-1</inkml:trace>
  <inkml:trace contextRef="#ctx0" brushRef="#br0" timeOffset="72785.97">4524 7091 0,'0'-13'16,"0"26"-16,0-13 31,0 26-31,0-12 16,0-1-16,0 0 15,0 0-15,0 0 16,0 1-16,0-1 0</inkml:trace>
  <inkml:trace contextRef="#ctx0" brushRef="#br0" timeOffset="72930.25">4577 6932 0,'-13'-13'0</inkml:trace>
  <inkml:trace contextRef="#ctx0" brushRef="#br0" timeOffset="73243.03">4762 6972 0,'-39'39'0,"26"-12"15,13-14-15,-14 0 16,14 1-16,0-1 0,0 0 0,0 0 16,0 1-16,0-1 0,14 13 15,-14-13 1,13-13-16,13 14 16,1-14-1,12-14 1,-25 14-16</inkml:trace>
  <inkml:trace contextRef="#ctx0" brushRef="#br0" timeOffset="73523.27">4948 7011 0,'-14'0'16,"28"0"-16,-41 14 0,27-1 15,0 0-15,13 0 16,-13 1-16,14 12 16,-1-13-16,-13 1 15,13-1-15,-13 0 16,0 0-16,13-13 16,-26 13-16,13 1 0,-13-1 15,0 0 1,-1 0-16,-25-13 15,39 14-15,-13-14 16,-1 0-16</inkml:trace>
  <inkml:trace contextRef="#ctx0" brushRef="#br0" timeOffset="74086.75">5583 7038 0,'26'-13'31,"-13"13"-31,14 0 15,-14 0-15,0-14 16,1 14-16,12 0 0,-13 0 16,14 0-16,-14 0 15,0 0-15,0-13 0,1 13 0,-1 0 16,0 0-16,0 0 0,1-13 16</inkml:trace>
  <inkml:trace contextRef="#ctx0" brushRef="#br0" timeOffset="74425.95">5741 6853 0,'40'13'15,"-13"0"-15,-14 0 0,13 1 16,1-1-16,-14 0 16,13-13-16,-12 13 0,-1 1 0,13-1 15,-12 0-15,-14 0 0,13 0 16,0 14-1,-13-14-15,13-13 0,-26 13 0,13 1 0,0-1 16,-13-13-16,13 13 0,-13 0 16,-14 14-1,14-27-15,13 13 0,-13-13 0</inkml:trace>
  <inkml:trace contextRef="#ctx0" brushRef="#br0" timeOffset="90783.12">2791 7541 0,'291'-27'16,"-211"27"-16,-14-13 0,79 0 15,-92 13-15,13 0 0,-13 0 16,0 0-16,-13-14 0,0 14 0,-1 0 16,-12 0-16</inkml:trace>
  <inkml:trace contextRef="#ctx0" brushRef="#br0" timeOffset="90988.88">3043 7699 0,'39'0'15,"-12"0"-15,-1 0 0,27 0 0,0 0 16,13 0-16,0-13 0,14 13 0,52-26 16,-66 26-16,-13-14 15,13 14-15,-26-13 0,13 13 0,-13-13 16,-14 13-16,1-13 0</inkml:trace>
  <inkml:trace contextRef="#ctx0" brushRef="#br0" timeOffset="91360.46">2963 6787 0,'186'-14'0,"-134"14"0,54 0 15,-53 0-15,0 0 0,0 0 16</inkml:trace>
  <inkml:trace contextRef="#ctx0" brushRef="#br0" timeOffset="91568.29">3188 7025 0,'27'13'15,"-14"-13"-15,0 0 0,14-13 16,26 13-16,-14 0 0,1 0 16,13 0-16,-14-14 15,14 14-15,-26 0 0,13 0 0,-1 0 0,1-13 16,-14 13-16</inkml:trace>
  <inkml:trace contextRef="#ctx0" brushRef="#br0" timeOffset="94648.26">2580 8308 0,'0'26'0,"0"-12"0,0-1 16,0 0-16,0 14 0,-14-14 15,14 0-15,0 13 0,0-12 0,-13-1 16,13 0-16,0 0 0,0 1 0</inkml:trace>
  <inkml:trace contextRef="#ctx0" brushRef="#br0" timeOffset="95191.08">2672 8348 0,'0'53'16,"0"-106"-16,0 119 16,0-53-16,0 0 15,0 0-15,14 1 16,-1-14 0,0-14-16,0 14 15,14-13 1,-14 13-1,0 0-15,0 0 16,1 13-16,-1 1 16,-13-1-1,13 13 1</inkml:trace>
  <inkml:trace contextRef="#ctx0" brushRef="#br0" timeOffset="95874.94">3347 8229 0,'0'92'0,"0"-65"0,0-14 16,0 13-16,0-12 0,0 12 0,0-13 15,0 0-15,0 1 0,0-1 16,0 13-16,0-12 0,0-1 16,0 0-1,0-39 1,0 12 0,0-12-16,-13-1 0,26-25 15,-13 12-15,13-40 16,0 41-16,-13 12 15,0 14-15,14 0 0,-1 13 0,-13-13 16,26 13 0,-12 13-1,-1 13 1,-13-12-16,0-1 0,-13 0 16,13 0-16,-14 14 0,14-14 15,-13 0-15,0-13 0,13 13 0,0 1 16,-13-14-16,13 13 0,-14-13 15</inkml:trace>
  <inkml:trace contextRef="#ctx0" brushRef="#br0" timeOffset="96235.08">3545 8149 0,'0'13'16,"0"1"-16,14-1 0,-14 40 31,0-40-31,0 0 0,0 14 0,0-14 16,0 13-16,0-12 0,0 12 31,0-13-15,13-13-16,0-13 15,0 13 1,1 0-16,-1 0 16,-13 13-16,13-13 15,-13 14-15,13-14 16,-13 13-16,13 0 16,-13 0-16,14-13 0,-1 13 15,0-13-15,0-13 16</inkml:trace>
  <inkml:trace contextRef="#ctx0" brushRef="#br0" timeOffset="96682.14">3876 8268 0,'-26'0'0,"12"13"16,14 1-1,0-1-15,-13 0 0,13 0 16,0 1 0,13-1-1,-13 0-15,14-13 0,-1 0 16,0 0-16,0 0 15,-13-13-15,27 13 16,-14 13 0,0-13-1,-13 13-15,14 1 0,-1 12 16,-13-13-16,13 27 16,-13-27-16,0 14 0,0-14 0,0 0 15,0 13-15,0 1 16,-13-14-16,0 14 0,-1-14 15,1 0 1,0-13-16,0-13 16,-1 0-1,14-1-15</inkml:trace>
  <inkml:trace contextRef="#ctx0" brushRef="#br0" timeOffset="97137.69">4075 8308 0,'13'13'31,"-13"0"-31,0 1 16,0 12-1,0-13-15,13 1 0,-26-14 0,13 13 16,0 0-16,0 0 0,0 0 0,-13-13 16,13 14-16,-14-1 0,1 0 15,0 0-15,0-13 16,13 14-16,-14-14 16,14-27-1,27 14 1,13-27-1,-40 27-15,13 13 16,13-26-16,-12 26 0,-1-14 16,13 1-1,-13 13 1,1 13-16,-14 1 16,13-1-16,-13 0 15,0 0-15,0 0 0,0 1 16,-13-1-1,13 0-15</inkml:trace>
  <inkml:trace contextRef="#ctx0" brushRef="#br0" timeOffset="97299.07">4286 8215 0,'0'-13'0</inkml:trace>
  <inkml:trace contextRef="#ctx0" brushRef="#br0" timeOffset="97658.44">4405 8255 0,'-13'13'15,"0"0"-15,13 1 16,-13-14-16,13 13 16,0 0-16,66-79 0,-146 145 0,80-65 0,0 12 15,53-145-15,-106 251 0,67-118 16,-1-14-1,13 0 1,-12-14-16,12 14 16,-13-13-16,14 13 0,-1 0 15,-13 0-15,1 0 16,-1 0-16,0 0 0,0 13 16,1-13-16,-14 14 0,13-14 0,-13 13 15,0 0-15,0 0 16,0 0-16,0 1 0,-13-1 15,13 0-15,-14 0 16,14 1-16</inkml:trace>
  <inkml:trace contextRef="#ctx0" brushRef="#br0" timeOffset="97969.98">5411 8242 0,'53'0'16,"-14"0"-1,-25 0-15,-1 0 0,0 0 0,13 0 16,1 0 0,-1 0-16,-12 0 0,-1 0 15,0-13-15</inkml:trace>
  <inkml:trace contextRef="#ctx0" brushRef="#br0" timeOffset="98211.2">5675 8043 0,'53'14'0,"-26"-1"0,-14-13 15,13 13-15,1 0 0,13 27 16,-14-27-16,-13 0 0,0 14 16,-13-14-16,0 0 0,0 27 15,0-27-15,-13 14 0,-13-1 16,13 14-16,-199-344 0,397 634 0,-211-303 16,12-14-16,-12 13 0,-67-436 0,133 860 0</inkml:trace>
  <inkml:trace contextRef="#ctx0" brushRef="#br0" timeOffset="119108.76">11840 5940 0,'-40'13'15,"40"0"-15,-39 27 16,39-14-16,-13-12 0,-1 12 16,14-13-16,-13 14 0,13-1 0,-13-12 15,13-1-15,0 40 16,0-40-16,0 0 0,0 0 16,13 1-16,-13-1 0,13-13 0,1 13 15,-1 0-15,13-13 16,-13 0-1,1 0-15,-1-13 0,-13 0 16,0 0 0,0-1-16,0 1 15,-13 0 1,13 0 0,13 13-1,-13-14-15,13 14 0,0-13 16,1 13-16,25 13 15,-26-13 1,14 0-16,-27 14 0,13-14 0,0 13 16,1 0-16,-14 0 15,13 1-15,-13 12 16,0-13 0,-13 1-16,13-1 15,0 0-15</inkml:trace>
  <inkml:trace contextRef="#ctx0" brushRef="#br0" timeOffset="119464.36">12211 6152 0,'-14'13'16,"1"0"-16,13 13 15,0-12-15,0-1 16,0 0-16,13 14 16,-13-14-1,14-13-15,12 0 16,-13-13-1,0 13-15,-13-14 0,14 1 16,-14 0-16,0 0 16,-14-14-1,14 14-15,-13 13 16,13-13-16,-13 13 16,0 0-1</inkml:trace>
  <inkml:trace contextRef="#ctx0" brushRef="#br0" timeOffset="119799.36">12369 6165 0,'0'13'15,"13"0"1,-13 14 0,14-1-16,-1-13 15,0 1 1,0-14-16,14 0 31,-14-14-31,-13 1 16,13 0-16,-13 0 0,14 13 15,-14-14-15,13 1 0,-13 0 16,13 0-16,-13 0 16,0-1-1</inkml:trace>
  <inkml:trace contextRef="#ctx0" brushRef="#br0" timeOffset="120550.21">12674 6310 0,'39'-26'16,"-26"26"-16,1 0 0,12-27 15,-26 14-15,13 0 16,-13 0-16,0-1 15,14 14-15,-14-13 16,0 40 31,0-1-31,0-13-16,13 1 15,0-1-15,0-13 16,1 13-1,-1-13-15,0 0 16,0-13 0,0 0-16,1-14 15,-1 27 1,-13-13-16,13 0 16,0 13-1,1 0 1,-14 13-1,0 0-15,0 0 16,0 14 0,0-14-1,13 0 1,13-26 15,1 0-15,-14 13-16,0-13 0,0 13 15,1 0-15,-1 0 16,13 0 0,-26 13-16,14-13 15,-1 0-15</inkml:trace>
  <inkml:trace contextRef="#ctx0" brushRef="#br0" timeOffset="121141.53">13322 6178 0,'0'26'16,"13"-26"-1,-13 14-15,0-1 0,0 0 16,0 0-16,0 1 15,13-14 1,-13 13-16,13-26 16,1 13-1,-1 0-15,0-14 16,0 14 0,1 0-16,-1 0 15,0 0-15,0 14 16,-13-1-1,14-13-15,-14 13 16,13-13 0,0 0-1,0 0 1,0 0-16,1-13 16,-1 13-16,0 0 15,0-13-15,14 13 16,-14 0-1,0 0-15,0 0 16</inkml:trace>
  <inkml:trace contextRef="#ctx0" brushRef="#br0" timeOffset="122004.17">13758 6257 0,'14'-26'16,"-14"13"-1,0-1-15,-14 28 63,14-1-63,-13 0 16,13 0-1,0 1 1,13-1-16,1-13 15,-1 0 1,0 0 0,0-13-16,0 13 0,1 0 15,-14-14-15,13 14 0,0 0 16,0 0 0,14 14-1,-27-1-15,13-13 16,0 13-1,1-13 1,-1 0-16,13 0 31,-13 0-31,1 0 16,-14-13-16,13 13 0,0-13 16,0-1-16,1 1 15,-1 0-15,0 0 0,0-1 16,-13 1-16,14 0 0,-1 0 15,-13 0-15,13-1 16,-13 41 15,0 12-15,0-25-16,0-1 16,0 0-16,0 0 15,0 1-15,0-1 16,-13 0-1,0-26 17,39 0-1,-13-1-31,0 14 16,1-13-16,-1 13 0,0 0 15,0 0-15,1-13 0,-1 13 16,0 0-16,0 0 0,1 0 0,-1 0 15,0-13-15,0 13 0</inkml:trace>
  <inkml:trace contextRef="#ctx0" brushRef="#br0" timeOffset="122310.14">14671 6152 0,'66'0'16,"-39"0"0,-14 0-16,13 0 15,-12 0-15,-1-14 0,0 14 0,0 0 16</inkml:trace>
  <inkml:trace contextRef="#ctx0" brushRef="#br0" timeOffset="122550.33">14870 5874 0,'13'0'0,"0"0"0,0 13 0,0-13 16,27 26-16,-27-12 0,-118-67 15,250 145-15,-132-78 0,1 12 16,12-13-16,-26 0 0,26 27 15,-26-27-15,0 27 0,0-27 16,0 1-16,-13-1 0,0 0 16,13 0-16,-26 0 0,-1 14 15,1-14-15,12-13 0</inkml:trace>
  <inkml:trace contextRef="#ctx0" brushRef="#br0" timeOffset="124993.21">15624 5781 0,'0'13'15,"0"1"-15,0-1 0,0 0 16,-14 0-16,14 1 15,0-1-15,0 0 0,0 0 16,0 0-16,0-26 47,14-13-31,-1 13-1,-13-1-15,13 1 0,0 0 16,-13 0-1,14 13 1,-1 0-16,0 13 0,0-13 16,0 0-16,-13 13 0,14-13 0,-1 13 15,0 1 1,-13-1-16,13-13 16,-13 13-1,14-26 16,-1 0-31,0 13 16,-13-14 0,13 14-16,1 0 0,-1 0 15,0 14-15,0-14 0,0 0 16,1 13 0,-1 0-16,0-13 15,-13 13 1</inkml:trace>
  <inkml:trace contextRef="#ctx0" brushRef="#br0" timeOffset="132239.65">16312 5808 0,'-14'-14'15,"1"14"-15,-13 14 32,12-14-32,-12 26 15,13-13-15,-1 14 16,14-14 0,0 0-1,0 0-15,14-13 16,12-13-1,1 0-15,-14 13 16,0-13-16,0 13 0,-13-13 16,14 13-16,-1 0 15,0 0 1,0 13-16,-13 0 16,13-13-16,-13 13 15,27 0 1</inkml:trace>
  <inkml:trace contextRef="#ctx0" brushRef="#br0" timeOffset="132586.74">16629 5583 0,'0'-14'16,"-13"41"-16,-14 13 15,27-27-15,-13 0 0,13 14 16,-13-14-16,0 13 0,13-13 0,-14 14 16,14-14-16,-13 0 0,13 1 0,0-1 15,-13 0-15,13 0 0,0 1 16,0-1-16,0 0 16,0 0-16</inkml:trace>
  <inkml:trace contextRef="#ctx0" brushRef="#br0" timeOffset="133192.96">16748 5649 0,'-13'0'0,"26"0"0,-39 0 16,12 13-16,1-13 0,0 13 0,0-13 15,0 14-15,-1-1 0,-25 13 16,25-13-16,1 1 16,0 12-1,0-26-15,13 13 16,13 1-1,0-14-15,-13 13 0,13-13 16,1 0-16,-1 0 0,13 0 16,-12 0-1,-1 0-15,0 0 0,0 13 16,0-13-16,1 0 0</inkml:trace>
  <inkml:trace contextRef="#ctx0" brushRef="#br0" timeOffset="133508.71">16867 5808 0,'13'-27'0,"-39"27"31,26 13-15,-13 1 0,13-1-16,0 0 15,13 0 1,0 1-16,0-14 15</inkml:trace>
  <inkml:trace contextRef="#ctx0" brushRef="#br0" timeOffset="134107.89">17515 5345 0,'-26'53'15,"13"-40"-15,13 0 16,-14 27-16,14-14 0,-26 40 15,26-53 1,-13 14-16,13-14 0,0 14 16,-13-14-16,13 0 0,0 0 15,39-39 17,-39 13-17,13 13-15,1 0 0,-1-14 16,0 14-16,0 0 0,1 0 0,-1 0 15,13 0-15,-26 14 16,0-1 0,0 0-1,-13-13-15,13 13 0,-13-13 0,0 14 0,-1-14 16,-12 13 0,13 0-16,-1-13 0,1 0 0,0 0 15,0 0-15</inkml:trace>
  <inkml:trace contextRef="#ctx0" brushRef="#br0" timeOffset="134479.62">17621 5569 0,'0'14'31,"0"-1"0,13 0-31,1 0 16,-14 1-16,13-14 0,0 0 16,0 0-16,1 0 15,-14-14-15,13 14 0,0 0 16,0 0-16,1-13 15,-1 13 17,0 13-17,-13 1-15,13-14 0,-13 26 32,13-13-17,1-13-15</inkml:trace>
  <inkml:trace contextRef="#ctx0" brushRef="#br0" timeOffset="134895.2">18190 5318 0,'0'0'16,"0"40"-1,-13-14 1,0 14-16,13-14 16,-14 14-16,14-27 15,0 1-15,0-1 16,0 0-16,0 0 16,0 0-16,-13-26 46,0 13-30,0 0-16,-14 0 16,14 13-16,-13 1 15,12-1-15,1-13 16,13 13-16,-13 0 16,13 1-16,13-1 15,0-13 1,14 13-16,-14-13 15,14 0-15,-1 0 16,-13-13-16</inkml:trace>
  <inkml:trace contextRef="#ctx0" brushRef="#br0" timeOffset="135823.76">18455 5503 0,'-27'0'0,"14"0"16,0 0-16,0 0 0,-1 14 31,14 12-16,14-13-15,-14 0 16,13 14-16,-13-14 16,0 0-16,13 1 0,-13-1 0,0 0 15,0 0-15,0 1 0,-13-1 16,13 0-16,-13 0 0,-14 14 16,14-14-16,0-13 0,-1 0 15,14 13-15,-13-13 0,0 0 16,0 0-1,26-26 1,0 26 0,0-14-16,1 1 0,-1 13 15,13-13-15,1-13 0,-1 12 16,1-12-16,-14 13 0,0-1 0,14 1 16,-14 0-16,0-14 15,0 14-15,1 0 16,-14 0-16,13 0 0,-40 26 31,27 0-15,-13-13-16,13 13 0,-13 0 15,13 1 1,13-1-16,0-13 16,1 13-16,-1-13 0,0 0 15,0 0-15,0-13 0,1 13 16,-1 0-16,0-13 0,27-1 15,-27-12-15,13 0 0,-12-1 16,-1 14-16,0-14 0,-13 14 16,13-26-16,1 12 15,-1 27-15,-13-13 0,0 0 16,-13 39 15,13-13-31,-14 1 0,14-1 16,0 0-16,0 0 0,0 0 0,0 1 15,0-1-15,0 0 16,0 0-16,14 1 0,-1-14 16,0 13-1,0-26-15,1 13 16,-1 0-16,0 0 0,0 0 0,14 0 16,-14 0-1,13 13 1,-12-13-16,-1 13 15,-13 0-15,13 0 0,-13 1 16,13-14-16,-13 13 0,0 0 16,0 0-16,-13 1 31</inkml:trace>
  <inkml:trace contextRef="#ctx0" brushRef="#br0" timeOffset="136049.56">18627 5437 0,'39'-13'0,"-78"26"0,92-26 16,-27 13-16,0-13 0,1 13 0,13 0 15,-1-13-15,1 13 0,13-14 0,-13 14 16,-14 0-16,14-13 15,-14 13-15,1 0 0,-1 0 0,-13 0 0,1-13 16,12 13-16,-13 0 0,1 0 16,-1 0-16,0 0 15</inkml:trace>
  <inkml:trace contextRef="#ctx0" brushRef="#br0" timeOffset="138231.16">16021 6403 0,'-14'26'47,"1"-12"-47,13 12 15,0-13-15,0 1 16,13-28 47,1 14-63,-14-13 15,13 13 1,0-13-16,0 13 15,0 13 1,-13 0 0,14-13-1,-14 14-15,0-1 0,13-13 32,0 0-17,-13-13-15,13-1 31,14 14-31,-27-13 0,13 13 0,0 0 16,0 0 0,1 0-1,-1 0-15,-13 13 16,13-13-16,0 14 16,1-14-1,-1 0 1</inkml:trace>
  <inkml:trace contextRef="#ctx0" brushRef="#br0" timeOffset="138394.14">16351 6443 0,'27'-27'16,"-54"54"15,54-41-15,-27 41-1,0-14-15,0 0 0,0 1 16,0-1-16,0 0 15,0 0 1,0 0-16</inkml:trace>
  <inkml:trace contextRef="#ctx0" brushRef="#br0" timeOffset="138554.64">16417 6310 0,'-13'-13'16</inkml:trace>
  <inkml:trace contextRef="#ctx0" brushRef="#br0" timeOffset="138934.34">16550 6403 0,'13'26'16,"-13"-12"-1,0 12 1,13-26 0,-13 13-1,13-13-15,1-13 16,12 13 0,1-13-1,-1 13 1,-13 0-16,-13 13 0,13-13 15,1 0-15,-1 13 16,0 1 0,0-14-16,1 13 31</inkml:trace>
  <inkml:trace contextRef="#ctx0" brushRef="#br0" timeOffset="139168.94">16880 6390 0,'0'13'31,"0"0"-15,0 0-1,0 14-15,0-14 16,0 0-16,0 1 16,14-14-16</inkml:trace>
  <inkml:trace contextRef="#ctx0" brushRef="#br0" timeOffset="139338.42">16880 6271 0,'-13'-14'16</inkml:trace>
  <inkml:trace contextRef="#ctx0" brushRef="#br0" timeOffset="140019.36">17039 6337 0,'0'26'0,"-13"-13"16,13 14 0,0-14-16,0 0 15,-13 1 1,13-1 0,13-13-16,0-13 31,0 13-16,1-14 1,-1 14-16,0 0 0,0-13 16,-13 26-1,14-13-15,-1 0 0,0 14 16,0-1 0,0 0 30,1-26-14,-1 0-17,0-1-15,0 14 16,1 0-16,12-13 16,-13 26-1,1-13 1,-1 0-16,-13 14 15,13-1 1</inkml:trace>
  <inkml:trace contextRef="#ctx0" brushRef="#br0" timeOffset="140971.26">17396 6337 0,'0'-13'0,"0"39"31,0-13-31,0 0 16,0 1 0,14-1-16,-1-13 0,0 13 15,0-13 1,0 0-16,1-13 15,-1 13-15,0-13 16,0-1 0,1 1-16,-1 0 15,-13 0 1,13 13 0,-13 13-1,0 0 16,13-13-31,-13 13 0,14 1 16,-1-14 15,13 0-15,-13-14 0,14 14 15,-14 0-31,-13 14 15,13-14 1,-13 13-16,14 0 16,-1-13 31,0 0-32,0 0 1,-13-13-16,14 13 15,-1 0-15,0 0 16,0 0 0,0 13-1,1-13 17,-1 0-1,0 0-16,0 0-15,-13-13 16,27 13 0,-1 13 15,-12-13-15,-1 0-1</inkml:trace>
  <inkml:trace contextRef="#ctx0" brushRef="#br0" timeOffset="141650.36">18269 6218 0,'0'26'31,"0"-13"-15,0 1-16,0-1 0,14-13 0,-14 13 15,13 0-15,0-13 0,-13 14 16,13-14-16,1 0 0,-1 13 15,0-13-15,14 0 16,-14-13-16,0 13 16,0-14-1,0 14-15,1 0 32,-14 14-17,0-1 1,13-13-16,-13 13 0,13-13 15,0 0 1,14 13-16,-14-26 16,0 13-16,1-13 15,-1 13-15,-13-13 16,13 13-16,0-14 0,-13 1 0,13 0 16,-13 0-16,14 13 0,-14-14 15,13 1-15,-13 0 16</inkml:trace>
  <inkml:trace contextRef="#ctx0" brushRef="#br0" timeOffset="142067.78">18865 6191 0,'-13'-13'0,"13"53"16,13-67-16,-40 14 15,14 26-15,0-13 16,-14 27 0,27-14-1,0 0-15,0 0 16,14 1-1,-1-14-15,13 0 32,-12-14-32,-1 14 0,0-13 0,0 13 15,-13-13-15,13 13 16,-13-13-16,14 13 0,-14-14 16,13 14-16,-26 27 46,-1-14-30,14 0 0,14 1-16,-14-1 15,13 0-15,0-13 16</inkml:trace>
  <inkml:trace contextRef="#ctx0" brushRef="#br0" timeOffset="142840.25">19182 6138 0,'-13'-13'16,"13"26"0,0 1-16,0 12 31,0-13-31,13 0 0,-13 1 0,0-1 16,0 0-16,0 0 0,0 1 0,0-1 15,-13-13-15,13 13 0,-13 0 16,13 1-16,-13-14 0,13 13 0,-14 0 15,1-13-15,0 13 0,0-13 16,13 13 0,-14-13-16,41-13 47,13 0-32,-27 0-15,0 13 0,0-13 16,1-1-16,12 1 0,-13 13 15,14-13-15,-14 0 0,0-14 0,14 14 16,-14 0-16,0-1 0,0 14 0,-13-13 16,14 0-16,-14 0 0,13 0 15,0-1 1,-39 28 15,12-1-15,14 0-16,-13 0 15,13 0 1,13-13-16,1 0 31,38 0-15,-12 0 0,0 14 15,-27-1-16,-13 0-15,13-13 0,-13 13 32,-13 1-32,0-1 15,0-13-15,-1 0 16,1 0-16,0 13 16,0-13-16</inkml:trace>
  <inkml:trace contextRef="#ctx0" brushRef="#br0" timeOffset="144899.19">16245 7078 0,'40'-27'31,"-27"27"-31,-13-13 0,14 0 0,-1 13 16,-13-14-16,13 14 0,-13-13 0,13 0 16,-13 0-16,13 13 0,-13-13 15,0-1-15,14 14 16,-14-13-16,-14 40 47,1-14-47,13 13 15,0-13 1,0 1-16,0-1 16,0 0-16,0 0 15,13-13-15,-13 14 0,14-14 0,-1 0 16,0 0-16,14 0 15,12 0 1</inkml:trace>
  <inkml:trace contextRef="#ctx0" brushRef="#br0" timeOffset="145183.25">16629 6932 0,'-13'13'32,"39"-13"-32,-39-13 15,13 53-15,0-27 16,13 0-16,-13 0 16,14 1-16,-14-1 0,13 0 0,-13 0 15,0 14 1,-13-14-16,13 0 15,-14-13-15,1 14 16,0-14-16,0 0 16,13 13-16,-14-13 0,1 0 0</inkml:trace>
  <inkml:trace contextRef="#ctx0" brushRef="#br0" timeOffset="145435.18">16814 6879 0,'14'-26'31,"-1"39"-15,-13 0-16,0 0 0,13 1 15,-13-1-15,0 0 0,0 0 16,0 1-16,0-1 0,0 0 0,0 0 15,0 14-15,0-14 16,0 0-16,0 0 0,0 1 16,0-1-16,0 0 15</inkml:trace>
  <inkml:trace contextRef="#ctx0" brushRef="#br0" timeOffset="145652.45">16775 7051 0,'53'-26'31,"-40"26"-31,13-14 0,-13 14 16,1 0-16,-1 0 0,0 0 15,14-13 1,-14 13-16,0 0 0</inkml:trace>
  <inkml:trace contextRef="#ctx0" brushRef="#br0" timeOffset="145839.44">17052 6959 0,'0'-14'47,"0"94"-16,0-67-31,0 0 16,-13-13-16,13 27 16,0-14-16</inkml:trace>
  <inkml:trace contextRef="#ctx0" brushRef="#br0" timeOffset="145985.64">17052 6853 0</inkml:trace>
  <inkml:trace contextRef="#ctx0" brushRef="#br0" timeOffset="146584.28">17224 6919 0,'14'13'0,"-14"0"16,0 1-1,-14-1-15,14 0 0,0 0 31,-13 0-15,40-13 15,-14-13-15,0 13-16,0 0 16,1 0-16,-1 0 15,0 0 1,0 13-16,-13 1 31,13-14-31,-13 13 0,14 0 31,-1-26 1,0 0-17,0-1 1,14 1-1,-14 13 1,0 0 0,0 13-16,1-13 15,-14 14 17,13-14-32,-13 13 0</inkml:trace>
  <inkml:trace contextRef="#ctx0" brushRef="#br0" timeOffset="147720.53">17687 6919 0,'-13'-13'16,"0"26"15,0 0-31,-1 0 0,1 1 16,0 12-1,0-13 1,13 0 0,13 1-1,0-14 1,0 0-1,1 0-15,-1-14 16,0 28 15,0-1-15,1-13 0,-1 13-1,13-26 1,-12 13-16,-1 0 15,0-13-15,0 13 0,-13-14 16,13 1-16,1 13 0,-14-13 0,13 0 16,0 0-16,-13-1 0,13 1 0,-13 0 15,14-27-15,-1 27 16,-13 0-16,13-1 16,-13 1-16,0 0 15,0 39 16,-13 1-15,13-14 0,0 0-16,0 1 15,0-1-15,0 0 0,13 0 16,0 1-16,1-14 16,-14 13-16,13-13 15,0 0-15,0 0 0,0 0 16,1-13-16,-1 13 15,0 0-15,0 0 16,1 0-16,-1 0 16,0 13-1,-13 0 1,13-13-16,1 13 16</inkml:trace>
  <inkml:trace contextRef="#ctx0" brushRef="#br0" timeOffset="147945.58">17833 6853 0,'0'0'15,"26"0"-15,-12 0 16,25 0-16,-25 0 16,-1-14-16,0 14 0,27 0 15,-27 0-15,0 0 0,0 0 16,1 0-16,-1 0 0</inkml:trace>
  <inkml:trace contextRef="#ctx0" brushRef="#br0" timeOffset="148727.73">18613 6800 0,'0'-13'0,"-13"39"31,13-13-31,-13-13 0,13 13 16,0 1-16,0-1 15,-13 13-15,13-12 0,0-1 16,13 0-16,-13 0 0,13-13 0,-13 14 16,13-14-16,1 13 15,-1-13-15,0 0 0,0 0 16,-13-13-16,14 13 0,-1 0 0,0 0 16,13-14-16,-12 1 15,-1 0-15,0 13 16,-13-13-16,13 13 0,-13 13 47,0 0-32,14 14 1,-1-27-16,0 0 16,0 0-16,14 0 15,-14 0-15,0 0 16,14-27-1,-27 14-15,0 0 16,-14-14 0,14 14-16,-13 13 15,0 0-15,0-13 16,0 26-16,-1-13 16,1 0-16,0 13 15</inkml:trace>
  <inkml:trace contextRef="#ctx0" brushRef="#br0" timeOffset="149084.56">19050 6826 0,'0'13'16,"0"14"15,13-14-31,-13 0 16,0 1-16,0-1 0,13-13 0,-13 13 15,0 0-15,0 1 0,0-1 16,-13 0 0,13 0-16,-13-13 15,0 13-15</inkml:trace>
  <inkml:trace contextRef="#ctx0" brushRef="#br0" timeOffset="149324.23">19262 6734 0,'13'13'16,"-26"-26"-16,26 39 15,-13-13-15,-13 1 0,13-1 0,0 13 16,0-13-16,13 27 16,-13-27-16,0 14 0,0-14 15,13 0-15,-13 1 16,0-1-16,13 0 0</inkml:trace>
  <inkml:trace contextRef="#ctx0" brushRef="#br0" timeOffset="149531.64">19248 6879 0,'14'-13'15,"-1"13"1,0 0-16,0 0 0,1 0 15,-1-13-15,27 13 16,-27 0-16,0 0 0,0 0 0,0 0 16</inkml:trace>
  <inkml:trace contextRef="#ctx0" brushRef="#br0" timeOffset="149882.46">19764 6734 0,'-26'26'15,"13"-13"-15,-1 1 16,1-1-16,13 0 0,-450 66 0,900-145 16,-450 79-16,-450 27 15,913-53-15,-449 26 0,-1 0 16,0-13-16,14 0 15,-14 0-15,0 0 0,0 0 0,1 0 16,12-13-16,-13 13 16,0-13-16,1 0 0,-14-1 15,0 1-15,-14 0 16,14 0-16,-13 13 0,0-27 16,0 27-16,0-13 0,-1 13 15,-12 0 1,-1 0-16,27-13 15,0 39-15,-13-26 0</inkml:trace>
  <inkml:trace contextRef="#ctx0" brushRef="#br0" timeOffset="150336.45">20082 6615 0,'-13'26'31,"13"1"-31,0 12 16,-14-26-16,14 27 0,0-13 15,0-14-15,0 13 0,14 1 16,-14 26-16,0-14 16,0-25-16,13 12 0,-13-13 15,-13 14-15,13-14 0,0 0 16,-14 0-16,14 1 0,-13-14 16,0 13-1,0-26 1,-1 13-16,14-14 15,0 1-15,14-13 16,-1 12-16,0 14 16,-13-13-16,13 0 0,1 0 15,25 0-15,-12-1 0,-14 1 16,27 0-16,-27 0 0,13-1 16,-12 14-16,-1-13 15</inkml:trace>
  <inkml:trace contextRef="#ctx0" brushRef="#br0" timeOffset="150930.36">20704 6469 0,'-14'27'31,"1"-14"-31,13 0 15,0 0-15,-13 40 16,13-40-16,0 1 16,13-1-16,-13 0 0,13-13 15,1 13-15,-1-13 16,0 0-16,14 0 16,-14 0-1,0 14 1,-13-1-1,13 0-15,-13 0 16,0 0-16,0 1 16,13-14-1,-13 13-15</inkml:trace>
  <inkml:trace contextRef="#ctx0" brushRef="#br0" timeOffset="151094.62">20942 6548 0,'-13'-13'15</inkml:trace>
  <inkml:trace contextRef="#ctx0" brushRef="#br0" timeOffset="151432.67">21034 6601 0,'27'119'93,"79"-158"-46,-93 39-31,0 0-16,0 0 15,1 13 1,-14 0-16,13-13 16,-542-238-16,1058 489 15</inkml:trace>
  <inkml:trace contextRef="#ctx0" brushRef="#br0" timeOffset="151599.45">21339 6496 0,'-14'-14'31</inkml:trace>
  <inkml:trace contextRef="#ctx0" brushRef="#br0" timeOffset="151856.09">21431 6628 0,'80'0'109,"-80"-40"-93</inkml:trace>
  <inkml:trace contextRef="#ctx0" brushRef="#br0" timeOffset="152568.17">20730 5014 0,'-92'-13'16,"65"13"-1,-66 13-15,54 0 0,-54 14 16,14-1-1,26-13-15,-13 0 0,26 1 16,14-1-16,-41 0 16,54 0-16,0-13 15,0-13 1</inkml:trace>
  <inkml:trace contextRef="#ctx0" brushRef="#br0" timeOffset="152821.63">20042 4842 0,'-185'264'31,"516"1"16,-265-265-47,0 13 0,0-13 16,66 0-16</inkml:trace>
  <inkml:trace contextRef="#ctx0" brushRef="#br0" timeOffset="153549.8">21325 4591 0,'-39'26'0,"25"-13"15,1 0-15,0 1 0,-13 12 16,12-13-16,1 14 0,0-1 15,13 1-15,0-1 16,13-13-16,0 1 16,27-1-16,-27-13 15,14 0-15,-14 0 0,0 0 16,14 0-16,-14 0 0,0 13 16,0-13-16,1 0 0,-1 13 0,0 1 15,0 12-15,-13-13 16,13 0-16,-13 1 15,0-1-15,0 0 0,0 14 16,14-27-16,-14 13 0,0 0 16,13 0-1</inkml:trace>
  <inkml:trace contextRef="#ctx0" brushRef="#br0" timeOffset="153950.46">21762 4511 0,'-13'27'31,"13"-14"-15,0 13-16,0 1 0,-13-14 16,13 53-16,-14-39 15,14-14-15,0 40 16,0-40-16,-13 13 16</inkml:trace>
  <inkml:trace contextRef="#ctx0" brushRef="#br0" timeOffset="154259.67">21696 4591 0,'132'-53'31,"-92"79"-31,-27-13 16,14 14-16,-14-1 0,-13-13 15,13 14-15,-13-14 16,-13 14-16,13-14 0,-13 0 16,-1 13-16,1-12 0,-13-1 0,12 13 15,-131-250-15,264 462 0,-132-225 0,-14 13 0,14-26 16,-13 14-1,12-14-15</inkml:trace>
  <inkml:trace contextRef="#ctx0" brushRef="#br0" timeOffset="154703.15">22225 4511 0,'-13'106'16,"0"-66"0,13-1-16,0-25 15,-14-1-15,14 0 16,0 13-16,0-12 0,-13-1 15,13 0-15,13-53 32,-13 27-32,14-13 15,-1-27-15,0 13 16,13-26-16,-12 40 0,12-14 16,-13 13-16,-13 14 15,27 0-15,-27 0 0,13 13 16,0 0-1,-145 79-15,264-145 0,-132 79 16,0 0-16,0 1 16,-13-1-16,0 27 0,0-27 0,-1 13 15,1 1-15,-13-1 0,12-13 16,1 14-16,0-14 16</inkml:trace>
  <inkml:trace contextRef="#ctx0" brushRef="#br0" timeOffset="154941.74">22714 4591 0,'-264'145'46,"-93"133"1,357-265-31</inkml:trace>
  <inkml:trace contextRef="#ctx0" brushRef="#br0" timeOffset="155122.53">22807 4683 0,'-899'622'47</inkml:trace>
</inkml:ink>
</file>

<file path=ppt/ink/ink5.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40:54.801"/>
    </inkml:context>
    <inkml:brush xml:id="br0">
      <inkml:brushProperty name="width" value="0.05292" units="cm"/>
      <inkml:brushProperty name="height" value="0.05292" units="cm"/>
      <inkml:brushProperty name="color" value="#0070C0"/>
    </inkml:brush>
  </inkml:definitions>
  <inkml:trace contextRef="#ctx0" brushRef="#br0">15888 1733 0,'13'-13'94,"1"0"-78,-1 13-16,-13-14 15,13 14-15,0 0 0,1-13 0,-1 13 16,0 0-16,0 0 16,1-13-16,-1 13 0,0 0 15,0 13-15,0-13 0,1 0 0,-1 0 0,-13 13 16,13-13-16,-13 14 16,13-14-16,-13 13 0,0 0 0,0 0 15,0 0-15,-13 1 0,0-1 16,13 0-16,-13 14 0,-1-14 15,1 0-15,0 0 0,0 1 0,0-14 16,13 13-16,-14 0 0,1 0 0,0 0 16,0 1-1,-1-1 1,28 0 0,12-13-1,-13 0 1,1 0-16,-1 0 0,0 0 0,13 0 15,-12 0 1,-1 0-16,0-13 0,0 13 0,1 0 16,-1 0-16,0-13 15</inkml:trace>
  <inkml:trace contextRef="#ctx0" brushRef="#br0" timeOffset="604.76">16351 1707 0,'27'-14'15,"-14"1"1,0 13-16,0 0 16,1 0-1,-14-13-15,-27 26 47,14-13-47,0 13 0,-14 1 16,14-14-16,0 0 15,0 13-15,-1-13 16,14 13-16,0 0 16,0 0-16,14-13 15,-14 14-15,13-14 0,0 0 16,0 13-16,0-13 0,1 13 15,-1 0-15,0-13 16,-13 14-16,13-14 0,-13 13 0,14-13 16,-14 13-16,13-13 0,-13 13 0,0 1 15,0-1 1,-13-13-16,13 13 0,-14-13 0,14 13 16,-13-13-16,13 13 0,-13-13 0,0 14 15,-1-14-15,1 0 0,0 13 16,0-13-16,0 13 0,-1-13 15,1 0-15,0 13 0,0-13 16,-1 0-16</inkml:trace>
  <inkml:trace contextRef="#ctx0" brushRef="#br0" timeOffset="845.78">16775 1693 0,'0'0'0,"13"14"15,-26 25 1,-1-26 0,14 14-16,-13-14 0,0 0 15,13 1-15,-13 12 0,-1-13 16,-12 40-16,13-40 15,0 1-15,-1-1 0</inkml:trace>
  <inkml:trace contextRef="#ctx0" brushRef="#br0" timeOffset="1003.57">16589 1865 0,'0'-26'15,"0"13"1,27 26 0,-27 0-1</inkml:trace>
  <inkml:trace contextRef="#ctx0" brushRef="#br0" timeOffset="1119.83">16828 1971 0</inkml:trace>
  <inkml:trace contextRef="#ctx0" brushRef="#br0" timeOffset="2025.41">14883 2024 0,'26'13'16,"1"-13"-16,-14 0 15,0 0-15,0-13 0,1 13 16,-1 0-16,13 0 0,-12 0 16,-1 0-16,13 0 0,-13 0 0,14-13 15,-14 13-15,0 0 0,1 0 16</inkml:trace>
  <inkml:trace contextRef="#ctx0" brushRef="#br0" timeOffset="2244.08">15147 1905 0,'14'0'15,"-1"0"-15,0 0 0,0 0 16,1 13-16,-1 0 0,26 14 16,-25-14-1,-1 14-15,-13-14 0,13 0 16,-26 0-16,13 1 0,0-1 15,-13 13-15,-1-13 0,14 1 0,-13-1 16,0 0-16,-27 14 0,14-1 16</inkml:trace>
  <inkml:trace contextRef="#ctx0" brushRef="#br0" timeOffset="7601.04">17568 1654 0,'0'13'16,"0"13"-16,0-12 16,0 12-16,0-13 15,0 0-15,14 1 0,12 12 16,-26-13-16,13-13 15,27 0-15,-27 0 16,0-13-16,1 13 0,-1-13 16,0 0-16,0-1 0,-13 1 15,0 0-15,0-40 16,-26 27 0,13 26-16,13-14 0,-14 14 15,1 0-15,0 0 0,0 0 16,-1 0-16,1 0 0,13 14 31,27-1-15,-14 0-16,0-13 0,0 13 0,14 1 15,26 12 1,-40 0-16,0-12 0,0-1 0,1 27 16,-14-14-16,13 1 0,-13-14 15,0 13-15,-13 1 16,13-1-16,-14 1 0,1-1 0,0 1 0,-13-1 15,12 14-15,1-27 16,0-13-16,0 13 0,-1-13 16,14 13-16,-13-13 0,26-13 31,14-27-15,-14 27-16,14-13 15,-14-1-15,13 14 0,-13 0 0,1 0 16,12-1-16,-13 1 0,1 13 15,-1-13-15,0 0 0,0 13 16,-13-14-16,14 14 0</inkml:trace>
  <inkml:trace contextRef="#ctx0" brushRef="#br0" timeOffset="11134.33">18494 1561 0,'14'-13'16,"-1"26"-1,0 0-15,-13 1 0,0-1 16,27 26-1,-27-12-15,13 13 16,0-27-16,-13 0 0,0 0 16,13 0-16,-13 1 0,13-1 15,1 0 1,-1-26 0,0 0-16,-13-1 0,13 1 15,1 0-15,-1-13 0,0-1 16,0 1-16,-13-1 0,13 14 15,1-27-15,-1 27 0,-13 0 0,13 0 16,-13-1-16,13 1 16</inkml:trace>
  <inkml:trace contextRef="#ctx0" brushRef="#br0" timeOffset="11537.67">18984 1574 0,'0'0'0,"-13"-13"0,-1 26 31,1 1-31,0-14 0,13 13 15,-13 0-15,-1 0 0,14 0 0,-13 1 16,0-1-16,13 0 16,0 0-16,-13 1 0,26-1 15,0-13 1,0-13 0,14-1-1,-27 1-15,13 0 0,0 0 16,-13-1-1,14 28 17,-14-1-32,0 0 0,0 0 0,0 1 15,13-1 1,-13 0-16,13 0 0,0-13 16</inkml:trace>
  <inkml:trace contextRef="#ctx0" brushRef="#br0" timeOffset="12161.05">19288 1561 0,'-53'0'16,"40"0"-16,0 0 0,0 13 0,-1-13 15,-12 14-15,13-1 0,-27 26 16,27-25-16,-1 12 15,1-13-15,13 1 0,0-1 16,0 0-16,13 0 16,-13 0-16,14-13 0,-1 0 0,0 0 15,0 0-15,1 0 0,-1 0 0,13 0 16,-12-13-16,12 0 0,-13 0 16,0 13-16,14-13 0,-14-1 0,0 1 15,1 0-15,-1 13 0,0-13 16,-13-1-16,13 14 0,1-13 15,-1 26 17,-13 1-32,0-1 15,13 13 1,0-12 0,0-1-1,1-13-15,-1 0 16,0 0-1,0 0-15,1-13 16,-1 13-16,-13-14 16,13 14-16,0 0 15,-13-13-15,13 13 16,1-13 15,-14 26 16,0 0-47,-14 1 31,14-1-31,0 0 16,14 0 0</inkml:trace>
  <inkml:trace contextRef="#ctx0" brushRef="#br0" timeOffset="12496.87">19672 1535 0,'0'-14'16</inkml:trace>
  <inkml:trace contextRef="#ctx0" brushRef="#br0" timeOffset="12852.31">19725 1588 0,'13'13'16,"0"0"-16,-13 0 31,0 0-31,13 1 0,-13-1 16,0 0-1,27-13 17,-14-13-1,0 13-31,1 0 0,12 0 16,-26 13-1,13-13-15,0 0 16,-13 13-16,14-13 0,12 14 15,-26-1-15,13-13 16</inkml:trace>
  <inkml:trace contextRef="#ctx0" brushRef="#br0" timeOffset="13691.8">20135 1574 0,'0'-13'0,"-13"13"16,-1 0 15,1 0-31,13 13 0,-13-13 16,0 14-16,-1-1 15,1 0 1,0 0-16,13 0 15,0 1 1,0-1-16,13-13 16,0 0-1,14 0-15,-14 0 16,0 0 0,1 0-1,-14 13-15,13-13 0,-13 13 16,13-13-1,0 14-15,14-14 16,-14-14-16,0 14 16,0 0-16,1-13 0,-1 13 15,0-13-15,0 0 0,1-1 0,12-25 16,-13 26-16,14-14 0,-14 1 16,0-1-16,0 14 15,1-14-15,-14 14 0,13 0 0,0 0 0,-13 0 16,13-1-16,-13 1 0,0 40 47,-13-14-47,13 13 0,0-13 15,0 1-15,-13 12 0,13-13 16,0 1-16,0 12 0,0 1 16,0-14-16,13 0 0,-13 0 0,13 0 15,1 1-15,-1-14 16,0 13-16,0-13 0,0 0 15,14 0-15,-14-13 16,0 13-16,1 0 16,-1 0-1,0 13-15,0-13 16,1 13-16,-1-13 16,13 0-1,-13 0 1</inkml:trace>
  <inkml:trace contextRef="#ctx0" brushRef="#br0" timeOffset="13847.77">20307 1508 0,'-13'0'0,"39"0"15,-13 0-15,14 0 0,-14 0 16</inkml:trace>
  <inkml:trace contextRef="#ctx0" brushRef="#br0" timeOffset="14167.76">20876 1416 0,'0'-14'15,"0"28"-15,13-1 31,-13 0-31,0 0 0,0 0 16,-13 1-16,13-1 0,0 27 16,0-27-16,0 0 0,0 0 15,0 1-15,0-1 0,0 0 0,0 0 16,0 0 0,-14 1-1,-25-14 1,25 0-1,1 0-15,0 13 0,0-13 0,0 0 16,13 13-16,-27 14 16,27-14-1,0 0-15,40 0 16,13-13 0</inkml:trace>
  <inkml:trace contextRef="#ctx0" brushRef="#br0" timeOffset="14541.97">21643 1429 0,'-13'53'16,"-1"-27"-16,14 1 0,0-1 15,-13 14-15,0 39 16,0-39-16,0-14 0,-1 14 0,1 0 16,-13 13-16</inkml:trace>
  <inkml:trace contextRef="#ctx0" brushRef="#br0" timeOffset="14785.52">21484 1971 0,'-13'27'0,"13"-14"0,13-53 15,-13 53 1,0-26-16,13-13 16,14-40-16,-14 39 0,0-13 15,14 14-15,-14-14 0,0 14 16,14-1-16,-14 14 0,0 0 16,0 0-16,14-1 0,-1 1 15,-12 0-15,-1 13 0,0 13 16,-26 0-1,13 1-15,-13-1 16,-1 0-16,1 0 0,-13-13 0,12 14 16,1-1-16,0-13 15,0 13-15,-1 0 0,1-13 0,0 0 16</inkml:trace>
  <inkml:trace contextRef="#ctx0" brushRef="#br0" timeOffset="15072.01">21908 1548 0,'-14'26'31,"1"14"-15,13-27-16,0 0 0,0 1 15,13-1-15,-13 0 0,14 0 16,12 1-16,-13-1 15,0-13-15,1 0 0,-1 0 16,0 0-16,0-13 16,1 13-16,-14-14 0,0 1 15,0 0-15,-14 13 16,14-13-16,-13 13 0,13-14 16,-26 1-16,12 13 0,1 0 15,0 0-15,0-13 0,0 13 0,-1 0 16</inkml:trace>
  <inkml:trace contextRef="#ctx0" brushRef="#br0" timeOffset="15467.86">22132 1442 0,'14'26'15,"-14"-12"-15,0-1 16,0 13-16,0-12 15,0 12-15,0 14 0,0-1 0,0 1 0,-14 0 16,14-1-16,-13 1 0,13 0 16,0-14-16,-13 1 0,13-14 15,-13 13-15,13-12 0,0 12 0,-14-13 16,14 1-16,0-1 0,-13 0 16,26-39 15,1 12-31,-14 1 15,13-13-15,0 12 0,0-12 16,1 0-16,-1 12 0,0-12 0,0 13 16,1-1-16,-1 1 0,0 0 0,0 0 15,0-1-15,14 14 16,-14-13-16,0 26 16,-13 1-1,-13-1-15,0 0 16,0-13-16,-1 0 15</inkml:trace>
  <inkml:trace contextRef="#ctx0" brushRef="#br0" timeOffset="16084.04">22979 1468 0,'-40'0'0,"14"27"16,13-14 0,13 0-1,0 14-15,0-14 16,13 0-16,-13 1 0,13-1 0,0 0 15,1 27-15,-1-27 0,-13 0 16,13-13-16,-13 13 0,0 1 16,13-1-16,-13 0 0,0 0 15,-13-13-15,13 13 0,-13-13 16,0 14-16,-1-14 0,1 13 16,0-13-16,0 0 0,-1 0 0,1 13 15,0-13-15,-13 0 0,12 0 16,1-13-16,13 0 15</inkml:trace>
  <inkml:trace contextRef="#ctx0" brushRef="#br0" timeOffset="16291.59">23178 1442 0,'26'-13'0,"-26"0"15,13 26 1,-13 0-16,0 0 0,0 0 15,0 14-15,-13-1 0,13 1 16,0-14-16,0 14 0,0-1 0,0 0 16,0-12-16,0 12 0,0 14 15,0-27-15,0 13 0,0-12 16,0-1-16,13-13 0,-13 13 16</inkml:trace>
  <inkml:trace contextRef="#ctx0" brushRef="#br0" timeOffset="16565.02">23125 1680 0,'26'-13'16,"-13"13"-16,1 0 16,-1 0-16,0 0 0,13 0 15,-12-13-15,-1 13 0,0 0 16,14 0-16,-14-14 0,0 14 0,0 0 15,0 0-15,1 0 0,-1 0 16,0 0 0,0 14-16,-13-1 15,0 0-15,0 14 16,0-14-16,0 0 16,0 0-16,0 0 0,0 1 15,0-1-15</inkml:trace>
  <inkml:trace contextRef="#ctx0" brushRef="#br0" timeOffset="16720.91">23535 1535 0,'-14'0'0,"1"0"15</inkml:trace>
  <inkml:trace contextRef="#ctx0" brushRef="#br0" timeOffset="16940.73">23720 1389 0,'0'13'32,"0"1"-32,0-1 0,0 13 0,-13-13 15,-1 54-15,1-41 0,-13 67 16,13-67 0,13 1-16,-14-14 0,14 0 0,0 13 15,-13-12-15,13-1 0,0 0 0</inkml:trace>
  <inkml:trace contextRef="#ctx0" brushRef="#br0" timeOffset="17651.86">23984 1402 0,'-26'119'15,"0"-52"-15,-1-1 16,1-40-16</inkml:trace>
  <inkml:trace contextRef="#ctx0" brushRef="#br0" timeOffset="18916.14">20571 2170 0,'-13'-14'31,"-13"14"-15,12 0-16,1 0 0,0 14 15,0-14-15,-14 13 16,14-13-16,0 13 0,0-13 0,-1 13 0,1 0 15,13 1 1,0-1-16,27 13 16,-14-26-16,-13 14 15,13-1-15,0-13 0,1 13 16,-14 0-16,13 1 0,0-1 16,-13 0-16,0 0 0,0 0 15,-13 1-15,13-1 0,-13 0 16,-1 0-16,1 1 0,-27-1 0,27 0 15,0 0-15,0-13 0,-1 0 16,1 0-16,0 14 0,0-14 0,0-14 16,13 1-1,13 0 1,0 13-16,0-13 0,14-1 16,-14 1-16,27 0 0,-14 0 0,1-1 15,39-12-15,-40 13 0,1 0 16,-14-1-16,13 1 0,-12 0 15,12 0-15,0-14 0,-12 27 16,-1-13-16,0 0 0,-13-1 16,-13 28 15,0-1-31,-1-13 16,1 26-1,13 1-15,-13-27 0,26 13 16,-13 0-16,13 1 15,1-14-15,-1 0 0,27 0 16,-14-14 0,-13 14-16,0-13 0,1 13 0,-1-13 15,0 0-15,0-1 16,27-12-16,-40-1 0,13 14 16,1 0-16,-1 0 0,-13 0 15,13 13 1,-26 39-1,13-26-15,-13 27 16,13-27-16,0 14 16,0-14-16,13 14 0,0-1 15,0-26-15,0 13 16,1 0-16,-1-13 0,0 0 16,0 0-16</inkml:trace>
  <inkml:trace contextRef="#ctx0" brushRef="#br0" timeOffset="19101.91">20915 2262 0,'53'-13'31,"-26"13"-31,26-13 16,-40 13-16,40 0 15,-40 0-15,13 0 0,-12-14 0,12 14 16,-13 0-16</inkml:trace>
  <inkml:trace contextRef="#ctx0" brushRef="#br0" timeOffset="19383.62">21815 2262 0,'-13'0'0,"-14"13"15,14 1 1,0-14-16,0 13 0,-1 0 15,1 0-15,0 14 0,0-14 0,-14 40 16,27-40 0,-13 14-16,13-14 0,0 0 15,0 0-15</inkml:trace>
  <inkml:trace contextRef="#ctx0" brushRef="#br0" timeOffset="19744.83">22079 2342 0,'-79'26'15,"66"-13"1,0 0-16,-1 1 0,14 25 15,0-25-15,0-1 0,14-13 16,-1 13-16,0-13 0,0 13 16,1-13-16,-1 0 0,0 0 0,0 0 15,0 0 1,1-13-16,-1 13 0,-13-13 0,13 0 16,-13-1-16,0 1 15,0 0-15,0 0 0,-13-1 16,0 1-16,13 0 0,-14 13 15,1 0-15,0 0 0,0-13 16,0 13-16,-1 0 16</inkml:trace>
  <inkml:trace contextRef="#ctx0" brushRef="#br0" timeOffset="20018.23">22185 2355 0,'14'0'15,"-1"0"-15,0 26 16,-13-13-16,0 1 16,13-1-1,-13 0-15,0 0 0,13 1 0,-13-1 16,14-13-16,-14 13 0,13-13 0,-13 13 16,13-13-16,0 0 15,1 0-15,-1 0 0,0-13 16,0 13-16,1-13 15,-1 13-15,-13-13 0,13 13 16,0-14-16,0 1 0,1 0 16,-1 13-16,-13-13 15,13-1-15,0 14 16</inkml:trace>
  <inkml:trace contextRef="#ctx0" brushRef="#br0" timeOffset="20149.34">22609 2355 0,'13'13'0,"-13"0"0,0 0 16,0 1-16,0-1 16,-13 0-16,13 0 0,0 1 15,-14-1-15,14 0 16</inkml:trace>
  <inkml:trace contextRef="#ctx0" brushRef="#br0" timeOffset="20295.86">22714 2236 0,'0'-14'16,"0"28"-16</inkml:trace>
  <inkml:trace contextRef="#ctx0" brushRef="#br0" timeOffset="20667.79">22886 2222 0,'14'14'0,"-14"-1"16,0 0-16,-14 0 0,14 1 15,0-1-15,0 0 16,0 0-16,0 1 0,0-1 0,0 0 15,0 0-15,0 0 16,0 1 0,-13-28 31,-13 14-32,-1 14 1,-12 12-1,25-13-15,14 1 16,0-1 0,14 0-16,-1-13 0,0 13 15,0-13-15,1 0 16,-1 0-16,0 0 0,13 0 0,-12 0 16,-1 0-16,0 0 0</inkml:trace>
  <inkml:trace contextRef="#ctx0" brushRef="#br0" timeOffset="21295.83">21458 2725 0,'53'0'0,"-27"0"0,1 0 15,25 0-15,15-13 0,-14 13 0,13 0 16,0 0-16,13 0 0,-13 0 0,14 0 16,-1 0-16,-13-13 0,0 13 15,-13 0-15,0 0 0,0 0 0,-26 0 16,-1 0-16,0 0 0,1 0 16,-27 13-16</inkml:trace>
  <inkml:trace contextRef="#ctx0" brushRef="#br0" timeOffset="21509.62">21603 2897 0,'0'0'0,"66"0"0,-26 0 0,0 0 16,13 0-16,66-13 15,13 13-15,-66 0 0,14 0 16,-14-13-16,0 13 0,-13 0 16,39-13-16,-52 13 0,26 0 15</inkml:trace>
  <inkml:trace contextRef="#ctx0" brushRef="#br0" timeOffset="22269.98">16828 2077 0,'39'-13'0,"-12"13"0,12 0 16,1 0-16,13 0 0,0 0 15,0 0-15,13 0 0,-13 0 0,0 0 16,13 0-16,-13 0 0,0 0 16,0 0-16,0 13 0,-1-13 0,15 0 15,-41 0-15,-13 0 0,1 0 16</inkml:trace>
  <inkml:trace contextRef="#ctx0" brushRef="#br0" timeOffset="22443.87">17119 2143 0,'52'27'16,"-12"-27"-16,0 0 0,13 0 16,0 0-16,0 0 0,13 0 0,13 0 15,0 0-15,1 0 0,-1 0 16,1-14-16</inkml:trace>
  <inkml:trace contextRef="#ctx0" brushRef="#br0" timeOffset="23307.9">15558 3903 0,'26'0'16,"0"13"-16,-12-13 16,25 0-16,-12 0 0,-1 0 15,1 0-15,-1-13 0,14 13 0,-14 0 16,1 0-16,-1 0 0,14 0 16,-27-14-16,14 14 0,-14 0 0,13 0 15,-26-13-15</inkml:trace>
  <inkml:trace contextRef="#ctx0" brushRef="#br0" timeOffset="23573.11">15796 3691 0,'26'0'15,"-13"0"-15,14 0 0,-1 13 16,1 0-16,-1 1 0,14-1 0,-14 0 15,1 0-15,-1 14 16,1-14-16,-1 13 0,1 27 16,-27-39-16,0 12 15,0-13-15,-27 14 0,14-1 16,-14 14-16,1-14 0,-27 1 0,13-1 16,1 1-16,12-1 0,-52 27 15,39-26-15,14-14 0,-1 13 16,-12-13-16,12 1 0</inkml:trace>
  <inkml:trace contextRef="#ctx0" brushRef="#br0" timeOffset="27301.94">15809 1442 0,'-13'0'16,"-14"13"-16,14 0 0,0 1 15,-14 39-15,1-14 0,13 1 16,-1 0-16,1 26 0,-13-13 0,12 13 15,1-13-15,0 13 0,0-13 16,0 0-16,13 39 16,13 1-16,-13-53 0,26-1 15,40 54 1,-26-80-16,0 14 0,-1-14 0,67 0 16,-40-13-16,14-13 0,-1 0 15</inkml:trace>
  <inkml:trace contextRef="#ctx0" brushRef="#br0" timeOffset="28207.76">23945 1032 0,'66'13'0,"-40"0"0,27 14 16,13 26-1,-26-14-15,0 14 0,0 0 0,-14 13 16,0 93 0,-26-79-16,0-1 0,0 13 0,-13 1 15,-13 13-15,-1-13 0,1-14 0,-14 13 16,14-39-16,-27 27 0,0-1 0,13-26 16,-26 13-16,13-26 0,0 0 15,-53 39-15,-26-13 16,79-39-16,-13-14 0,0 0 15,0 0-15</inkml:trace>
  <inkml:trace contextRef="#ctx0" brushRef="#br0" timeOffset="29290.87">16907 291 0,'0'40'0,"0"-14"0,0-13 0,0 14 16,0-1-16,0 1 0,-13-1 15,13 14-15,-14-14 0,14 14 0,0-13 16,-13-14-16,13 13 0,0-13 16,-13 1-16,13-1 0,0 0 0,0 0 0,0 1 15,13-41 17,14-13-17,-14 14-15,0 13 0,0 0 16,14-1-16,-14 1 0,0 0 0,0 0 15,1 13-15,-1 0 0,0 0 0,0 0 16,1 0-16,-14 13 0,13-13 16,0 13-16,-13 0 0,13 1 0,-13-1 15,14-13-15,-14 13 0,0 0 0,0 0 16,13 1-16,-13-1 16</inkml:trace>
  <inkml:trace contextRef="#ctx0" brushRef="#br0" timeOffset="29713.06">17264 542 0,'-13'14'16,"13"-1"-1,-13 0-15,13 0 16,0 1-16,13-1 16,0 0-1,0-13 1,1-13-16,-1 13 16,13-13-16,-13 13 15,-13-14 1,14 28-1,-1 25-15,-13-26 16,0 14-16,13-14 0,-13 14 16,0-14-16,0 13 0,0 1 0,0-14 15,0 13-15,0-12 0,-13 12 16,13-13-16,0 1 0,-13-1 16,-1 0-16,14 0 0,-13 0 0,0-13 15,0 0-15,0 0 16,-1 0-16,1 0 0,13-13 15,0 0-15</inkml:trace>
  <inkml:trace contextRef="#ctx0" brushRef="#br0" timeOffset="30137.05">17462 489 0,'14'0'0,"-14"14"15,0 25 1,0-12-16,0-14 16,0 14-16,0-1 15,0 0-15,0 1 0,0-1 0,-14 1 0,14-1 16,0 1-16,0-14 0,-13 13 0,13-12 16,0 12-16,0-13 0,-13 1 15,13-1-15,0 0 16,13-26 15,-13-14-31,0 14 16,13 0-16,14-66 15,-14 65-15,14-52 16,-14 53-16,0 0 16,0-1-16,1 14 15,-1 0 1,-26 40-1,-1-27-15,1 14 16,0-14-16,13 0 16,-13-13-1</inkml:trace>
  <inkml:trace contextRef="#ctx0" brushRef="#br0" timeOffset="30425.86">17740 595 0,'-13'27'32,"13"-14"-32,-13 0 0,0 0 15,13 1-15,0-1 0,0 0 16,0 0-16,0 1 16,13-1-16,0-13 15,0 0-15,1 0 16,-1 0-16,0 0 15,-13-13-15,13 13 0,-13-14 16,0-12-16,-13 13 16,13-1-16,-13 14 15,0-13-15,-27 13 16,27 0-16,-1 0 16,1 0-16,0 0 15</inkml:trace>
  <inkml:trace contextRef="#ctx0" brushRef="#br0" timeOffset="30696.77">18031 384 0,'14'26'31,"-28"14"-31,14-14 16,0 14-16,0-14 0,-13-12 15,13 12-15,0 1 0,-13-14 0,13 13 16,0-13-16,-13 1 0,13 12 16,0-13-16,-14 1 0,14-1 0,0 0 15,-13 0-15,13 1 16,0-1-16</inkml:trace>
  <inkml:trace contextRef="#ctx0" brushRef="#br0" timeOffset="31096.86">18203 463 0,'0'26'16,"0"-12"0,0-1-16,-13 0 15,13 0-15,-13 1 0,13 12 16,-13-13-1,13 1-15,-14-1 16,14 0 0,14 0-16,-1 0 31,0-13-31,-13 14 0,13-14 16,1 13-16,12 0 15,-13-13-15,0 0 16,1 0-16,-1-13 0,0 13 15,0 0-15,1-13 16</inkml:trace>
  <inkml:trace contextRef="#ctx0" brushRef="#br0" timeOffset="31265.18">18031 556 0,'-13'0'15,"40"0"1,12 0 0,-25 0-16,-1-14 0,13 14 0,-13 0 15,14 0-15,-14 0 0</inkml:trace>
  <inkml:trace contextRef="#ctx0" brushRef="#br0" timeOffset="31753.99">18441 635 0,'27'-26'0,"-14"12"16,-13 1-1,-26 26 17,12 27-17,1-40-15,13 13 0,0 0 16,0 1-16,0-1 0,0 0 0,0 0 15,13 1-15,-13-1 0,14-13 16,-1 13-16,0-13 16,14 0-16,-1 0 0,-13 0 15</inkml:trace>
  <inkml:trace contextRef="#ctx0" brushRef="#br0" timeOffset="31982.15">18746 609 0,'0'-14'0,"0"28"0,13-1 32,-13 0-17,13 0-15,-13 0 0,0 1 16,0-1-16,0 0 16,0 0-16,0 1 0,0 12 15,-13-26-15,13 13 0,-13 1 16,-1-14-1,1 13-15,0-13 0</inkml:trace>
  <inkml:trace contextRef="#ctx0" brushRef="#br0" timeOffset="32150.31">18904 609 0,'14'0'0,"-14"26"31,0-13-15,0 0-16,0 1 0,0-1 16,-14 13-16,14-12 0,0-1 15,-13 0-15,0 0 16,13 1-16</inkml:trace>
  <inkml:trace contextRef="#ctx0" brushRef="#br0" timeOffset="32301.05">18944 503 0</inkml:trace>
  <inkml:trace contextRef="#ctx0" brushRef="#br0" timeOffset="32535.17">19050 569 0,'13'13'15,"-13"0"-15,13 1 0,-13-1 16,0 0-16,14 0 0,-14 0 15,0 1-15,13-1 0,-13 0 0,0 0 16,0 1-16,0-1 16,13 0-16,-26 0 0,13 1 0,-13-1 31,-14 0-15</inkml:trace>
  <inkml:trace contextRef="#ctx0" brushRef="#br0" timeOffset="32992.19">18534 900 0,'185'-14'16,"-132"14"-16,0 0 0,13 0 15,-13 0-15,0 0 0,0-13 0,0 13 16,-27 0-16,14 13 0,-13-13 0,-14 0 16</inkml:trace>
  <inkml:trace contextRef="#ctx0" brushRef="#br0" timeOffset="33223.91">18362 1032 0,'40'0'15,"-27"0"-15,27 0 0,92 0 16,-79-13-16,0 13 16,0 0-16,13-14 0,53 14 15,-53 0-15,40-13 16,-66 13-16,13-13 0,-27 13 0,0 0 15,14 0-15,-27-13 0,14 13 16,-14 0-16</inkml:trace>
  <inkml:trace contextRef="#ctx0" brushRef="#br0" timeOffset="45643.99">19831 635 0,'-27'40'0,"14"-27"15,0 13-15,-14 1 0,1-1 16,-27 27-16,13-13 0,14-14 0,-1 14 16,1-14-16,-27 14 15,40-27-15,-1 1 16</inkml:trace>
  <inkml:trace contextRef="#ctx0" brushRef="#br0" timeOffset="45817.34">20029 688 0,'-40'66'16,"-26"0"0,26-13-16,-12-13 0,-81 79 15,80-66 1,14-14-16</inkml:trace>
  <inkml:trace contextRef="#ctx0" brushRef="#br0" timeOffset="53724.47">17052 3903 0,'-39'119'16,"39"-106"-16,-27 27 0,27-27 15,13-40 17,1-26-32,-1 27 15,0 13-15,0-27 0,1 14 16,-1-14-16,0 13 0,14-12 0,-14 12 15,0 1-15,0-1 0,0 14 0,14 0 16,-27 0-16,13-1 0,0 14 16,1-13-16,12 13 15,-13 13-15,1-13 0,-1 14 0,-13 12 16,13-13-16,-13 14 0,0-14 16,13 80-1,-13-80-15,-13 13 0,13-12 16,0 12-16,0-13 0,0 1 0,-13-1 15,13 0-15,0 0 0,0 0 16</inkml:trace>
  <inkml:trace contextRef="#ctx0" brushRef="#br0" timeOffset="53941.15">17066 3929 0,'13'-13'0,"0"26"0,0-13 16,1 0-16,25 0 15,-26 0-15,1 0 0,-1 13 0</inkml:trace>
  <inkml:trace contextRef="#ctx0" brushRef="#br0" timeOffset="54186.37">17436 3836 0,'13'0'16,"-13"14"-1,13-1 1,-13 0-16,0 0 0,0 1 0,0-1 15,14 13 1,-1-12-16,0-14 31,0 0-15,1-14-16,-1 1 16,0 13-1,0 0 1</inkml:trace>
  <inkml:trace contextRef="#ctx0" brushRef="#br0" timeOffset="54535.69">17687 3863 0,'0'0'16,"-13"0"-1,0 13 1,0 0-1,26 1-15,-13-1 0,13 13 16,-13-12 0,13-1-16,-13 0 0,0 13 0,14-12 15,-14-1-15,13 0 0,-13 0 0,0 1 16,0-1-16,0 0 0,-13 0 16,13 1-16,-14-1 0,14 0 0,-13-13 15,0 13-15,13 0 0,-13-13 0,13 14 16,-14-14-16,1 0 15,13-14 1,13-12 0,1 13-1,-1 0-15,0-1 0,0 1 0,14-13 16,-1 12-16,-12 1 16</inkml:trace>
  <inkml:trace contextRef="#ctx0" brushRef="#br0" timeOffset="55232.86">18177 3757 0,'40'0'15,"-1"0"1,1 0 0,-27 0-16,0 0 0,1 0 15,12 0-15,-13 0 16,1 0-16,-41 0 78,27 13-78,-13-13 16,13 14-16,0-1 0,-13 0 15,13 13-15,0-12 0,-14-1 16,14 13-16,-13-12 0,0 12 0,13-13 16,-27 14-16,14-1 0,0-13 0,0 1 15,0-1-15,-1 0 16,1 0-16,0 1 0,0-1 0,-1-13 0,1 13 15,0-13-15,0 0 0,0 0 16,13 13-16,-14-13 16,41-13 31,-14 13-47,0 0 0,14-13 15,39 13 1,-53-13-16,27 13 15,-27 0-15,13-14 0,-12 14 16,12-13-16,-13 13 0,1-13 0,12 0 16</inkml:trace>
  <inkml:trace contextRef="#ctx0" brushRef="#br0" timeOffset="55689.02">18653 3836 0,'0'-13'16,"-26"26"-1,-1 27 1,1-13 0,13-14-16,-1 13 0,14-12 15,-13-1-15,0 13 16,13 1-16,13-14 0,-13 0 16,13 0-16,1-13 0,-14 14 15,13-14-15,0 0 16,0 0-16,0 0 0,1-14 0,-1 14 0,0-13 15,0 0-15,-13 0 0,14-1 16,-1-12-16,-13 13 0,13-14 16,-13 1-16,0 13 0,0-14 0,0 14 15,0-14-15,13 14 0,-13 0 0,0 0 16,-13 13-16,13-13 0,0-1 16,-13 28-1,13 12 1,0-13-16,0 0 15,0 14-15,0-1 16,0 1-16,0-14 0,0 14 0,13-1 16,-13-13-16,13 0 0,-13 14 0,13-14 15,-13 0-15,14 1 0,-1-1 16,-13 0-16,13 0 16,0 1-1</inkml:trace>
  <inkml:trace contextRef="#ctx0" brushRef="#br0" timeOffset="56552.25">19328 3731 0,'-13'0'0,"-1"0"0,-12 39 15,13-12-15,13-14 16,-14 0-16,14 14 0,0-14 0,0 0 0,0 0 16,0 1-16,14-1 0,-14 0 15,13 0-15,0-13 0,14 14 16,-14-14-16,0 0 0,0-14 15,1 14-15,38-26 16,-38 13-16,-14-1 0,13-25 16,-13 25-16,0-12 0,13 13 15,-13 0-15,-13-14 16,13 14-16,0 0 0,-13 13 16,13-14-16,-14 28 15,14-1 1,14 53-1,-14 0-15,13-26 16,0 66 0,-13-67-16,0 1 0,-13 79 15,-14-53 1,-12-13 0,26-40-16,13 1 0,-14-1 0,1-13 15,13 13-15,-13-13 0,13-13 31,13-27-15,0 14-16,1 12 0,-1 1 0,26-40 16,-12 40-16,-1-13 15,-12 12-15,12 1 0,-13 13 0,0-13 16,1 0-16,-1 13 0,13-13 0,-12 13 16,-1-14-16,0 14 0,0-13 15,1 0-15</inkml:trace>
  <inkml:trace contextRef="#ctx0" brushRef="#br0" timeOffset="57062.93">20360 3572 0,'0'66'0,"-14"-40"0,14-12 0,-13 12 16,13-13-16,-13 14 0,13-1 0,-13-12 16,13-1-16,-13 13 0,13-13 15,-14 1-15,14-1 0,-13-13 0,13 13 16,0 0-16,27-13 31,-1-26-15,-13 26-1,0 0-15,1 0 0,-1 0 0,0 0 16,0 0-16,1 13 0,-1-13 0,13 13 16,-12 1-1,-1-1-15,-13 0 0,13 0 32,-13 1-32,0-1 0,13-13 15,-13 13 1</inkml:trace>
  <inkml:trace contextRef="#ctx0" brushRef="#br0" timeOffset="57968.77">20730 3770 0,'0'-13'0,"0"26"0,-13-13 47,13 14-47,0-1 32,0 13-32,0 1 15,13-14-15,0 0 16,1-13-1,-1 0 1,0-13-16,0 13 16,0-27-1,1 14-15,-14 0 16,13 13 0,-13-13-16,0 39 46,-13-13-30,13 1-16,-14 12 16,14-13-1,0 1 1,14-1 0,-1-13-1,0-13 1,0 13-1,1 0-15,-14-14 0,13 14 0,0 0 0,0-13 16,1 13-16,-1 0 31,0 13-15,-13 1-16,0-1 16,0 0-1,-13 14 1,13-14 15,26-13-15,-13-13-1,1 13 1,-14 13 0,13 0-1,-13 0 16,0 0-31,13-13 32,0-13-17,1 13 1,-1-13-16,0 13 16,0 0-16,14-13 15,-14 13-15,0 0 16,0 0-16,1 0 0,-1 0 15</inkml:trace>
  <inkml:trace contextRef="#ctx0" brushRef="#br0" timeOffset="58462.74">21312 3836 0,'-13'0'0,"-14"14"16,14-1-1,0 0-15,13 0 16,-13-13-16,13 27 16,-13-14-16,26 0 15,0-13 1,0 0-16,14 0 15,-14-13 1,0 13-16,0-13 0,1 13 16,-14-13-16,13 13 0,0-14 0,0 14 31,-13 14-15,0-1-1,14 0 1,-14 0-16,0 1 0,13-1 15</inkml:trace>
  <inkml:trace contextRef="#ctx0" brushRef="#br0" timeOffset="58773.58">21603 3876 0,'-13'13'47,"13"1"-47,-13-1 15,13 0-15,13-13 47,0 0-31,-13 13-16,13-13 15,14 0 1,-14 14 0,0-14-1</inkml:trace>
  <inkml:trace contextRef="#ctx0" brushRef="#br0" timeOffset="60071.63">22265 3823 0,'0'27'0,"0"-14"16,-14 0-16,14 0 0,0 1 0,0-1 16,0 0-16,-13-13 0,13 13 15,0 1-15,0-1 0,-13 0 0,13 0 16</inkml:trace>
  <inkml:trace contextRef="#ctx0" brushRef="#br0" timeOffset="60231.21">22304 3717 0,'0'-13'16</inkml:trace>
  <inkml:trace contextRef="#ctx0" brushRef="#br0" timeOffset="60556.48">22463 3770 0,'-13'14'32,"13"-1"-32,0 0 15,13 27-15,-13-27 16,0 0-16,0 14 15,13-14-15,-13 0 0,0 0 16,0 1 0,-13-1-16,0 0 15,0-13 1,-1 13 0,1-13-1</inkml:trace>
  <inkml:trace contextRef="#ctx0" brushRef="#br0" timeOffset="60850.72">23230 3638 0,'14'0'0,"-14"13"0,0 27 15,-14-27 1,14 0-16,0 1 0,-13 12 0,0-13 16,-13 40-1,12-40-15,14 14 0,-13-14 0,0 14 16,0-14-1,13 0-15,-14-13 16</inkml:trace>
  <inkml:trace contextRef="#ctx0" brushRef="#br0" timeOffset="61188.89">23363 3744 0,'0'0'0,"0"-13"0,-14 39 32,1 1-17,0-27 1,13 13-16,0 0 0,0 0 0,0 0 16,0 14-16,0-14 0,13 0 15,0 1-15,1-1 16,-1-13-16,0 0 0,0 0 15,14 0 1,-27-13-16,13 13 0,0-14 0,14-12 16,-27 13-16,0-1 15,13 1-15,-13 0 0,0 0 16,0 0 0,-13-1-1,0 1-15</inkml:trace>
  <inkml:trace contextRef="#ctx0" brushRef="#br0" timeOffset="61498.15">23641 3717 0,'13'27'16,"-13"-1"-1,13 1 1,-13-14-16,13-13 0,-13 13 16,13 0-16,1-13 0,-1 0 0,0 0 15,14 14 1,-1-28-16,-13 1 16,-13 0-16,13 0 15,-26-14 1,0 1-1,0 13-15,0 13 16,-1 0-16,1 0 0,-13 0 0,12 0 16,1 0-16,0 0 0</inkml:trace>
  <inkml:trace contextRef="#ctx0" brushRef="#br0" timeOffset="63603.9">13428 3585 0,'-14'40'0,"14"-27"16,0 0-16,0 0 0,0 14 0,0-1 16,-13 27-16,13-26 0,0-1 15,0 1-15,-13-1 0,13-13 16,0 14-16,0-14 0,0 0 0,0 1 16,0-1-16,0 0 0,13-26 31,14-27-16,-14 14-15,40-27 16,-53 39 0,26 1-16,-13 13 0,1-13 0,-1 13 0,-13-13 15,13 13-15,0 0 16,1 13-16,12 0 16,-26 0-16,0 1 15,13-1-15,-13 0 16,0 0-16,0 1 15,0-1-15,0 0 0</inkml:trace>
  <inkml:trace contextRef="#ctx0" brushRef="#br0" timeOffset="64040.13">13838 3691 0,'-14'13'32,"1"0"-32,13 14 15,-13-1 1,26-26-1,-13 14-15,13-14 16,1 0 0,-1 0-16,13 0 15,-12 0-15,-1 13 16,0 0-16,0 0 0,14 27 16,-14-14-16,0 14 15,0-13-15,-13-1 0,14 0 0,-14 1 16,0-1-16,0-12 0,0 12 0,0-13 15,-14 40 1,1-53-16,13 13 0,-13 1 0,0-14 16,0 0-1,-1 0-15,1-14 16,0 1-16,0 0 0,13 0 16,-14 0-16,14-1 0</inkml:trace>
  <inkml:trace contextRef="#ctx0" brushRef="#br0" timeOffset="64483.69">14195 3545 0,'0'0'0,"0"27"15,0 13 1,0-14-16,0 0 0,0 27 0,0-13 16,0 0-16,0 13 0,0-14 0,0 1 15,0 0-15,0 26 16,0-40-16,0 1 0,0-14 0,0 0 16,0 1-16,0 12 15,13-52 1,14-67-1,-14 53 1,0 14-16,0-14 0,1 14 16,12-27-16,-13 39 15,0 1-15,1 0 0,-1 13 16,0 0-16,0 0 16,-13 13-16,0 14 15,0-14-15,0 0 0,-13 0 16,13 1-16,-13-1 0,0 0 15,13 0-15,-14-13 0,14 14 16</inkml:trace>
  <inkml:trace contextRef="#ctx0" brushRef="#br0" timeOffset="64875.86">14618 3651 0,'-26'27'0,"13"-27"0,13 13 0,-14 27 16,14-27-16,0 0 15,-13 0-15,13 1 0,13-1 0,-13 0 16,14 0-16,-1 0 16,0-13-16,0 0 15,0-13-15,1 0 16,-14 0-16,13-14 16,-13 1-1,-13 13 1,13-1-16,-14 14 15,-12 0 1,13 0-16,0 0 16,-1 14-1</inkml:trace>
  <inkml:trace contextRef="#ctx0" brushRef="#br0" timeOffset="65255.98">14803 3373 0,'0'0'16,"0"40"-1,0-27 1,0 27-16,-13 0 16,13-14-16,0 1 15,0-1-15,-13 1 0,13-1 0,0 0 0,-13 14 16,13-13-1,0-14-15,0 13 0,-13-12 0,13-1 16,0 0-16,0 0 0,0 0 16,0 1-1</inkml:trace>
  <inkml:trace contextRef="#ctx0" brushRef="#br0" timeOffset="65679.35">14949 3387 0,'0'0'0,"0"26"16,0-13-1,0 1-15,0 12 16,0-13-16,-13 14 0,13-14 0,0 13 0,0-12 16,0 12-16,-14 14 15,1-1 1,13-25-16,0-1 16,13-13-1,1 0-15,-1 0 16,0 0-1,0 0-15,1 0 0,-1 13 16,0 0 0,0 1-16,1-14 15,-1 0-15,-13 13 0,13-13 16,0 0-16,0 0 0,1 0 16</inkml:trace>
  <inkml:trace contextRef="#ctx0" brushRef="#br0" timeOffset="65864.77">14803 3612 0,'0'-14'0,"27"1"31,-27 0-31,13 13 0,0 0 15,14-13-15,-14 13 0,0-14 0,14 14 16,26-13 0,-40 13-16</inkml:trace>
  <inkml:trace contextRef="#ctx0" brushRef="#br0" timeOffset="66238.92">15306 3612 0,'-13'-14'62,"0"28"-46,-1-1-1,14 0 1,-13 13 0,26-12-1,-13-1 1,14 0-16,-1-13 15,0 0 1,27 0-16,-27 0 16</inkml:trace>
  <inkml:trace contextRef="#ctx0" brushRef="#br0" timeOffset="66544.05">15491 3453 0,'-13'13'15,"26"-26"-15,-26 39 0,13-13 16,0 1 0,13-1-16,-13 0 0,0 0 0,14 1 0,-14 12 15,13-13-15,-13 14 16,0-14-1,-13 13 1,13-12-16,-14-1 0,1 0 16,0-13-16,13 13 0,-13-13 15,-1 14-15,1-14 16,0-14 0</inkml:trace>
  <inkml:trace contextRef="#ctx0" brushRef="#br0" timeOffset="66696.33">15610 3506 0,'14'0'15,"-1"13"1,-13 0-16,0 0 0,0 14 16,0-14-16,0 0 15,-13 14 1,13-14-16</inkml:trace>
  <inkml:trace contextRef="#ctx0" brushRef="#br0" timeOffset="67226.14">15835 3387 0,'-13'13'0,"13"0"16,13 27 0,1-27-16,-14 0 15,26 40 1,-13-53-16,-13 13 0,0 1 16,-13 12-1,0-13-15,-14-13 0,14 14 16,-13-1-16,-1-13 0,-26 13 15,27 0-15,-40-13 16</inkml:trace>
  <inkml:trace contextRef="#ctx0" brushRef="#br0" timeOffset="71107.69">22199 4987 0,'39'-13'0,"14"0"15,-26 13-15,-14 0 16,13 0-16,1-13 0,-1 13 0,1 0 0,39 0 16,-40 0-1,-13 0-15,14 0 0,-14 0 0,0 0 16,1 0 0,-54-14 15,13 14-16,14 0-15,0 0 0,0 0 16,0 0 0,-1 0-16,1 14 15,13-1-15,-13-13 16,13 26 0,0-12-16,0-1 0,0 0 0,0 27 15,0-27 1,0 13-16,-13 14 15,-1-13-15,1-14 16,0 0-16,0 0 0,0 1 0</inkml:trace>
  <inkml:trace contextRef="#ctx0" brushRef="#br0" timeOffset="71275.91">22225 5305 0,'13'-27'15,"0"27"-15,14-13 16,-14 13-16,14 0 16,-14 0-16,0-13 0,53 13 15,-53-13-15,54 0 16</inkml:trace>
  <inkml:trace contextRef="#ctx0" brushRef="#br0" timeOffset="71754.92">22834 4987 0,'0'-13'16,"-27"26"0,14 1-1,0-1-15,13 0 0,-40 40 16,40-27-16,-13-12 0,-1-1 15,14 13-15,0-12 16,0-1-16,0 0 0,0 0 0,14 14 16,-1-14-16,13-13 15,-12 0 1,25-13 0,-25 0-16,-1-1 0,0 1 0,0 0 15,0-27-15,1 14 16,-14-1-16,0 14 0,13-13 0,-13-14 15,0 27 1,0-1-16,0 1 0,0 0 16,-13 13-1,-1 13 1,-12 14 0,26-1-16,0-13 0,-13 1 0,13 12 15,0-13-15,-13 14 0,13-14 0,0 0 16,0 14-16,0-14 0,0 0 15,0 0-15,13 14 16,-13-14-16,13 0 0,13 0 16,-12-13-16,-1 14 15,0-14-15</inkml:trace>
  <inkml:trace contextRef="#ctx0" brushRef="#br0" timeOffset="72024.13">23297 5040 0,'79'-13'16,"-53"13"-16,1 0 15,-14 0-15,0 13 0,1-13 16,-1 0-16,0 0 0</inkml:trace>
  <inkml:trace contextRef="#ctx0" brushRef="#br0" timeOffset="72222.78">23257 5212 0,'26'14'16,"-12"-14"-16,-1 0 0,13 0 15,-13 0 1,1 0-16,-1 0 0,13 0 0,1 0 15,-14 0-15,27 0 16</inkml:trace>
  <inkml:trace contextRef="#ctx0" brushRef="#br0" timeOffset="72443.91">23852 5067 0,'0'26'63,"-13"-13"-63,13 1 15,0-1-15,-27 40 16,1-13 0,26-27-1,-13 13-15,13-13 16</inkml:trace>
  <inkml:trace contextRef="#ctx0" brushRef="#br0" timeOffset="72785.97">24117 5067 0,'0'-13'0,"-13"13"16,-1 13-1,1 0 1,0 27 0,13-27-16,-13-13 0,13 13 0,0 0 0,0 1 15,13-1-15,0 0 16,-13 0-16,13-13 16,1 0-16,12 0 15,-13 0-15,0-13 0,1 13 16,-1-26-1,0-1-15,-13 14 0,0 0 16,0-14 0,-13 14-16,13 0 15,-13 0-15,-1 13 16,1 0-16</inkml:trace>
  <inkml:trace contextRef="#ctx0" brushRef="#br0" timeOffset="73081.02">24302 5014 0,'0'13'16,"13"14"0,-13-14-1,27 13-15,-14-13 16,27 14-1,-27-27-15,27 0 16,-27 0-16,0 0 16,0-13-16,0-1 15,1 1-15,-14 0 16,0 0-16,-27-14 16,27 14-16,-13 13 15,0 0-15,-40-13 16,26 13-16,14 0 0,-13 0 15</inkml:trace>
  <inkml:trace contextRef="#ctx0" brushRef="#br0" timeOffset="76932.91">22172 5980 0,'13'-27'0,"27"40"15,0-13-15,-27 0 16,53 14 0,-53-14-16,14 0 0,-1 0 0,1 0 0,-14 0 15,27 0 1,-27 0-16,0 0 0,0 0 0,0 0 16,1 0-16,-1 0 15</inkml:trace>
  <inkml:trace contextRef="#ctx0" brushRef="#br0" timeOffset="77130.84">22490 5966 0,'-14'0'0,"1"0"16,0 14-16,0-14 16,-1 26-1,1-13-15,13 0 0,-13 1 0,0 12 16,13-13-16,-13 1 0,13 12 15,-14-13-15,14 1 0,-13 12 16,0-13-16,13 0 0,-13 1 16,13-1-16,-27 13 15</inkml:trace>
  <inkml:trace contextRef="#ctx0" brushRef="#br0" timeOffset="77349.28">22146 6271 0,'26'-14'15,"-13"1"1,1 13-16,-1 0 0,26 0 16,-25 0-16,12 0 0,27-13 15,-26 13-15,12 0 16,-26 0-16,14-13 0,-14 13 15,27 0 1</inkml:trace>
  <inkml:trace contextRef="#ctx0" brushRef="#br0" timeOffset="79447.05">22820 6046 0,'-13'26'0,"0"-26"0,13 13 0,-13 1 16,13-1-16,-14 0 0,1 40 16,13-40-1,0 0-15,0 1 0,-13-1 0,13 0 16,13-13-16,-13 13 0,0 1 15,13-14-15,1 13 16,12-26-16,-13 13 0,1-14 16,-1 14-16,13-39 15,-13 25-15,1 1 0,-1-13 0,0-1 16,-13 14-16,13-53 16,1 53-16,-14-1 0,0-12 15,0 13-15,0 0 16,-14 13-16,1 13 31,0 0-31,0 40 16,-1-27-16,14 1 15,0-14-15,0 0 16,0 1-16,0-1 0,0 0 0,14 13 16,-14-12-1,0-1-15,13-13 0,-13 13 0,26-13 16</inkml:trace>
  <inkml:trace contextRef="#ctx0" brushRef="#br0" timeOffset="79885.92">23548 6032 0,'-40'0'15,"1"14"1,25-1-16,-39 13 15,40-12-15,0-1 0,-14-13 16,1 26-16,13-26 0,13 14 16,-27-1-16,27 0 15,-13 0 1,26 0-16,-13 1 16,14-14-16,-14 13 0,13-13 15,0 0-15,27 13 16,-27 0-16,0-13 0,0 0 15,27 14 1,-27-14-16,1 0 16,12 0-16,-13 0 15,0-14-15</inkml:trace>
  <inkml:trace contextRef="#ctx0" brushRef="#br0" timeOffset="80267.33">23932 6006 0,'0'-13'0,"0"39"15,0-13 1,0 27-16,-14-27 15,14 1-15,0-1 0,-13 13 0,0-12 16,0 12-16,13-13 16,-14 0-16,14 1 0,-13-1 0,13 0 15,0 0-15</inkml:trace>
  <inkml:trace contextRef="#ctx0" brushRef="#br0" timeOffset="80631.83">24130 6085 0,'0'-13'0,"0"0"15,-26 39 32,12 1-31,1-27-16,13 13 0,-13 0 0,13 1 0,0-1 15,0 0 1,0 0-16,0 0 0,13-13 0,0 14 16,1-14-16,-1 13 15,0-13 1,13-13-16,-12-1 16,-1 1-1,-13 0-15,0 0 16,13 0-1,-26-1-15,13-12 16,-13 26-16,-1-13 16</inkml:trace>
  <inkml:trace contextRef="#ctx0" brushRef="#br0" timeOffset="80902.96">24315 6085 0,'0'14'0,"0"-1"0,0 13 15,0-12 1,13-14-16,14 13 16,-14-13-16,14 0 15,-1 0-15,-13-13 16,1-1-1,-1-12 1,-13 13-16,0-1 0,-27-12 16,14 13-16,-27-1 15,-13 14 1,40 0-16</inkml:trace>
  <inkml:trace contextRef="#ctx0" brushRef="#br0" timeOffset="81694.03">22185 6800 0,'27'0'15,"-1"0"1,-13 0-16,1 13 0,12-13 16,-13 0-16,14 0 0,-1 0 0,-12 0 15,12 0-15,0 0 0,1 0 16,-14 0-16,0-13 0,14 13 16,-14 0-1,-26 0 32,-14 26-31,14-13-16,-13 27 15,-1 0-15,14-27 16,0 0-16,0 1 0,-1-1 16,1 13-16,0-26 0,-27 27 15,40-14-15,-13-13 0,0 13 16,-1 0-1,1-13 1,53 0 15,0-13-15,-1 13-16,-12 0 16,39-13-1,-40 13-15,1 0 0,-14 0 0,13-13 0,-12 13 16</inkml:trace>
  <inkml:trace contextRef="#ctx0" brushRef="#br0" timeOffset="82120.48">22820 6879 0,'-13'-13'0,"0"13"15,-14 13-15,14 14 16,0-14-16,0-13 15,-1 13-15,1 27 16,0-27-16,13 13 16,0-12-16,13-14 0,-13 13 15,13 0 1,1-26-16,25 0 16,-25-1-1,-14 1-15,13-26 16,0 12-16,-13 14 0,0 0 15,0-1 1,0-12 0,-13 52-1,0-12 1,13-1-16,-14 0 16,14 0-16,0 1 0,0 12 15,0-13-15,0 0 0,0 1 16,0-1-16,0 0 0,0 0 15,14 1 1,-1-14-16,0 13 0,0-13 0,1 0 16,-1 0-16,0 0 0</inkml:trace>
  <inkml:trace contextRef="#ctx0" brushRef="#br0" timeOffset="82499.11">23111 6826 0,'27'27'31,"-1"-14"-15,-12 0-1,-1 0-15,0 1 0,13-1 16,-12 0-16,-14 0 0,13 1 16,0-14-16,-13 13 0,13 0 15,1 0-15,-14 0 0,0 1 16,0-1-16,-14 0 16,14 0-16,-13 1 0,-13 12 15,12-13-15,1 1 0,0-1 16,0 0-16,0-13 15,-1 13-15,1 0 0,0-13 16</inkml:trace>
  <inkml:trace contextRef="#ctx0" brushRef="#br0" timeOffset="82764.03">23667 6826 0,'0'13'16,"0"14"-1,-13-1 1,0 1-16,13-14 0,-27 40 15,27-40 1,-13 0-16,0 1 0,13-1 0,0 0 0,-14 0 16,14 1-16,-13-1 15,13 0 1</inkml:trace>
  <inkml:trace contextRef="#ctx0" brushRef="#br0" timeOffset="83104.73">23852 6919 0,'0'-13'0,"-26"26"32,26 13-32,-14-12 15,14 12 1,0-13-16,14 0 15,-1 1-15,0-1 0,14-13 16,-14 13-16,0-13 16,0-13-16,14 13 15,-27-13-15,13 13 0,0-27 16,0 27 0,-13-13-16,0 0 0,0 0 15,-13-14 1,0 27-16,0-13 15,0 13 1</inkml:trace>
  <inkml:trace contextRef="#ctx0" brushRef="#br0" timeOffset="83371.98">24104 6945 0,'0'0'0,"0"14"0,13 12 16,0-13 0,0 0-16,0-13 15,14 0 1,-14 0-16,0 0 0,1 0 16,-1 0-16,0-13 15,-13 0-15,13 13 0,-13-13 16,0 0-16,-13-1 15,13 1-15,-13 13 0,0-13 16,-1 0-16,-25 13 16,25-14-16,1 14 0</inkml:trace>
  <inkml:trace contextRef="#ctx0" brushRef="#br0" timeOffset="84674.05">22079 4643 0,'-26'-13'0,"13"26"16,-27 27 0,14-13-16,-14 12 0,14 14 15,-80 146-15,66-120 16,14 14-16,-14-1 0,13 14 0,-12 106 15,25-106-15,-12-1 16,0 319 0,26-332-16,-14 14 0,14-13 15,0-14-15,14 93 16,-14-93-16,0 1 0,0-14 0,13 0 0,-13 53 16,0-79-16,0 0 0,0-1 15,0-12-15,0-14 0,-13 40 16,13-40-1,0 0-15,0 1 0,13-1 16,0 0 0,0 0-16,0-13 15,67 0 1,-40 0-16,-1 0 0,14 13 0,159-13 31,-40 27-31,-80-27 0,1 13 0,0 0 16,12 1-16,14-14 0,-26 13 15,13 0-15,-13-13 0,12 0 0,186 13 16,-198-13-16,172 14 16,-199-14-1,106 0-15,-133 0 16,1 0-16,-13 0 0,12 0 0,-12 0 16,-1 0-16,-13-14 0,14 14 15,-14 0-15,14 0 0,-14-13 16,13 13-16,-13 0 0,27-13 15,-27 0-15,1 13 0,-1-14 16,13 1 0,-12 0-16,-1 13 0,13-40 15,-13 40-15,1-13 0,-1 0 16,0-14-16,27-12 16,-27 25-16,0 1 0,0 0 15,1 0-15,-1-14 0,0 14 0,0 0 16,14-40-16,13 0 15,-27 13-15,0 1 0,0 12 16,14-26-16,52-119 16,-39 119-16,-1-26 15,14 0-15,80-133 16,-107 159-16,14 0 0,66-132 16,-67 132-16,-12 0 15</inkml:trace>
  <inkml:trace contextRef="#ctx0" brushRef="#br0" timeOffset="85912.8">25387 6006 0,'-225'-1363'0,"106"1324"16,79 26-16,14-1 0,-14 14 16,27-13-16,-14 13 0,-39-26 15,40 12-15,12 1 16,1 13-16,-13-13 0,13 0 16,-1 13-16,-12-14 0,13 1 0,-54-13 15,54 13-15,-40-1 16,40 1-1,0 13-15,-14-13 0,-12 0 16,26-1-16,-1 14 16,1-13-16,-27 0 15,27 13-15,-13 0 16,12-13-16,1 13 0,-13 0 16,13 0-1,-1 0 1,1 0-16,-13 0 15,12 0 1,1-14 0,0 14-16,0 0 0,-1 0 31,1 0-31,0 0 0,0 0 0,0 14 16,-14-14-16,14 0 15,-27 0-15,27 0 16,-53 13-1,53-13-15,-14 0 0,-66 13 16,67-13-16,-27 0 16,13 0-16,14 0 15,-14 0-15,14 0 0,-80 0 16,80 0-16,-14 0 0,0 0 16,14 0-16,-80 0 15,79 0-15,-12 0 0,12 0 16,1-13-16,-14 13 0,-13 0 15,27 0-15,-40 0 16,39 0-16,1 0 16,12 0-16,-12-13 0,13 13 0,-14 0 0,14 0 15,-13 0-15,12 0 16,-12 0-16,13-14 0,-1 14 0,-12 0 16,13 0-16,-40 0 15,40 0-15,-40 0 16,39-13-16,1 13 0,0 0 15,0 0-15,-14 0 16,14 0-16,0 0 16,0 0-16,-1 0 15,1 0-15,0 0 32,0 0-17,0 0-15,-1 13 31,-12-13-15,26 14-16,-13-14 16,-1 13-16,1-13 15,-13 13 1,12 0-16,1-13 0,13 14 0,-26-1 16,13 0-16,-1 0 15,-25 14-15,25-14 16,1-13-16,0 13 0,0 0 0,-1 1 15,1-1-15,-66 53 16,52-39-16,-52 39 16,66-40-16,-14-13 15,14 14-15,-13-1 0,-1 14 16,27-27-16,-13 0 16</inkml:trace>
  <inkml:trace contextRef="#ctx0" brushRef="#br0" timeOffset="99517.83">6032 8837 0,'14'0'93,"-1"0"-93,-13-13 32,0 0-32,13 13 15,-26 13 48,0 0-32,13 0 188</inkml:trace>
  <inkml:trace contextRef="#ctx0" brushRef="#br0" timeOffset="99947">6085 8837 0,'-13'0'32,"0"13"-32,26-26 93,-26 0-61</inkml:trace>
  <inkml:trace contextRef="#ctx0" brushRef="#br0" timeOffset="102164.99">6760 8692 0,'27'13'15,"-14"-13"1,13 0-16,-13 13 0,14-13 0,13 0 16,-14 0-16,1 0 0,-14 0 15,26-13 1,-25 13-16,-1 0 0,0 0 0,0 0 0,1 13 16,-14 0-1,0 0 1,-14 27-16,1 0 15,13-14-15,-13 1 0,0-14 16,13 13-16,-14 1 0,1 39 16,0-53-16,13 40 15,-13-40 1,13 1-16,0-1 16</inkml:trace>
  <inkml:trace contextRef="#ctx0" brushRef="#br0" timeOffset="102656.93">6760 8983 0,'13'-14'15,"14"14"1,-14 0-16,13 0 0,-12-13 15,12 13-15,67-13 16,-67 13-16,67-27 16,-67 27-16,1-13 0,-14 13 15,40-26 1,-40 26-16,0-13 0,1-1 16,-54 28 15,27 12-16,-1-13 1,14 27-16,0-27 16,0 0-16,14 1 0,-14-1 0,13-13 15,13 13 1,-12 0-16,-1-13 0,0 0 0,0 0 0,27-13 16,-40 0-1,13 13-15,-13-13 0,13-1 16,-13 1-16,-13 0 0,-13-27 15,12 27-15,1 0 0,0 0 16,0-1-16,-14 1 16,14 13-16,0-13 0,0 13 0,-14 0 15,14 0-15,0 13 16</inkml:trace>
  <inkml:trace contextRef="#ctx0" brushRef="#br0" timeOffset="102914.03">7964 8718 0,'-53'13'0,"13"14"16,27-1-1,-13-13-15,-1 14 0,14-1 0,-13 1 16,12 12-16,1-12 0,-27 39 16,27-53-16,-27 40 15,40-40-15,-13 1 16,0-1-16,13 0 16</inkml:trace>
  <inkml:trace contextRef="#ctx0" brushRef="#br0" timeOffset="103064.98">7554 8877 0,'0'-13'0,"26"26"47,-12-13-31</inkml:trace>
  <inkml:trace contextRef="#ctx0" brushRef="#br0" timeOffset="103213.22">7924 8996 0,'0'-13'47,"14"13"-32</inkml:trace>
  <inkml:trace contextRef="#ctx0" brushRef="#br0" timeOffset="104531.69">8692 8744 0,'-27'0'0,"14"14"15,0-1-15,13 13 0,-27 14 16,14-27-16,13 14 0,-13-14 15,13 13-15,0-12 0,0 25 16,0-25-16,13-1 16,13 13-1,-12-26-15,-1 0 0,0 14 0,0-28 0,27 14 16,-27-13-16,0 13 16,1-13-16,12-14 0,-13 14 0,-13 0 15,14-14-15,-1-25 16,-13 25-16,0 14 15,0-14-15,-13 14 0,13 0 0,-53-14 16,39 27-16,1-13 16,0 13-16,-13 0 15,12 13-15,1-13 0,13 14 16,13-1-16,1 0 16,25 14-1,-12-14-15,-14 0 0,0 0 16,0 1-16,27 25 15,-40-12-15,27-1 0,-27 1 16,13-1-16,-13 1 0,0-1 0,0 0 16,0 14-16,-13 0 0,-14 26 15,14-26-15,0-14 0,-1 1 16,1-1-16,0-13 0,-27 27 16,40-27-16,-26-13 15,26 13-15,-13-26 16,39-27-1,-13 27-15,0-13 16,1 13-16,12-14 0,-13 14 0,14-14 16,-1 1-16,1 13 0,-14 0 0,0-1 15,40-12 1,-26 13-16,-1-1 0,-13 14 0,1-13 16</inkml:trace>
  <inkml:trace contextRef="#ctx0" brushRef="#br0" timeOffset="104891.71">9631 8612 0,'-13'27'0,"13"-14"0,-14 0 16,14 14-16,-26 65 16,13-52-16,-1-14 0,-12 80 15,26-93-15,-13 14 16,0-1-16,-1 14 15,14-27-15,-13 0 0,13 1 16,0 12 0,0-13-16,0 1 15</inkml:trace>
  <inkml:trace contextRef="#ctx0" brushRef="#br0" timeOffset="105251.87">9538 8705 0,'27'-27'0,"-1"14"16,-26 0-16,27 13 16,-14 0-16,13 0 15,-12 13-15,12 14 16,-13-14-16,-13 0 16,0 0-16,0 0 0,0 1 15,-13 12-15,13-13 0,-13 1 0,-27 25 16,27-12-16,-14-14 15,14 0-15,0 0 16,0-13-16,-1 14 0,1-14 0,0 13 16,0-13-1</inkml:trace>
  <inkml:trace contextRef="#ctx0" brushRef="#br0" timeOffset="105541.46">9684 8850 0,'13'14'16,"-26"-28"-16,26 41 0,-13-14 0,13 13 15,-26-12-15,13-1 16,0 0-16,-13 27 16,13-27-16,-13 0 15,26-39 32,0 26-47,13-27 16,14-12-1,-27 39-15,1-14 0,12 14 16,-26-13-16,13 13 0,14 0 0,-14 0 16,-13-13-16</inkml:trace>
  <inkml:trace contextRef="#ctx0" brushRef="#br0" timeOffset="105784.5">9935 8877 0,'13'13'16,"-26"0"-16,13 0 0,0 1 16,0-1-1,13 0-15,1-13 16,-1 13-16,0-13 16,27 0-1,-40-13-15,13 13 0,0 0 0,0-13 0,-13 0 16,14-14-1,-28 14 1,1-13-16,13 12 16,-13 14-16,0-13 15,-1 13-15,1 0 16,0 0-16</inkml:trace>
  <inkml:trace contextRef="#ctx0" brushRef="#br0" timeOffset="106380.63">10239 8864 0,'27'0'31,"-1"-40"-15,-12 27-16,-1-1 0,0 1 0,0 0 16,0 0-16,1-14 0,-1 14 15,-13 0-15,13 0 0,0-1 0,-13 1 16,14 0-16,-41 39 31,1 54-15,12-41-16,-12 1 0,13 0 15,-40 92 1,40-92-16,-1-1 0,1-12 16,0 13-16,13-14 0,-13 1 0,-1-1 15,14-13-15,-13 0 0,0 14 16,0-27-16,0 0 15,-14 0 1,27-13-16,-13 13 0,0-14 16,-1 1-16,-12 0 15,26 0-15,-13 0 16,13-1 0,13 1-16,-13 0 15,26 13-15,27-27 16,-26 27-16,-1-13 15,1 13-15,-1-13 0,1 13 0,26-13 16,-27 13-16,-13-14 16,14 14-16,-14 0 0,0-13 0,14 13 15,-14-13-15</inkml:trace>
  <inkml:trace contextRef="#ctx0" brushRef="#br0" timeOffset="113164.85">11218 8811 0,'-13'-14'0,"-13"28"0,-14 12 16,27-13-1,-1 14-15,1-14 0,-13 0 16,13 0-16,-1 1 0,14-1 0,-26 27 15,13-40 1,13 13-16,0 0 0,13-13 31,13-13-15,-12 0-16,-1-1 0,0 1 0,13 0 16,-12 0-16,-1-14 15,0 14-15,0 13 0,-13-13 16,14 13-1,-14 13 1,0 0-16,0 27 16,0-14-1,0 1 1,13-14-16,0 0 16,0-13-16,1 0 15,12 0-15,-13-13 16,0 13-16,1-13 0,25-14 15,-39 14-15,40-27 16,-40 27 0,13 0-16,-13 0 0,14 13 0,-14-13 0,13-1 15,-13 1 1,13 0-16,-26 39 47,13-12-47,-13 25 15,13-26 1,0 1-16,13-1 16,-13 0-16,13 0 15,0-13-15,0 0 0,14 0 16,-14 0-16,0-13 16,1 13-16,-1-13 0,13 0 0,-12-1 15,-1 14-15,0-13 0,-13 26 47,0 1-31,0 25-1,13-25-15,14-1 16,-14 0-16,13-13 0,-12 0 16</inkml:trace>
  <inkml:trace contextRef="#ctx0" brushRef="#br0" timeOffset="114080.73">12263 8639 0,'-13'39'16,"13"-25"-16,-13-1 15,0 13-15,0 1 0,-1 12 0,-39 54 16,27-67 0,13 14-16,-1-13 0,1-14 0,0 0 15,13 0-15,-13 1 0,13-1 0,0 0 16,0 0 0,39-13-1,-25-13-15,-1 13 0,13-13 0,1-14 16,-1 14-1,-12 0-15,12-14 0,-13 14 0,0 13 0,1-26 16,-1 26-16,-13-14 16,-13 41 31,-1-1-47,14-12 15,0-1-15,14 0 16,-1 0-1,0-13 1,0 0-16,-13-13 0,14 13 16,-14-13-16,0 0 0,13 13 15,-26-40 1,13 27-16,-14-1 16,14 1-1,-13 13-15,13-13 16</inkml:trace>
  <inkml:trace contextRef="#ctx0" brushRef="#br0" timeOffset="114347.93">12396 8890 0,'13'26'15,"0"-12"-15,0 12 16,-13-13-1,14-13 1,-1 14-16,0-14 16,0-14-1,-13 1 1,0 0 15,-13 13-31,0 0 0,0 0 16,-1 0-16,1 13 15,0-13-15</inkml:trace>
  <inkml:trace contextRef="#ctx0" brushRef="#br0" timeOffset="114604.94">12779 8731 0,'14'-13'16,"-28"26"-16,28-39 0,-14 52 31,-14-13-31,1 1 16,13 12-16,-26 1 0,12-1 0,-38 53 16,25-65-16,14 12 15,0-13-15,-1 1 0,1-1 16,13 0-16,-13 0 0,13 1 0,-13-14 15,13 13-15,0 0 0,13-13 16</inkml:trace>
  <inkml:trace contextRef="#ctx0" brushRef="#br0" timeOffset="114981.95">12885 8890 0,'-66'0'16,"0"13"-16,39 0 16,14-13-16,0 14 0,-13-14 15,12 13-15,1-13 0,13 13 0,-13-13 16,13 13-16,-13-13 0,13 14 16,13-1-1,0-13-15,0 13 0,40-13 16,-40 0-16,1 0 15,-1-13-15,0 13 0,14 0 16,-14 0-16,0-13 0,0 13 0,14 0 16,-27-14-1,13 14-15,0 14 16,-13-1 0,-13-13-1,13 13-15,0 0 0,-13-13 0,13 14 16,0-1-16,-13-13 15,13 13-15,0 0 16</inkml:trace>
  <inkml:trace contextRef="#ctx0" brushRef="#br0" timeOffset="115124.85">13004 8903 0,'0'-13'0</inkml:trace>
  <inkml:trace contextRef="#ctx0" brushRef="#br0" timeOffset="115713.44">13163 8916 0,'-13'14'16,"-14"25"-1,27-25-15,-13-1 0,13 0 16,0 0-16,-13 1 0,13-1 0,0 0 16,-13 0-1,13 0-15,13-26 47,0 13-31,0-13-16,1 0 15,-1 13 1,0 0-16,0 13 16,0 0-1,1 0 1,-1-13-16,13 14 15</inkml:trace>
  <inkml:trace contextRef="#ctx0" brushRef="#br0" timeOffset="116057.73">13494 8983 0,'-13'-14'0,"-1"41"16,14-14-16,0 0 16,-13 1-16,0 25 15,0-12-15,13-14 16,-14 0-16,1 14 0,-13-1 16,12-13-16,-12 1 0,13-1 15,0-13-15,-1 13 0,1-13 0,-13 13 16,52-39 15,-13 26-15,1-13-16,-1-1 0,13 14 0,1-13 15,-1 0-15,-13 13 0,14-13 16,-14-1-16,14 14 0,-14 0 0,13-13 16,-13 13-16,14-13 0,-14 13 15,14 0-15</inkml:trace>
  <inkml:trace contextRef="#ctx0" brushRef="#br0" timeOffset="121046.63">14420 8705 0,'0'-13'0,"-13"39"31,-1 40-15,1-39-16,13 12 0,-13 1 0,0 0 0,13-1 15,-27 54 1,27-67-16,-13 1 0,13-14 0,0 0 16,-13 1-16,13-1 0,0 0 15,0 0-15,-27 14 16,27-14-16,-13-13 0,0 0 16,-14 0-1,14-13 1,0 13-16,13-13 0,-13-1 15,13 1-15,0 0 16,0 0-16,13-1 0,-13 1 16,26 0-16,-12-14 0,12 14 0,1-13 15,-1 13-15,0-14 0,1 14 0,-1 0 16,-12-1-16,-1 1 16,0 0-16,0 13 0,0-13 0,14-1 15,-14 14 1,-13 14-1,0-1 1,0 0-16,0 0 0,13 14 16,-13-14-1,0 0-15,14-13 0,-14 14 0,13-14 16,-13 13-16,13-13 0,0 0 16,1 0-1,-1-13 1,0-1-16,0 1 15,-13 0-15,0 0 16,13-1 0,-13 1-16,27 26 31,-27 1-31,13 12 16,-13-13-16,0 1 0,0-1 15,0 0-15,0 0 16,0 0-1,13-13 1,1 0-16,12-26 16,-13 13-1,1 0-15,-1-1 0,26 1 16,-25 0-16,-1 13 0,0-13 16,27 13-1</inkml:trace>
  <inkml:trace contextRef="#ctx0" brushRef="#br0" timeOffset="121841.05">15465 8850 0,'26'0'31,"-12"0"-31,-1 0 16,0 0-16,14 0 15,-14 0-15,0 0 0,0 0 0,0 0 16,1 0-16,-1 0 16,-13 14-1,13-14-15,-13 13 0,13 13 16,-13-13-16,0 14 0,0-14 16,0 0-16,0 1 0,0-1 15,0 13-15,0-12 0,0-1 16,0 0-16,-13 13 15,0-12-15,13-1 0,-13-13 0,13 13 16,-14-13-16,1 13 0,0-13 16,0 14-16,0-14 0,-1 0 15,1 0-15,0 0 16,26-14 15,0 1-31,14 0 16,-14 0-16,13-1 0,-12 14 15,-1-13-15,0 0 0,14-13 16,-14 26 0,0-14-16,-13 28 31,0-1-15,0 0-16,13 0 0,-13 0 15,0 1-15,13-14 16,-13 13-16,14-13 0,-1 13 15,0-13-15,0 0 0,1 0 0,-1 0 16,0 0-16,0 0 0,1-13 16,-1 13-16,0-13 15,-13-1-15,0 1 0,0 0 16,0 0-16,-13 13 16,13-13-16,-27-1 15,14 14-15,0 0 16,0-13-1</inkml:trace>
  <inkml:trace contextRef="#ctx0" brushRef="#br0" timeOffset="122207.79">16060 8824 0,'0'26'15,"0"-12"-15,0-1 0,-13 13 16,13-13-16,0 1 16,-13 12-16,0-13 0,13 14 0,-14-1 15,1-12-15,13-1 0,-13 0 0,13 0 16,0 0-16,0 1 0,0-1 16,0 0-1,13-13-15,0 0 0,1 0 16,-1-13-16,0 13 0,0 0 15,0 0-15,1 0 0,12 0 0,-13 0 16,1 0-16,-1 0 0,0 13 0,0-13 16,0 0-16,1 13 15,-14 1-15,-14-1 16,14 0-16,-13-13 0,0 13 16,0-13-16,0 14 15,-1-14-15,1 13 0,0-13 16,0 0-16,-1 13 0</inkml:trace>
  <inkml:trace contextRef="#ctx0" brushRef="#br0" timeOffset="123469.02">16894 8850 0,'-27'0'32,"54"0"-32,-67 0 0,27 14 0,-14-1 15,14 0-15,0 0 16,0 14-16,-1-14 0,1 13 16,13-12-16,0 12 0,0-13 15,0 1-15,0-1 0,0 0 0,13 0 16,1 14-16,-1-14 15,0-13-15,0 13 0,14 0 0,-14-13 16,0 0-16,14 0 16,-1-13-16,-13 13 0,1-13 15,25-14-15,-12 1 0,-14 0 0,13-1 16,-12 1-16,12-1 0,-13 1 16,1-1-16,-1 1 0,0-1 15,0 14-15,-13 0 0,13 0 16,-13-1-1,-13 41 1,13-14 0,-13 0-16,13 1 0,-13 12 15,0-13-15,13 0 0,-14 1 16,1 12-16,13-13 0,-13 1 0,13-1 16,-13-13-16,13 13 0,0 0 15,0 1 1,13-14-1,0 0-15,0 0 16,-13 13 0,14-13-16,-1 13 15,0-13-15,0 0 0,-13 13 0,27-13 16,-14 13-16,0-13 16,0 0-16,14 0 15,13 0-15,-27 0 0,13 0 0,-13 0 16,14 0-16,-14-13 15,0 13-15,1-13 0,-1 13 0,0-13 0,0 0 16,0-1-16,1 1 16,-14 0-16,13 13 15,-13-13-15,0-1 0,0 1 16,0 0 15,-27 26-15,14 0-16,0 1 0,0-1 15,0 0-15,13 0 16,-14-13-16,14 14 0,0-1 16,-13 0-16,13 0 15,0 0 1,13-13 0,1 0-1,-1-13-15,13 0 31,-13 0-31,1 13 16,-1 0 0,0 13-1,-13 0 1,0 0 0,0 1-1,0-1 1,27-26 31,-14 13-32,13 0 1,-12-14 0,-1 14-16,13 14 15,-13-14 1,1 0-16,-1 0 0,0 0 15,0 0-15</inkml:trace>
  <inkml:trace contextRef="#ctx0" brushRef="#br0" timeOffset="124232.81">17899 8956 0,'0'-13'0,"-13"26"78,0-13-16,-1 0-46,1 13 0,0-13-1,0 14 1,13-1-16,0 0 16,0 0-1,13 1 1,0-14-1,0 13-15,1-13 16,-1 0-16,0 13 0,0-13 16,1 13-1,-14 0-15,13 1 16,-26-1 0,13 0-16,0 0 0,-14-13 15,14 14-15,-13-14 0,0 13 0,0 0 16,-1-13-16,1 13 15,0 1 1,0-14-16,13-14 31,13 1-31,13-13 16,-12 12-16,39-12 0,-27-1 16,0 14-16,1 0 15,26-13-15,-13 12 16,-14 1-16,-13 13 15,-13-13-15,13 13 0</inkml:trace>
  <inkml:trace contextRef="#ctx0" brushRef="#br0" timeOffset="124852.94">17383 9393 0,'-13'39'16,"13"-25"-16,-13-1 15,-1 13-15,14 1 16,-13-14-16,13 13 0,0-12 16,0 12-16,0-13 0,27 27 31,-14-27-31,27 1 0,-14-14 16,40 13-16,-26-13 0,0 0 15,-1 0-15,54 0 0,-53 0 16,-1 0-16,-12 0 0,-1-13 15,27-1-15,-26 14 0,-14 0 16,0-13-16</inkml:trace>
  <inkml:trace contextRef="#ctx0" brushRef="#br0" timeOffset="125133.75">17912 9446 0,'27'0'16,"-14"13"-16,0-13 15,0 13-15,14 0 0,-1 1 16,1 12-16,-14-13 16,14 14-16,-14-1 15,0-13-15,-13 14 0,-212-212 16,411 396-16,-199-197 15,-13-1-15,-1 0 0,-12 0 0,13 0 16,-54 14-16,41-14 0,-27 14 16,40-14-16,-27 0 15,14 0-15</inkml:trace>
  <inkml:trace contextRef="#ctx0" brushRef="#br0" timeOffset="130391.68">18772 9366 0,'-13'80'0,"0"-54"15,13-13-15,-14 1 0,14-1 0,-13 13 16,13-13-16,-13 1 0,13-1 16,-13 0-16,13 0 0,0 1 0,-13-1 15,13 0-15</inkml:trace>
  <inkml:trace contextRef="#ctx0" brushRef="#br0" timeOffset="130695.64">18772 9393 0,'53'-27'0,"-40"27"0,1 0 16,-14 13-16,13-13 0,0 14 0,0-14 15,0 13-15,-13 27 0,0-27 16,0 27 0,0-27-16,-13 0 0,13 13 0,-13-12 15,-13 12-15,12-13 0,1 1 0,0-1 0,0 0 16,-14 0-16,14 1 16,0-1-16,-1-13 0,1 13 15,0-13-15,13 13 0,-13-13 0,0 0 16</inkml:trace>
  <inkml:trace contextRef="#ctx0" brushRef="#br0" timeOffset="131025.77">19116 9419 0,'-26'13'31,"26"1"-31,0-1 0,0 0 16,0 0-16,0 1 0,0-1 0,0 13 16,0-13-16,13 1 0,-13-1 15,0 0-15,0 14 0,0-14 0,0 0 16,-13 0-16,13 1 0,-14 12 15,1-26-15,0 13 0,0 0 16,0-13-16,-1 14 0,1-14 16,0 13-16,0-13 0,-1 0 0,1 0 15,13 13-15,-13-13 16</inkml:trace>
  <inkml:trace contextRef="#ctx0" brushRef="#br0" timeOffset="133357.93">19936 9353 0,'-79'26'15,"66"-12"-15,0-1 16,13 0 0,0 0-16,13 1 15,0-1-15,0 0 0,-13 0 16,40 14-1,-27-14-15,0 0 0,-13 0 16,14-13-16,-14 14 0,0-1 16,-14-13-1,1 13-15,0 0 0,0-13 16,-1 14-16,1-14 0,-13 0 0,13 13 16,-1-13-16,1 0 15,0 0-15,0 0 0,-27 13 16,27-13-16,-1 0 15</inkml:trace>
  <inkml:trace contextRef="#ctx0" brushRef="#br0" timeOffset="134680.64">20122 9472 0,'0'0'0,"-14"0"0,1 13 16,0-13-16,13 14 15,-13-14-15,13 13 0,-14-13 16,14 13-16,0 0 15,0 0 1,0 1-16,14-14 16,-1-14-1,0 14 1,0-13 0,1 0-16,-14 0 15,0 0-15,13 13 16,-13 26 15,0-13-31,-13 14 16,26-14-16,-13 0 15,13-13 1,13 0 0,-12-13-1,-1 0-15,0-1 0,0 1 0,14-13 16,-27-1-16,13 14 0,0-13 15,14-1-15,-14 1 0,0 12 16,-13 1-16,13 0 0,1-13 16,-1 26-16,-13-14 0,13 1 15,-26 40 17,13-14-32,-13 26 15,-1-12-15,1 13 16,26-1-1,-13-25-15,14-1 16,-14 0-16,13-13 0,0 13 16,0-13-16,1 13 0,-1-13 15,0 0-15,0 0 0,14 0 16,-14-13 0,0 13-16,0 0 0,-13-13 15,14 13-15,-14-13 0,13 13 0,-13-13 16,13 13-16,-13-14 0,13 1 15,-13 0-15,-13 13 32,0 13-17,0-13 1,13 13-16,-14 1 16,14-1-1,14-13 1,-1 0-1,0 0 1,0-13 0,1 13-1,-1 0 1,0 13 0,0 0-16,1 0 31,-1-26 0,-13 0 0,13 13-31,-13-13 0,13 13 0,0-14 16,1 14-16,-1 0 16,-13-13-16,13 13 0,0 0 15</inkml:trace>
  <inkml:trace contextRef="#ctx0" brushRef="#br0" timeOffset="134860.64">21101 9432 0,'13'27'0,"-26"-14"16,13 0-16,0 1 0,-14-1 15,14 0-15,0 0 0,-13 0 16,13 1-16,-13-1 0,13 0 16</inkml:trace>
  <inkml:trace contextRef="#ctx0" brushRef="#br0" timeOffset="135020.74">21101 9340 0,'0'0'0,"-14"-13"15</inkml:trace>
  <inkml:trace contextRef="#ctx0" brushRef="#br0" timeOffset="135309.69">21140 9525 0,'-13'26'0,"13"-12"0,-13-1 31,13 0-31,13-13 31,0 0-15,27 0-1,-27-13-15,0 13 16,14 0-16,-14 0 0,13 0 16,1 13-16,-14-13 0,0 13 15,14-13-15</inkml:trace>
  <inkml:trace contextRef="#ctx0" brushRef="#br0" timeOffset="135657.76">22251 9353 0,'-26'53'15,"26"-40"-15,-13 0 16,0 1-16,-1 25 16,1-12-16,0-14 0,13 0 15,-13 0-15,13 1 0,0 12 16,-14-13 0</inkml:trace>
  <inkml:trace contextRef="#ctx0" brushRef="#br0" timeOffset="136271.93">22132 9313 0,'14'0'0,"-1"0"15,-40 0-15,67 0 0,-27 0 0,27 0 32,-27 14-32,-13-1 15,0 0 1,-13 0-16,0 0 15,0-13-15,13 14 0,-14-14 0,14 13 16,-13 0-16,0 0 16,26 1-1,0 12 1,1-13-16,-14 1 0,13-1 16,-13 0-16,0 0 15,0 0-15,0 1 0,0-1 16,0 0-16,-13-13 0,13 13 15,-14-13-15,14 14 0,-13-14 0,0 13 16,0-13-16,-1 0 16,1 13-16,0-13 15</inkml:trace>
  <inkml:trace contextRef="#ctx0" brushRef="#br0" timeOffset="136784.87">22503 9406 0,'-13'0'0,"-27"13"16,40 0-16,-13-13 0,-14 27 31,14-14-31,13 0 0,-13 1 0,13-1 16,13 0 0,0-13-1,14 0 1,-14 0-16,0-13 0,0 13 15,1 0 1,-1 0 0,0 13-1,-13 0 17,13-13-17,0 0 1,-13 13-1,14-13 1,-1 0-16,0 14 16,14-14-1,-14 0 1,13 0-16</inkml:trace>
  <inkml:trace contextRef="#ctx0" brushRef="#br0" timeOffset="137082.18">22781 9459 0,'0'-13'0,"0"39"32,-14 1-17,1-27-15,13 13 0,0 0 16,-13 0-16,0-13 0,13 13 0,-14 1 15,1-1-15,13 0 0,-13-13 16,0 13-16,0 1 16,-1-14-1,14 13-15,27-26 32,-1-1-17,-13 14 1,1 0-16,-1-13 0,0 13 0,14-13 15</inkml:trace>
  <inkml:trace contextRef="#ctx0" brushRef="#br0" timeOffset="137396.65">23799 9472 0,'-26'40'16,"13"-14"-16,-14 14 16,14-27-1,13 0-15,-13 1 0,13-1 16,-14 0-16</inkml:trace>
  <inkml:trace contextRef="#ctx0" brushRef="#br0" timeOffset="137831.9">23918 9472 0,'-13'40'16,"13"-27"-16,-13 0 16,13 0-16,0 1 0,0-1 15,0 0-15,-13-13 0,13 13 16,0 1-16,0-1 0,-14-13 16,14 13-16,0 0 15,-13 1-15,0-1 16,-14 0-1</inkml:trace>
  <inkml:trace contextRef="#ctx0" brushRef="#br0" timeOffset="138396.74">20889 10332 0,'-27'40'31,"14"-14"-31,0 1 16,13-14-16,-13 0 0,13 0 16,0 1-16,-14-1 0,14 0 0,0 0 15,0 0-15</inkml:trace>
  <inkml:trace contextRef="#ctx0" brushRef="#br0" timeOffset="138725.68">20995 10372 0,'-40'26'16,"40"-13"-16,0 1 0,-13-1 16,13 0-16,0 14 15,13-1-15,0-13 16,0 0-1,1-13-15,-1 0 0,13 0 16,14 0 0,-27 0-16,1-13 0,-1 0 0,0 13 15,0-26-15,-13 12 0,13 14 16,-13-13-16,0 0 0,14 0 16,-28-1-1,1 1-15,0 13 16,-13 0-1,12 13-15,1-13 16,0 0-16</inkml:trace>
  <inkml:trace contextRef="#ctx0" brushRef="#br0" timeOffset="138936.74">21484 10345 0,'0'0'0,"-13"27"16,0-14-1,-1 0-15,1 0 0,0 1 16,0-1-16,0 13 0,-1-12 16,1-1-16,0 0 0,-14 27 15,14-40-15,13 13 0</inkml:trace>
  <inkml:trace contextRef="#ctx0" brushRef="#br0" timeOffset="139092.74">21312 10385 0,'0'0'16</inkml:trace>
  <inkml:trace contextRef="#ctx0" brushRef="#br0" timeOffset="139273.76">21458 10491 0,'13'0'0,"-26"0"16,26 13 0,0-13 15</inkml:trace>
  <inkml:trace contextRef="#ctx0" brushRef="#br0" timeOffset="139779.76">22000 10239 0,'-26'53'0,"12"-26"16,-25 26 0,26-40-16,13 0 0,-14 0 15,14 1-15,-13-1 0,13 0 16,13-13 0,1 0-1,12 0 1,-13 0-16,0 0 15,14 13 1,-14 1 0,0-14-16,-13 13 0,14-13 15,-1 0-15,-13 13 0,13-13 16,0 0-16</inkml:trace>
  <inkml:trace contextRef="#ctx0" brushRef="#br0" timeOffset="139933.12">22265 10398 0,'13'0'0,"-26"0"16,13 13-1,-14 14 1,14-14 0,-13-13-16,13 27 15,-13-27-15,13 13 0</inkml:trace>
  <inkml:trace contextRef="#ctx0" brushRef="#br0" timeOffset="140085.07">22291 10345 0,'13'0'16,"-13"-13"-16</inkml:trace>
  <inkml:trace contextRef="#ctx0" brushRef="#br0" timeOffset="140497.81">22437 10332 0,'0'26'0,"0"-12"16,-14 12-1,1-13 1,13 1 0,-13-1-1,53-26 17,-27 13-32,0-14 15,0 14-15,1 0 16,-1-13-16,0 13 15,0 13-15,0-13 0,1 0 16,-1 0-16,13 14 16</inkml:trace>
  <inkml:trace contextRef="#ctx0" brushRef="#br0" timeOffset="141425.67">22516 10398 0,'-40'13'0,"27"-13"0,0 14 16,-14-1 0,27 0-16,-13 0 0,13 1 15,13-1 1,27-13-1,-27 0-15,14-13 16,-14 13-16,0 0 16,0 0-16,1 0 0,-1 0 15,0 0-15,-13 13 0,13-13 0,1 0 16,-14 13-16,13 0 16,-13 0-16,0 1 0,-13-1 15,13 0-15,-14 14 0,14-14 0,-13 0 16,0 0-16,-14 0 15,14 1-15,0-14 0,0 13 0,0 0 16,-1-13-16,14 13 0,-13-13 0,0 0 16,13 14-16,-13-14 15,26-27 17,0 27-32,-13-13 15</inkml:trace>
  <inkml:trace contextRef="#ctx0" brushRef="#br0" timeOffset="142009.92">22834 10266 0,'0'26'16,"-14"1"-16,1-14 16,13 0-16,0 0 0,-13 1 15,13-1-15,-13 0 16,13 0-16,0 1 0,0-1 16,0 0-1,0 0-15,0 1 16,13-14-16,13 0 15,14 0 17,-27 0-32,0-14 15,1 1 1,-1 13-16,-13-13 16,13 13-1,0 0 16,1 13 1,-1-13-17,0 13 1,0 1 0,1-1-1,-1-13 1,0 0-1,0 0 1,0-13-16,1 13 16,39-14-1,-27 14-15</inkml:trace>
  <inkml:trace contextRef="#ctx0" brushRef="#br0" timeOffset="143215.6">23865 10345 0,'-39'13'16,"25"1"-1,1-1-15,0 0 16,13 0-16,-13 1 0,13-1 15,0 0-15,0 0 0,0 1 16,13-1-16,0 0 16,0-13-16,1 0 0,-1 0 15,0 0-15,0 0 0,1 0 0,-1-13 16,0 13-16,-13-13 0,13-1 16,1 1-16,-14 0 15,0 0-15,0-1 0,-14 1 16,1 13-16,0-13 15,0 13-15,-1 0 16,-12 0-16,13 13 0,-1-13 16,14 13-16,0 1 15,27 12 1,-14-26-16,14 0 16,-1 13-1,-13-26-15,1 13 0,-1 0 0,13 0 16,-13-13-16,1 0 0,-1 13 0,13-14 15,-12 1-15,-1 0 0,13-14 16,-12 14-16,12-13 0,-13-1 0,14 1 16,-14 13-16,0-1 0,0 1 0,1 0 15,-1 0-15,-13-1 0,13 14 16,-13-13-16,13 13 0,-39 27 31,-1 26-15,14-40-16,0 13 0,0-12 0,-1 12 15,1-13-15,13 0 0,-13 14 16,13-14-16,0 0 0,0 1 16,0-1-16,0 0 15,13-13-15,-13 13 0,13-13 16,1 0-16,-1-13 16,0 13-16,0-13 0,40-27 15,-13 0 1,-27 27-16,0-13 15,1 13-15,-1-1 0,0 14 0,0-13 16,-13 0-16,14 0 0,-1-1 16,-26 41 15,-14-14-15,27 0-16,-13 1 0,0-1 15,13 0-15,-14 0 0,14 0 16,0 1-16,0-1 15,0 0-15,14-13 16,-1 0 0,13 0-1,1 0 1,-14-13 0,0 13-1,1 0 32,-28 13-31,14 0-1,14 1 1,-14-1 0,13-13-16,0 0 15,13 0 1</inkml:trace>
  <inkml:trace contextRef="#ctx0" brushRef="#br0" timeOffset="143380.94">24104 10279 0,'105'13'0</inkml:trace>
  <inkml:trace contextRef="#ctx0" brushRef="#br0" timeOffset="143656.64">24593 10345 0,'0'27'16,"0"-14"-1,0 0-15,0 0 16,0 1-16,-13-14 16,13 13-1,0 0-15,13-13 16,0-13-1,0 13-15,1 0 0,-1-13 0,0 13 16,0-14-16,1 14 0,-1-13 16,0 13-16,0 0 0,1 0 15,-1 0-15,0 0 0</inkml:trace>
  <inkml:trace contextRef="#ctx0" brushRef="#br0" timeOffset="144242">23746 10914 0,'-13'-13'0,"0"13"31,0 0-31,-1 13 0,1-13 16,0 13-16,0 1 0,0-1 15,-1 0 1,14 0-16,-13 0 0,13 1 15,13-1-15,1-13 16,-1 0-16,0 0 16,13 0-16,-12 0 0,-1 0 15,0 0-15,0 0 16,1 0-16,-1 13 16,-13 0-1,0 1 1,-13-1-16,-1 26 15,14-25 1</inkml:trace>
  <inkml:trace contextRef="#ctx0" brushRef="#br0" timeOffset="144378.46">23932 10927 0</inkml:trace>
  <inkml:trace contextRef="#ctx0" brushRef="#br0" timeOffset="144789.1">24077 10848 0,'13'-13'16,"-26"52"-1,0-25-15,0-1 0,13 0 0,-14 0 16,1 14-16,0-1 15,13-13-15,-13 1 0,13-1 16,0 0-16,0 0 0,0 1 16,0-1-16,13-13 15,0 13-15,0-13 16,1 0-16,-1-13 0,0 13 16,0 0-16,1 0 15,-1-13-15,0 13 0,0 0 16,-13 13 15,0 0-15,0 0-16,0 0 0,-13 1 15,13-1 1</inkml:trace>
  <inkml:trace contextRef="#ctx0" brushRef="#br0" timeOffset="144947.82">24302 10954 0,'13'-13'16</inkml:trace>
  <inkml:trace contextRef="#ctx0" brushRef="#br0" timeOffset="145095.85">24077 10967 0,'40'-13'31,"-1"13"-16,-25 0-15,-1 0 0,0 0 0</inkml:trace>
  <inkml:trace contextRef="#ctx0" brushRef="#br0" timeOffset="145621.76">24395 11192 0,'26'-27'0,"1"14"15,-14-13 17,-26 26-1,-14 0-16,27 13 1,13 0 0,1 0-16,12-13 15,-13 14-15,0-14 16,1 13-16,-1 0 0,0-13 0,0 13 16,1-13-16,-1 14 0,0-14 15,-13 13-15,13 0 16,-26 0-16,0 0 15,0-13 1,-1 0-16,1 0 16,0 14-16,0-14 0</inkml:trace>
  <inkml:trace contextRef="#ctx0" brushRef="#br0" timeOffset="145781.66">24659 11258 0,'0'-13'16,"-13"0"15</inkml:trace>
  <inkml:trace contextRef="#ctx0" brushRef="#br0" timeOffset="153151.84">8943 11827 0,'13'0'94,"14"0"-79,-14 0-15,0 0 0,0 0 0,14 0 16,-14 13-16,13-13 0,1 0 16,-1 0-16,14 0 0,-13 13 0,-1-13 0,40 0 15,-39 14 1,12-14-16,-12 0 0,-1 13 0,27-13 15,-13 13-15,-1-13 0,1 0 0,0 13 16,13-13-16,-27 0 0,27 0 16,-13 13-16,13-13 0,26 0 15,-39 0-15,-1 0 0,-12 0 0,13 14 16,-14-14-16,14 0 0,-14 0 16,-13 0-16,14 0 0,-14 0 0,27 0 15,-27 13 1,0-13-16,1 0 0,-1 0 15,0 0-15,0 0 16,0 0 0,1 0-1,-1 0 17,0 0 14</inkml:trace>
  <inkml:trace contextRef="#ctx0" brushRef="#br0" timeOffset="156341.22">8811 11152 0,'66'0'0,"-27"0"16,14 0-16,27 0 0,-1 13 0,1-13 16,12 0-16,14 0 0,0 0 0,0 0 15,26 14-15,-26-14 0,0 0 16,-1 0-16,1 13 0,0-13 0,-13 0 16,-1 0-16,-12 0 0,-1 13 0,-26-13 15,0 0-15,-13 0 0,-14 0 16,0 0-16,1 0 0,-14 0 0,0 0 15,1 0-15,-1 0 0</inkml:trace>
</inkml:ink>
</file>

<file path=ppt/ink/ink6.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43:44.874"/>
    </inkml:context>
    <inkml:brush xml:id="br0">
      <inkml:brushProperty name="width" value="0.05292" units="cm"/>
      <inkml:brushProperty name="height" value="0.05292" units="cm"/>
      <inkml:brushProperty name="color" value="#0070C0"/>
    </inkml:brush>
  </inkml:definitions>
  <inkml:trace contextRef="#ctx0" brushRef="#br0">1905 4313 0,'26'0'16,"14"13"0,-27-13-16,1 0 15,12 0-15,-13 0 0,14 0 0,-1 0 16,40 13 0,-39-13-16,12 0 0,14 0 15,-13 0-15,-13 13 0,25-13 16,81 0-16,-94 14 15,14-14-15,93 13 16,-93-13-16,-13 0 0,12 13 16,81 0-16,-80-13 15,-14 0-15,1 14 0,92-1 16,-92-13-16,0 0 16,-1 13-16,-12-13 0,12 0 15,1 13-15,0-13 0,-14 0 0,14 0 0,-14 13 16,1-13-16,13 0 0,-14 14 15,1-14-15,12 0 0,-12 13 16,-1-13-16,14 0 0,-14 0 0,1 13 16,-1-13-16,14 0 0,-14 0 15,1 0-15,-1 0 0,14 13 16,-27-13-16,14 0 0,-1 0 0,1 0 0,-1 0 16,0 0-16,1 0 0,-14 14 15,14-14-15,-1 0 0,1 0 0,-14 0 16,13 0-16,1 0 0,-14 0 15,13 0-15,1 13 0,-14-13 0,14 0 16,-1 0-16,0 0 0,-12 0 16,12 0-16,1 0 0,-1 0 0,-13 0 15,14 0-15,-1 0 0,1 0 16,-1 0-16,-13 0 0,14 0 16,26 0-16,-14 0 0,-12 0 0,-1 0 15,1 0-15,-1 0 0,14 0 0,13 0 16,-13 0-1,-14 0-15,0 0 0,1 0 0,-1 0 0,1-13 16,-14 26-16,14-26 0,-1 13 0,0 0 16,1 0-16,-1 0 15,-12 0-15,12 0 0,0 0 0,-12 0 16,12 0-16,-13 0 0,14 0 0,-14 0 16,14 0-16,-14 0 0,13 0 15,-13 0-15,1 0 0,-1 0 0,0 0 16,14-14-16,-14 14 0,0 0 15,0 0-15,1 0 0,-1 0 16,0 0-16,0 0 0,0 0 16,1 0-16,-1 0 0,0 0 15,0 0 1,1 0-16,-1 0 0,0 0 0,0 0 16,0 0-16,1 0 0,-1 0 15,0 0-15,0 0 0,1 0 16,-1 0-16,0 0 0,14 0 0,-14 0 15,0 0-15,0 0 0,0 0 0,1 0 16,12 0-16,-13 0 0,1 0 16,12 0-16,-13 0 0,1 0 0,12 0 15,-13 0-15,0 0 0,1 0 0,-1 0 16,0 0-16,0 0 0,1 0 16,-1 0-16,13 0 15,-12 0-15,-1 0 16,0 0-1,0 0 1,0-13 0,1 13 15</inkml:trace>
  <inkml:trace contextRef="#ctx0" brushRef="#br0" timeOffset="1312.03">11456 1799 0,'-26'-40'0,"13"40"16,-14 0-16,14 14 0,0-1 16,0 0-16,-14 14 0,14-1 0,-14 1 15,14-1-15,-13 0 16,13 1-16,-14 26 0,27-40 0,0 14 16,-13-14-16,13 13 0,0-13 15,0 1-15,13-1 0,-13 13 16,13-12-16,-13-1 0,14-13 0,-1 13 15,13 0-15,-13-13 0,14 0 0,-14 13 16,14-13-16,-1 0 0,-13 0 16,14-13-16,-1 13 0,-13 0 0,14 0 15,-14-13-15,14 13 0</inkml:trace>
  <inkml:trace contextRef="#ctx0" brushRef="#br0" timeOffset="1802.54">11827 1627 0,'-13'0'0,"-1"27"31,14-14-31,0 13 0,0-12 16,0 12-16,0 0 0,-13 1 16,13-1-16,-13 1 0,0 13 15,13-14-15,0-13 16,-13 0-16,13 1 0,0-1 15,0 0-15,0 0 16,26-26 15,0 0-15,-12 13-16,25-13 16,-12 26-1,-14-13 1,13 0-16,14 13 15,-27-13 1,27 0-16,-27 0 16,1 0-16,-1-13 0,13 13 0</inkml:trace>
  <inkml:trace contextRef="#ctx0" brushRef="#br0" timeOffset="2190.05">12330 1746 0,'0'-13'0,"-14"13"16,28 13-16,-28-39 0,1 13 16,0 13-1,-14 0-15,14 13 16,-13 13 0,13-13-16,-1-13 0,1 14 0,0-1 15,13 0-15,-13-13 0,13 13 0,-14 1 16,14-1-16,0 0 15,14-13 1,-1 0-16,0 0 16,-13-13-16,13 13 0,1 0 15,-14-13-15,13-1 0,0 14 0,-13-13 16,13 13-16,-13-13 0,13 13 16,1 0 15,-1 13-31,-13 0 15,13 14 1,0-14 0,1 0-1,-1-13-15</inkml:trace>
  <inkml:trace contextRef="#ctx0" brushRef="#br0" timeOffset="2548.73">12515 1733 0,'0'-13'15,"0"26"-15,0 0 32,-13 0-17,13 1-15,0 12 16,-14-13-1,14 1-15,-13-1 16,13 0 0,27-39 15,-14 12-31,0 14 16,0-13-16,0 13 0,1-13 15,-1 13 1,13 13-16,-12-13 15,-1 0-15,0 0 0,0 13 16,1-13-16,-1 0 0,0 0 0,0 14 16,0-14-16</inkml:trace>
  <inkml:trace contextRef="#ctx0" brushRef="#br0" timeOffset="3076.47">12978 1680 0,'-13'-13'0,"13"39"31,-14 1-15,14-1-16,0-13 16,-13 14-16,13-1 0,-13-12 15,13-1-15,-13 0 0,-1 0 0,1 1 16,13-1-16,-13 0 0,0 0 16,13 0-16,-13-13 0,-1 14 31,80-54 0,-52 27-31,39-27 0,-27 27 16,1-14-16,-14 14 0,13-13 15,1-1-15,-14 14 0,-13 0 16,13 13-16,-13-13 0,13-1 0,-13 1 16,-26 26 15,13 1-16,13-1-15,0 0 16,0 0-16,13-13 16,-13 13-16,13-13 0,0 0 15,14 14 1,-14-1-16</inkml:trace>
  <inkml:trace contextRef="#ctx0" brushRef="#br0" timeOffset="3874.63">11695 2262 0,'79'-13'15,"-53"13"-15,27-13 16,0 13-16,53-14 15,-40 14-15,14 0 0,-14-13 16,92 0-16,-65 13 0,-14-13 16,1 13-16,-1-13 0,-13-1 0,14 14 15,-14-13-15,0 0 0,0 0 16,0-1-16,53-25 0,-79 26 16,13-1-16,-13-12 0,-14 13 0,14-14 15,-14 1-15,-12-1 0,12 14 16,-13-13-16,0-14 0,1 13 0,-1 14 15,-13-27-15,13 1 0,0 12 0,-13-12 16,0 12-16,0 1 0,0-14 16,0 0-16,0-13 0,-13 14 15,0-1-15,0 0 0,-1 1 0,-12-14 0,0 13 16,-1 0-16,-13 1 0,1-1 16,-1 0-16,-13 1 0,-53-28 15,40 41-15,0 0 0,-13-1 16,-1 1-16,1-1 0,-1 14 15,-92-13-15,80 12 0,-1 14 16,1-13-16,-1 26 0,-13-13 16,14 14-16,-1-1 0,14 0 0,-14 0 15,-13 14-15,40-1 0,-27 14 0,14-1 16,0-12-16,13 13 0,-1-1 0,1 14 16,13-13-16,-52 66 0,52-67 15,13 14-15,0 0 0,1 0 16,12 13-16,1-13 0,12 0 15,1 0-15,0 0 0,13-13 0,13 13 16,0 0-16,14-14 0,-1 14 16,14-13-16,0 0 0,79 26 15,-27-27-15,-12-12 0,12 12 0,14-12 16,-26-1-16,12-12 0,67 12 16,-80-13-16,1 1 15,-14-14-15,0 0 0,-13 0 0,0 0 16,0 0-16,-14 0 0</inkml:trace>
  <inkml:trace contextRef="#ctx0" brushRef="#br0" timeOffset="4483.95">14089 1614 0,'-26'0'15,"65"0"1,27 13 15,-13-13-31,-26 0 0,-1 0 16,40-13-16,-26 13 0,-13 0 16,-1-13-16,0 13 0,1 0 15,-1-13-15</inkml:trace>
  <inkml:trace contextRef="#ctx0" brushRef="#br0" timeOffset="4708.8">14380 1455 0,'27'0'31,"-14"0"-31,13 13 16,-13 1-16,14-1 0,-1 0 0,14 27 15,-13-27-15,-14 14 0,13 39 32,-26-40-32,0-13 0,-26 40 15,13-26-15,-1-1 0,-12 1 16,-1-1-16,14-13 0,-13 14 0</inkml:trace>
  <inkml:trace contextRef="#ctx0" brushRef="#br0" timeOffset="20529.84">15729 1826 0,'14'-14'0,"-1"14"16,0 0-16,40 0 15,-40 0-15,1 0 16,12 27 0,-26-1-1,0-12-15,-26 25 16,12-39-16,14 13 15,-13 1-15,0-1 0,0 0 16,13 0 0,-14-13-16,41 0 31,-14 0-31,0 0 0,1 0 0,-1 0 16,13 0-16,-13-13 0,14 13 15,-1 0-15,-12-13 0,39 0 16,-27-1-16,-13 14 0,14-13 0,-14 0 15,0 13-15,0-13 16,1 0-16,-1-1 0,0 1 16,-13 0-16,0 0 15,13-1-15,-13 1 16,-13 13 0,0 13-1,13 1-15,0-1 16,0 0-16,13 27 15,0-27 1,0 0-16,1-13 16,-1 0-16,0 13 0,0-13 0,1-13 15,-1 13-15,0-13 16,-13 0 0,0 0-16,0-1 15,0 1 1,0 0-16,-13 13 0,0 0 15</inkml:trace>
  <inkml:trace contextRef="#ctx0" brushRef="#br0" timeOffset="21467.84">16563 1746 0,'0'27'0,"13"-14"16,0 0-1,1 0-15,12-13 16,-13-13-1,1 13-15,-1-13 0,13 13 16,-13-13-16,1 13 16,-1 0-16,0 0 15,-13 13-15,13 0 16,1 0-16,-14 1 0,13 12 16,-13 1-16,0-14 15,0 0-15,0 27 0,-13-27 16,13 0-16,-27 14 0,14-14 15,0 0-15,-1-13 16,1 13-16,0-13 16,13-13-1,13-13 1,14-1 0,12-13-16,-12 14 0,-14 0 15,14 12-15,-14 1 16,0 0-16,-13 0 0,13-1 0,0 1 0,1 0 15,-14 0 1,13 13-16,-13-14 16,-13 41-1,-1-27 1,14 26 0,0-12-1,14-14 1,-14 13-16,26-13 15,-13 0-15,1 0 16,12 0 0,-13-13-1,14 13 1,-14 0-16,13 0 16</inkml:trace>
  <inkml:trace contextRef="#ctx0" brushRef="#br0" timeOffset="21683.71">17291 1759 0,'13'-13'0,"26"0"0,-25 13 16,-1 0-16,0 0 16,0 0-16,1 0 15,-1 0-15</inkml:trace>
  <inkml:trace contextRef="#ctx0" brushRef="#br0" timeOffset="21838.61">17357 1759 0,'13'0'31,"27"0"-15,-27 0 0</inkml:trace>
  <inkml:trace contextRef="#ctx0" brushRef="#br0" timeOffset="22310.76">18574 1482 0,'-13'26'16,"-1"-13"-16,1 1 0,0 12 15,-27 14-15,14-14 16,12-13-16,-12 27 0,13-13 16,0-14-16,-1 0 0,1 13 15</inkml:trace>
  <inkml:trace contextRef="#ctx0" brushRef="#br0" timeOffset="22506.7">18336 1574 0,'0'0'15,"26"14"-15,-13-14 0,-13 13 16,27 0-16,-1 13 16,-13-26-16,14 14 0,-14-1 15,14 13-15,-14-26 16,27 27-16,-27-27 15</inkml:trace>
  <inkml:trace contextRef="#ctx0" brushRef="#br0" timeOffset="23265.86">18957 1495 0,'-13'0'15,"0"0"-15,0 0 16,-1 0-16,1 13 0,0-13 16,0 13-16,0-13 0,-1 14 15,1-1-15,13 0 16,13 0 0,1-13-1,12 0 1,-13-13-1,0 13-15,-13-13 0,27 0 16,-14 13-16,0-14 16,1 14-1,-1 0-15,0 14 32,0-1-17,1-13-15,-1 0 16,-13 13-16,13-13 15,13 0-15,-12 0 16,-1 0-16,0 0 16,0 0 15,1 0-31,-1 0 0,0 0 16,0 0-16,1 0 15,12 0-15,0 0 16,-12-13-1,-1 13-15</inkml:trace>
  <inkml:trace contextRef="#ctx0" brushRef="#br0" timeOffset="23706.01">19394 1468 0,'0'-13'0,"-13"13"47,0 0-47,-14 0 16,14 13-16,-14 1 31,27-1-15,14-13-1,12 0 16,-13 0-15,14 0 15,-14 0-31,0 0 16,0 13 0,1-13-16,-1 0 15,0 0-15,0 0 16,1 0-16,-1 0 15,0 0 1,0 0-16,0-13 16,1 13-1,-1 0 1,0-13-16</inkml:trace>
  <inkml:trace contextRef="#ctx0" brushRef="#br0" timeOffset="23816.17">19659 1468 0,'13'-13'0</inkml:trace>
  <inkml:trace contextRef="#ctx0" brushRef="#br0" timeOffset="25811.85">16828 2619 0,'13'0'15,"0"0"-15,0 0 0,0 0 0,1 0 16,-1 0-16,-13 14 16,13-14-16,-13 13 15,0 0-15,-13 0 0,13 1 16,-13-1-16,-1 0 16,14 0-16,-13-13 0,13 13 0,-13 1 15,0-1 1,26-13 15,0 0-31,0 0 0,1 0 0,-1-13 16,13 13-16,-12-14 0,12 14 15,27-26-15,-40 26 16,14-13-16,-1 0 0,-13 13 0,1-14 16,-1 1-16,0 13 0,0-13 15,0 0-15,-13-1 16,-13 14 15,0 14-15,13-1-16,0 0 31,13 0-31,0-13 0,1 0 0,-1 0 16,0 0-16,0 0 0,1 0 15,-14-13-15,13 0 16,-13 0-1,0-1-15,-13 14 16,13-13-16,-14 0 16,1 13-1</inkml:trace>
  <inkml:trace contextRef="#ctx0" brushRef="#br0" timeOffset="26252.81">17370 2540 0,'0'-13'0,"0"26"16,0 13-1,0 1-15,0-14 31,0 0-15,13-13 0,0-13-1,1 13 1,-1 0-16,0 0 16,-13 13-1,13-13 1,0 0-16,1 0 31,-1 0 0,0 0-31,0 0 16,1-13 0,-1 13-16,0 0 15,-13-13 1,13 13-16,1 0 0,-14-13 0</inkml:trace>
  <inkml:trace contextRef="#ctx0" brushRef="#br0" timeOffset="26383.81">17648 2553 0,'26'-13'16,"-26"0"-1,-26 39 1,65-39 0,-39 26-1,0 0-15,-13 1 16</inkml:trace>
  <inkml:trace contextRef="#ctx0" brushRef="#br0" timeOffset="26528.87">17754 2421 0</inkml:trace>
  <inkml:trace contextRef="#ctx0" brushRef="#br0" timeOffset="26827.45">17926 2553 0,'0'13'32,"13"-13"-17,13 0 16,1-13-15,-14 13-16,0 0 16,0 0-16,-13-13 0,27 13 15,-14-13-15,0 13 16</inkml:trace>
  <inkml:trace contextRef="#ctx0" brushRef="#br0" timeOffset="27056.91">18640 2421 0,'40'0'15,"-27"-13"-15,0 13 0,0 0 0,14 0 16,12 0-16,1-14 16,-27 14-16,14 0 0,-14 0 15</inkml:trace>
  <inkml:trace contextRef="#ctx0" brushRef="#br0" timeOffset="27296.89">18931 2236 0,'13'0'0,"0"0"16,1 13-16,-1-13 0,0 0 16,0 13-16,1 14 15,12-14-15,-26 0 0,0 0 16,0 1-16,0-1 0,0 13 15,-13-13-15,0 1 0,-1-1 16,1 0-16,0 0 16</inkml:trace>
  <inkml:trace contextRef="#ctx0" brushRef="#br0" timeOffset="28218.37">19817 2103 0,'0'27'16,"0"-14"0,-13 14-16,13-14 0,0 0 0,-13 13 15,13-12-15,0-1 0,0 13 16,0-12-16,0-1 0,0 0 0,0 0 15,0 1-15,0-1 0,0 0 16,-13-26 31,-1 0-47,-25-1 16,25 1-16,1 13 15,-26 0-15,25 0 0,1 13 16,0-13-16,-14 0 0,14 14 15,0-1-15,0-13 0,-1 13 16,1 0-16,13 0 0,0 1 16,13-14-1,14 13-15,-1-13 0,-12 13 16,12-13-16,14 0 0,-14 0 0,14 0 16,-14 0-16,14-13 0</inkml:trace>
  <inkml:trace contextRef="#ctx0" brushRef="#br0" timeOffset="28502.83">20108 2315 0,'-13'-13'0,"13"0"0,13 39 0,-39-52 0,13 12 15,-1 14-15,1 0 16,0 0-16,0 0 0,-1 0 16,1 0-16,0 14 0,-13-14 15,26 13-15,-14-13 16,14 13-16,-13-13 0,13 13 15,13 1-15,1-1 16,-1-13-16,0 0 0,0 0 16,0 0-16,14 0 15,-14 0-15,0 0 16,1 0-16,-1 13 16,0-13-1,-13 13-15,40-13 16</inkml:trace>
  <inkml:trace contextRef="#ctx0" brushRef="#br0" timeOffset="28691.14">20333 2302 0,'80'-119'0,"-67"106"16,-13-14-16,13 14 0,0-14 15,1 27-15,-14-13 0,13 13 16,-13 27-1,0 12 1,-13-25-16,13-1 0,0 13 16,0-13-16,0 14 0,13-1 15,-13 14-15,13-27 0</inkml:trace>
  <inkml:trace contextRef="#ctx0" brushRef="#br0" timeOffset="29200.17">20360 2275 0,'39'-13'15,"-25"13"1,-1 0-16,13 0 0,1 0 15,-14-13-15,13 13 0,67 0 16,-66-13-16,-1 13 16,14 0-16,-14 0 0,1-14 15,-1 14-15,-13 0 0,14 0 0,-14 0 16,0 0-16,0-13 0,1 13 0,-1 0 16,0-13-1,-39 13 16,12 0-31,1 0 0,0 13 16,0-13-16,-1 0 0,1 13 0,0 1 16,0-14-16,13 13 0,0 0 15,13 0 1,0-13 0,0 0-16,1 0 15,-1 0-15,0 0 0,0 0 0,1 0 16,12 0-16,-26 14 15,13-14-15,1 0 16,-1 13 0,-13 0-16,13-13 15,-13 13-15</inkml:trace>
  <inkml:trace contextRef="#ctx0" brushRef="#br0" timeOffset="29488.98">19738 2633 0,'40'0'0,"-27"0"0,13 0 0,27-14 15,0 14-15,0-13 0,26 0 16,1 0-16,79-14 0,-80 14 16,80-13-16,-80 12 0,-13 14 15,-13-13-15,0 13 16,-13 0-16,13 0 0,-40 0 16,0 0-16,0 0 0,-13 13 0</inkml:trace>
  <inkml:trace contextRef="#ctx0" brushRef="#br0" timeOffset="29653.75">19857 2752 0,'423'-53'16,"-330"40"-16,211-27 15,-119 13-15,-92 14 16,0 0-16</inkml:trace>
  <inkml:trace contextRef="#ctx0" brushRef="#br0" timeOffset="42311.82">7038 5067 0,'26'13'62,"1"-13"-46,-14 0-16,0 0 15,1 0-15,-1 0 16,13 0-16,-13 0 0,14 0 0,-14 0 16,14 13-16,-1-13 0,0 0 0,-12 0 15,12 0-15,1 0 0,-1 0 16,1 0-16,-1 0 0,14 0 0,-14 0 16,1 0-16,12 0 0,-12 0 0,12 13 15,-12-13-15,13 0 0,-14 0 16,14 0-16,-1 0 0,-12 0 0,13 0 15,-14 0-15,14 14 0,-14-14 0,14 0 16,-14 0-16,14 0 0,-14 0 16,1 0-16,-1 0 0,1 0 0,-1 0 15,-12 13-15,12-13 0,0 0 16,1 0-16,-14 0 0,14 0 16,-14 0-16,13 0 0,-12 13 0,12-13 15,-13 0-15,14 0 0,-14 0 0,13 0 16,-12 0-16,12 0 0,0 0 15,-12 0-15,12 0 0,-13 0 0,1 13 16,12-13-16,-13 0 0,14 0 16,-14 0-16,0 0 0,14 0 15,-14 0-15,13 0 0,1 0 0,-1 0 16,1 0-16,-14 0 0,13 0 16,1 0-16,-1 0 0,1 0 15,13 0-15,-14 0 0,0 0 16,1 0-16,-1 0 0,1 0 15,-1 0-15,1 14 0,-1-14 0,1 0 16,-1 0-16,-13 0 0,14 0 0,-1 0 16,27 0-16,-26 0 15,-14 0-15,13 0 0,1 0 0,-14 0 16,13 0-16,1-14 0,26 14 16,-40 0-16,14 0 15,-1 0-15,0 0 0,1 0 0,-14 0 0,14 0 16,12 0-16,-12 0 0,-1 0 15,1 0-15,-1 0 0,1 0 16,-1 0-16,0 0 0,1 0 0,-1 0 16,1-13-16,-1 13 0,1 0 0,-1 0 15,1 0-15,-1 0 0,-13 0 16,14 0-16,-1-13 0,1 13 0,26 0 16,-27 0-16,1 0 0,-1 0 15,1 0-15,-1-13 0,0 13 16,1 0-16,-1 0 0,1 0 0,-14 0 15,13 0-15,1 0 0,-1 0 0,1 0 16,13-14-16,-27 14 16,0 0-16,13 0 0,1 0 15,-14 0-15,14 0 0,-14 0 0,0 0 16,14 0-16,-14 0 0,26 0 16,-25 0-16,-1 0 0,13 0 15,-12 0-15,12 0 0,-13 0 0,0 0 16,14 0-16,-14 0 0,0 0 15,14 0-15,-14 0 0,14 0 0,-14 0 16,0 0-16,13 14 0,-12-14 16,-1 0-16,13 0 0,-12 0 15,25 0-15,-25 0 0,-1 0 16,13 0-16,-13 0 0,14 13 0,-1-13 16,-12 0-16,12 0 0,1 0 15,-14 0-15,40 0 0,-40 0 16,13 0-16,-12 13 0,12-13 0,-13 0 15,14 0-15,-14 0 0,13 0 16,-12 0-16,12 0 0,1 0 0,-1 0 16,-13 0-16,14 0 0,-1 0 0,1 0 15,-1 0-15,-13 13 0,40-13 16,-13 0-16,0 0 16,-14 0-16,1 0 15,-1 0-15,-13 0 0,14 14 16,-1-14-16,1 0 0,-1 0 0,27 0 15,-27 0-15,1 13 0,-1-13 16,1 0-16,26 0 16,-27 13-16,1-13 0,-1 0 0,1 0 15,-1 0-15,-13 0 0,14 0 0,-1 13 16,1-13-16,-14 0 16,40 0-16,-27 0 0,-13 0 0,14 14 15,26-14-15,-40 0 0,14 0 16,-1 0-16,-13 13 0,14-13 15,-1 0-15,1 0 0,-1 0 16,-13 0-16,14 13 0,-1-13 0,1 0 16,-1 0-16,-13 0 0,14 0 0,-1 0 15,1 0-15,-14 13 0,13-13 16,1 0-16,-14 0 0,14 0 0,-14 0 16,13 0-16,-13 0 0,14 0 15,-14 0-15,0 0 0,14 0 0,-14 0 16,0 0-16,14 0 0,-14 0 0,0 0 15,14 13-15,-14-13 0,0 0 16,0 0-16,14 0 0,-14 0 0,0 0 16,14 0-16,-14 0 0,0 0 15,0 0-15,1 0 0,-1 0 0,0 0 16,0 0-16,1 0 0,-1 0 0,0 0 16,-13-13-16,13 13 0,0 0 15,1 0-15,-1 0 0,0 0 16,0 0-16,1 0 15,-1 0-15,0-13 16,0 13-16,1 0 16,-1 0-16,0 0 0,-13-13 15,13 13-15,0 0 16,1 0-16,-14-13 16,13 13-16,0 0 0,0-14 15,1 14-15,-1 0 16,-13-13-16,13 13 15,0 0-15,-13-13 0,14 13 0,-1-13 16,0 13-16,-13-14 16,13 14-16,0-13 15,14 0-15,-27 0 16,13 13-16,-13-14 0,13 14 0,1-13 16,-1 0-16,0 0 15,0 13-15,-13-13 16,13-1-16,1 14 0,-14-13 0,13 0 0,0 0 15,0-1 1,1 1-16,-1 0 0,0 0 16,-13-1-16,13 14 0,-13-13 15,14 13-15,-14-13 0,13 13 16,-13-13-16,13 0 0,0-1 16,-13 1-16,13 13 15,-13-13-15,14 0 16,-14-1-1,0 1-15,13 0 16,-13 0 0,0-1-1,0 1 1,0 0 0,-13 0-1,13 0-15,0-1 16,0 1-1,-14 13-15,14-13 16,0 0-16,-13 13 0,13-14 16,-13 1-1,13 0-15,-13 0 16,0 0 0,-1 13-16,14-14 15,-13 14-15,0-13 16,0 13-16,13-13 0,-14 13 15,1-13-15,0 13 16,0-14-16,-14 14 16,27-13-16,-26 13 15,26-13 1,-13 13-16,-1 0 16,1-13-16,0 13 15,0 0-15,-1 0 16,1-14-16,0 14 15,0 0 1,0-13-16,-14 13 16,14 0-1,0-13-15,-1 13 16,-12 0 0,-27-13-1,40 13-15,0-13 16,-1 13-16,1 0 0,0 0 15,-14 0-15,14 0 0,-13-14 16,12 14-16,1 0 0,0 0 16,0 0-16,0-13 0,-14 13 15,1 0-15,12-13 0,-12 13 16,13 0-16,-1 0 0,1-13 16,0 13-16,0 0 0,0 0 0,-1-14 15,1 14-15,0 0 0,0 0 0,-1-13 16,1 13-16,0 0 0,0 0 15,-1 0-15,-12-13 0,13 13 16,0 0-16,-14 0 0,14-13 0,0 13 16,-1 0-16,-12 0 0,13 0 15,-14-14-15,-12 14 16,25 0-16,-12 0 0,-1-13 0,1 13 16,0 0-16,-14 0 0,13-13 15,-12 13-15,-1 0 0,0-13 0,14 13 16,-27-13-16,27 13 0,-14 0 0,-26-14 15,39 14-15,1 0 16,-1 0-16,1-13 0,-1 13 0,1 0 16,13 0-16,-14 0 0,14 0 15,0 0-15,-14 0 0,14 0 0,0 0 16,-14 0-16,14 0 0,0-13 16,0 13-16,-14 0 0,14 0 0,-13 0 15,12 0-15,1 0 0,0 0 16,0 0-16,-14 0 0,14 0 0,0 0 15,-1-13-15,1 13 0,0 0 16,0 0-16,0 0 16,-14 0-16,1 0 0,12-14 15,1 14-15,-13 0 0,13 0 16,-14-13-16,14 13 16,0 0-16,-14 0 0,-13-13 0,27 13 15,-13 0-15,13 0 0,-1 0 0,1 0 16,0-13-16,0 13 0,-1 0 15,1 0-15,-13 0 16,12 0-16,1 0 31,0 0-31,0 0 16,0 13 0,-1-13-1,1 0 1,0 0 15,0 0-31,-1 0 16,1 0-1,0 0-15,0 0 0,0 0 16,-1 0-16,1 0 16,0 0-16,0 0 0,-1 0 15,1 0-15,0 0 16,0 0-16,-1 13 0,1-13 0,0 0 0,0 0 15,-14 0-15,14 0 0,0 13 16,0-13-16,-1 0 0,-12 0 16,13 0-16,-1 0 0,1 14 0,-13-14 15,13 0-15,-1 0 0,-12 0 0,13 0 16,-14 0-16,14 0 0,0 0 16,-14 0-16,1 0 0,13 0 0,-14 13 15,-39-13 1,39 0-16,1 0 0,-14 0 15,14-13-15,-14 13 0,14 0 16,-1 0-16,1 0 0,13 0 16,-14 0-16,1 0 0,-1 0 0,1 0 15,-14 0-15,14 0 16,-27 0-16,26 0 0,1 0 16,13 0-16,-14-14 0,1 14 15,-1 0-15,14 0 0,-13 0 0,-1 0 16,14 0-16,-14 0 0,14 0 15,-13 0-15,-1 0 0,-12 0 16,25 0-16,-25 0 0,12 0 16,14 0-16,-14 0 0,14 0 15,0 0-15,0 0 16,-14 0-16,14 0 0,0 0 16,0 0-16,-1 0 0,-12 0 15,13 0-15,-1 0 16,-12 0-16,13 0 15,0 0-15,-1 0 0,1 0 0,0 0 16,0 0-16,-1 0 0,1 0 16,0 0-16,-27 0 15,14 0-15,13 0 0,-1 0 16,1 0-16,0 0 0,-14 0 16,14 0-16,0 0 0,-13 0 0,-14 14 15,0-14-15,14 0 16,-1 0-16,14 0 0,-13 0 15,-1 0-15,1 0 0,-1 0 0,-26 0 16,27 0-16,-1 0 16,1 13-16,-1-13 0,-39 0 15,40 0-15,-1 0 0,1 0 0,-40 0 16,39 0-16,1 0 16,-14 0-16,14 0 0,-1 0 0,1 13 15,-1-13-15,1 0 0,-1 0 0,14 0 16,-13 0-16,-1 0 15,1 0-15,13 0 0,-14 0 0,1 0 0,-14 13 16,27-13-16,-1 0 16,-12 0-16,13 0 0,-14 0 15,1 0-15,13 0 0,-1 14 16,1-14-16,0 0 0,-13 0 16,12 0-16,1 0 0,0 0 0,0 0 15,-1 0-15,-12 0 0,-14 0 16,14 0-16,13 0 15,-1 0-15,1 0 16,-13 13-16,-1-13 0,14 0 16,-27 0-16,27 0 0,0 0 15,-14 0-15,14 0 0,-13 0 16,12 0-16,-12 0 0,13 0 0,-27 0 16,14 0-16,-14 13 15,27-13-15,-1 0 0,-12 0 16,13 0-16,-27 0 0,14 0 15,12 0-15,-12 0 0,13 0 0,-1 0 16,-12 0-16,13 0 0,0 0 16,-27 0-16,13 0 0,14 0 15,0 0-15,-27 0 0,14 0 16,13 0-16,-1 0 16,-12 0-16,-1 0 0,14 0 0,-13 0 15,-1 0-15,1 0 16,13 0-16,-14 0 0,1 0 15,-1 0-15,14 0 0,-13 0 16,-1 13-16,1-13 0,12 0 16,1 0-16,0 0 0,-40 0 15,40 0 1,-14 0-16,14 0 0,0 0 16,0 0-16,-1 0 0,1 13 15,0-13-15,-14 0 0,14 0 16,0 0-16,0 0 15,0 14-15,-1-14 0,1 0 16,0 13-16,0-13 0,-1 0 16,1 0-1,0 0-15,0 13 0,0-13 16,-1 0-16,1 13 16,0-13-1,0 14-15,-1-14 0,1 0 16,13 13-16,-13-13 0,13 13 15,-27 0-15,14 1 16,0-1-16,0-13 16,0 13-16,13 0 0,-14-13 0,14 13 15,-13 1-15,0-1 16,13 0-16,-13-13 0,13 13 0,0 1 16,-14 12-16,14-13 15,-13 1-15,13-1 16,0 0-16,0 0 0,0 0 15,0 1-15,0-1 16,0 0-16,0 0 16,0 1-16,0-1 15,13-13-15,-13 13 0,0 0 0,14 0 16,-14 1-16,0-1 16,0 0-16,13-13 15,-13 13-15,0 1 0,13-14 0,-13 13 16,0 0-1,13 0-15,-13 1 0,0-1 16,14 0 0,-14 0-1,0 0 1,13-13-16,-13 14 16,13-1-16,0 0 15,0 0 1,1-13-16,-1 0 15,0 14-15,0-14 16,1 0-16,12 13 0,-13-13 16,1 0-16,-1 0 15,0 0-15,0 0 0,0 0 16,1 0-16,-1 0 0,0 0 16,14 0-1,-27 13-15,13-26 0,0 13 16,0 0-16,0 0 15,1 0-15,-1 0 16,0 0-16,0 0 16,1 0-16,-1 0 15,0 0 1,0 0-16,1 0 16,-1 0-1,0 0-15,0 0 16,0-13-16,1 13 15,-1 0 1,0 0 0,0 0-16,1 0 15,-1 13 32,0-13-31,-13 13-16,13 0 31,1-13-15</inkml:trace>
  <inkml:trace contextRef="#ctx0" brushRef="#br0" timeOffset="52793">21471 7025 0,'-13'26'15,"-1"-13"-15,-12 27 16,13-13-16,0-1 15,-14 0-15,1 1 0,12-1 0,-12 1 16,13-14-16,-14 13 0,1 1 0,13-14 16</inkml:trace>
  <inkml:trace contextRef="#ctx0" brushRef="#br0" timeOffset="52986.75">21193 7223 0,'0'0'0,"13"0"0,14 13 0,-14-13 15,0 14-15,0-14 16,1 13-16,-1 0 0,0 0 0,0-13 16,1 13-16,-1 1 0,0-1 15,0-13-15,1 13 0,-1-13 0</inkml:trace>
  <inkml:trace contextRef="#ctx0" brushRef="#br0" timeOffset="53359.71">21709 7078 0,'0'26'16,"13"-13"0,-13 1-16,14-1 15,-1-13-15,26 13 16,-25-13-16,-1 0 16,27-13-1,-27 13-15,0 0 0,0-13 0,1 13 16,-14-14-16,13 14 0,-26 14 31,-1 12-15,1-13-16,0 0 15,0 1-15,-14-1 0,14 13 0,0-12 16,-14 12-16,14-13 0,0 0 0,13 14 16,-13-14-16,-1 0 15,14 1-15</inkml:trace>
  <inkml:trace contextRef="#ctx0" brushRef="#br0" timeOffset="53890.17">22212 7131 0,'26'0'0,"-13"0"16,-13 13 0,-13 13-16,-13 14 15,13-27-15,-1 0 16,-12 40-1,13-40-15,13 1 0,-14-1 0,14 0 16,0 0-16,0 1 0,14-1 16,-1 0-1,13-13-15,-12 13 0,-1-13 0,13 0 16,-13 0-16,40 0 16,-39 0-16,-1 0 15,0 0-15,0-13 0,-13 0 16,-26-14-1,13 27-15,-14-13 0,-26 0 16,40 0-16,0 13 16,13-14-16,-13 14 0,-1 0 0,14-13 15,-13 13-15,40-13 16,-14 13 0,0 0-16,40 0 15,-27 0-15,-12 0 0,12 0 16,-13 0-16,27 0 0,-27 0 15,0 0-15</inkml:trace>
  <inkml:trace contextRef="#ctx0" brushRef="#br0" timeOffset="54391.58">21669 7673 0,'119'13'16,"-92"-13"-16,26 0 15,-13-13-15,12 13 0,1-13 0,13 13 16,67-27-16,-67 14 16,53-27-16,-53 27 15,-13-13-15,-13-1 0,13 1 0,-14-1 16,1-12-16,0 12 0,-1-13 0,-12 1 15,-1-1-15,1-26 16,-14 26-16,-13-13 0,13 14 0,-26-1 16,0-13-16,0 0 0,-27 13 0,0-13 15,-13 14-15,-26-14 0,-1 13 16,-12 1-16,-14 12 0,-13 1 16,13-1-16,-26 27 0,26-13 0,-26 26 15,13-13-15,-14 27 0,1-14 0,26 27 16,-13-14-16,13 14 0,14-1 15,12 1-15,14 0 0,13-1 0,0 14 16,14 0-16,12 0 0,1 0 16,13 0-16,26 0 0,-13 0 0,66 66 15,-26-66-15,26 0 0,13 13 16,1-26-16,12 12 0,1-12 16,-1-13-16,67 26 0,-66-40 15,-14 0-15,14 0 0,-14 0 0,-13-13 16,-13 0-16,0 14 0,0-14 15,-13 0-15,-14 0 0</inkml:trace>
  <inkml:trace contextRef="#ctx0" brushRef="#br0" timeOffset="63150.52">15544 5093 0,'40'0'31,"13"0"-15,-27 0-16,1 0 0,26 0 16,0 13-16,-14-13 0,14 0 0,66 0 15,-39 0-15,-1 0 16,0 0-16,14 14 0,-14-14 0,14 0 15,0 0-15,12 0 0,1 0 0,-13 0 16,13 0-16,0 0 0,-1 0 0,-12 13 16,13-13-16,-14 0 0,14 13 15,-26-13-15,12 13 0,-12-13 16,-1 14-16,0-14 0,1 13 0,-14-13 16,-13 13-16,-14-13 0,14 13 0,-13-13 15,0 14-15,-14-14 0,-13 0 16,14 0-16,-1 13 0,-12-13 15,-1 0-15,0 0 0,0 0 0,1 0 16,-1 13-16,0-13 16,0 0 15,0-13-15</inkml:trace>
  <inkml:trace contextRef="#ctx0" brushRef="#br0" timeOffset="67275.39">10120 5847 0,'93'14'15,"-80"-14"-15,40 0 16,-40 0-16,14 0 0,12 0 16,41 13-16,-40-13 15,12 0-15,1 0 0,-13 0 0,13 0 16,0 0-16,0 13 0,0-13 0,0 0 16,0 0-16,-1 0 0,1 13 0,0-13 15,0 0-15,0 0 0,0 13 16,-13-13-16,13 0 0,0 0 0,-1 0 15,-12 0-15,13 0 16,0 0-16,0 14 0,-13-14 0,13 0 0,-1 0 16,-12 0-16,13 0 0,-13 0 0,-1 0 15,1 0-15,0 0 16,-1 0-16,1-14 0,-13 14 0,12 0 16,1 0-16,-14 0 0,14 0 0,39 0 15,-52 0-15,13 0 16,-14 0-16,14 0 0,-14 0 0,14 0 15,-14 0-15,1 0 0,-1 0 0,1 0 16,-1 0-16,1 0 0,-1 0 16,1 0-16,-1 0 0,1-13 0,-14 13 15,13 0-15,1 0 0,-1 0 0,1 0 16,-14 0-16,13 0 0,1 0 16,-1 0-16,-13 0 0,14 0 15,-1 0-15,1 0 0,-1 0 0,-13 0 16,14 0-16,-1 0 0,1 0 15,-1 0-15,1 0 0,-1 0 0,1 0 16,-1 0-16,1 0 0,-1 0 16,1 0-16,-1 0 0,0 0 0,-12 0 15,12 0-15,1 0 0,-1 0 0,0 0 16,14 0-16,-13 0 0,-1 0 16,1 0-16,-1 0 0,14 0 0,-14 0 15,1 0-15,-1 0 0,1 0 0,-1 0 16,0 0-16,1 13 0,-1-13 15,14 0-15,-13 0 0,-1 0 16,27 0-16,-27 0 0,1 0 16,26 0-16,-27 0 15,1 0-15,12 14 0,-12-14 0,-1 0 16,14 0-16,-14 0 0,14 0 16,-13 0-16,-1 0 0,14 0 0,-14 0 15,1 13-15,-1-13 0,14 0 0,-14 0 16,1 0-16,-1 0 0,1 0 15,12 13-15,-12-13 0,-1 0 0,1 0 16,-1 13-16,14-13 0,-14 0 16,1 0-16,-1 0 0,1 14 0,-1-14 15,1 0-15,-1 0 0,0 0 16,1 13-16,-1-13 0,1 0 0,-1 0 16,14 0-16,-14 0 0,1 13 15,-1-13-15,1 0 0,26 0 16,-27 13-16,14-13 0,-14 0 0,1 0 15,-1 0-15,14 0 0,-14 0 16,1 13-16,-1-13 0,14 0 0,-14 0 16,1 14-16,-1-14 0,1 0 0,-14 0 15,14 13-15,-1-13 0,0 0 16,-12 0-16,12 13 0,-13-13 0,1 0 16,-1 0-16,0 13 0,0-13 15,0 0-15,1 0 0,-1 0 16,0 0-16</inkml:trace>
  <inkml:trace contextRef="#ctx0" brushRef="#br0" timeOffset="71275.6">5768 6747 0,'-13'0'0,"-1"0"15,67 0 32,-26 0-31,-1 0-16,1 0 0,26 0 0,0 0 16,66 0-16,-66 0 0,26 0 15,-13 13-15,0-13 0,14 0 16,-14 0-16,79 13 0,-65-13 15,-14 14-15,13-14 0,1 13 0,-1-13 16,14 13-16,-14 0 0,0-13 16,1 13-16,-1-13 0,14 14 15,79-1-15,-80-13 0,1 13 16,-1-13-16,14 0 0,0 13 16,-13-13-16,13 14 0,-1-14 0,-12 0 15,13 13-15,105-13 0,-105 13 16,-13-13-16,13 0 0,-14 13 15,1-13-15,13 0 0,-14 0 0,94 14 16,-94-14-16,1 0 0,-14 0 16,1 0-16,-14 0 0,13 13 15,-26-13-15,13 0 0,40 0 16,-27 0-16,-39 0 16,-14 0-16,1 0 0,-14 0 15,14 0-15,-1 0 0,-13 0 16,1 0-16,-1 13 15</inkml:trace>
  <inkml:trace contextRef="#ctx0" brushRef="#br0" timeOffset="75885.94">1971 9909 0,'-13'0'16,"53"0"-16,-14 0 15,27-14-15,0 14 0,26 0 0,-13-13 16,27 13-16,79-13 16,13 13-16,-79 0 0,79-13 15,-92 13-15,-1 0 0,-12 0 16,-1 0-16,80 13 16,-106-13-16,13 0 0,-13 0 15,40 13-15,-41 0 0,1-13 16,-26 14-16,-14-14 15</inkml:trace>
  <inkml:trace contextRef="#ctx0" brushRef="#br0" timeOffset="76171.88">2725 10028 0,'133'-14'16,"-81"14"0,15 0-16,-1-13 0,13 13 15,0 0-15,80-13 16,-13 13-16,12-13 0,-38 13 16,-68 0-16,1 0 15,14 0-15,-1 0 16,-53 0-16,13 0 0,-12 0 15,-1 0-15,0 0 0,0 0 16,1 13-16</inkml:trace>
  <inkml:trace contextRef="#ctx0" brushRef="#br0" timeOffset="76898.53">3400 8877 0,'40'-27'16,"-27"27"-16,0-13 16,27 0-16,-14 0 0,14-14 15,0 14-15,52-27 0,-52 27 16,13-13-16,-14 12 0,1 1 16,79-27-16,-66 14 15,-40 26-15,27-13 0,-27 13 16,-13-14-16,14 14 15,-14-13-15,13 13 0</inkml:trace>
  <inkml:trace contextRef="#ctx0" brushRef="#br0" timeOffset="77172.75">3876 8401 0,'40'-14'0,"-80"28"0,93-28 16,-26 14-16,-14 0 0,0 0 0,27 0 15,-27 14-15,13-14 16,1 13-16,26 0 0,-40 0 16,13 0-16,-12 1 0,25 12 15,-25 1-15,-1 12 16,-13-26-16,0 1 0,0-1 15,-13 13-15,-1-12 16,1 12-16,13-13 0,-13 1 16,13-1-16,-13-13 0</inkml:trace>
  <inkml:trace contextRef="#ctx0" brushRef="#br0" timeOffset="77703.88">4987 8202 0,'0'-13'16,"14"39"0,-14 1-16,0-14 0,0 13 15,0 1-15,0-1 0,0 1 16,0-14-16,0 14 0,0-1 0,0-13 15,0 14-15,0-14 0,13 13 0,-13-12 16,0-1-16,0 0 0,0 0 16,0 0-16,13-13 0,-13 14 15,13-14-15</inkml:trace>
  <inkml:trace contextRef="#ctx0" brushRef="#br0" timeOffset="78023.49">4987 8189 0,'0'-13'16,"14"-1"-16,-28 41 0,41-54 0,-27 14 15,13 13-15,0 0 16,1 0-16,-1 0 0,0 13 16,0-13-16,-13 14 0,13-1 0,-13 0 15,0 0-15,14 1 0,-14-1 16,0 0-16,-14 0 0,1 27 16,13-14-16,-13-12 0,0-1 15,0 13-15,-1-12 0,14-1 16,-13 0-16,0 0 0,13 0 15,-13-13-15,13 14 0</inkml:trace>
  <inkml:trace contextRef="#ctx0" brushRef="#br0" timeOffset="78450.83">5212 8334 0,'0'0'0,"-13"0"0,0 14 16,0-1-1,13 0-15,0 0 16,0 1-16,13-14 16,-13 13-16,13-13 15,0 0-15,1 13 0,-1-26 0,13 0 16,-13 13-1,1-14-15,-14 1 0,13 13 16,0-13-16,-13 0 0,0-1 16,13 14-16,-13-13 15,14 13-15,-14 13 16,13 1-16,-13-1 0,0 0 16,0 14-16,13-1 15,-13-13-15,0 0 0,0 1 16,0-1-16,0 0 0,0 0 15,-13 14-15,0-14 16,13 0-16,-14 0 0,1 1 0,0-1 16,-14 0-16,14 0 15,0-13-15,0 0 0,0 0 16</inkml:trace>
  <inkml:trace contextRef="#ctx0" brushRef="#br0" timeOffset="78719.47">5517 8070 0,'0'-13'0,"13"39"16,-13-13-16,0 0 15,0 27-15,-13-13 0,13 26 16,-14-27-16,14 0 16,0-12-16,-13 12 0,13 1 0,0-14 15,0 0-15,0 0 0,0 1 16,0-1-16,0 0 0,0 0 16,13-13-16</inkml:trace>
  <inkml:trace contextRef="#ctx0" brushRef="#br0" timeOffset="79114.67">5689 8057 0,'13'26'16,"-26"-26"0,13 26-16,0-12 0,0-1 0,-14 13 15,14 14 1,-13-13-16,13-14 16,0 0-16,-13 0 15,13 0 1,13-13-1,0 0 1,1 0 0,-1 0-16,0 0 0,0 0 0,0 0 15,1 0-15,-1 0 0,0 0 16,0 0-16,14 0 0,-14 0 16,0 0-16,1-13 0,12 13 0,-13 0 15,0 0-15</inkml:trace>
  <inkml:trace contextRef="#ctx0" brushRef="#br0" timeOffset="79291.08">5556 8162 0,'27'-13'0,"-14"13"0,13 0 0,-12-13 15,12 13-15,-13 0 0,14-13 16,12 13-16,-12 0 0,-1-14 0,1 14 0,-1 0 16</inkml:trace>
  <inkml:trace contextRef="#ctx0" brushRef="#br0" timeOffset="79834.53">6085 8070 0,'-13'-13'0,"0"13"16,0 0-16,-1 13 0,1-13 15,0 13-15,0 0 16,0 0-16,13 1 16,-14-1-16,14 0 0,0 0 0,0 1 15,0-1-15,14 0 16,-1 0-16,0-13 16,0 14-16,0-14 0,1 0 15,-1-14-15,0 14 0,0 0 0,1-13 16,-1 13-16,0-13 0,-13 0 0,13 13 15,-13-14-15,0 1 0,0 0 16,0-14-16,-13 27 16,13-13-16,-13 0 0,-14 13 15,14-13-15,0 13 16,0 0-16,-1 13 31,41 0-15,-14-13-16,14 13 15,-14-13-15,13 14 32,-12-14-32,-1 13 0,0 0 15,0-13-15,-13 13 16,13-13-16,1 14 16,-1-14-1,27-14 1,-27 14-1,0 0-15,0 0 0,1-13 16,-1 13-16,13 0 0,-13 0 16,1 0-16,-1 0 0,0 0 15,0 0-15,-13 13 0,0 1 16,0-1-16</inkml:trace>
  <inkml:trace contextRef="#ctx0" brushRef="#br0" timeOffset="80080.24">5477 8599 0,'172'-66'0,"-132"39"15,118-26 1,-92 27-16,14 0 16,26-1-16,-80 14 0,1 13 15,-14-13-15,0 13 16</inkml:trace>
  <inkml:trace contextRef="#ctx0" brushRef="#br0" timeOffset="80338.72">5477 8639 0,'66'-27'0,"-40"27"15,-118 27-15,224-67 0,-92 27 0,0-1 16,-1 1-16,14 0 0,-13 0 15,13 0-15,-14-1 0,41-12 16,-41 13-16,1-1 0,-13 14 0,-1-13 16,1 13-16,-14-13 0,13 13 15,-13-13-15,14 13 16,-14 0-16</inkml:trace>
  <inkml:trace contextRef="#ctx0" brushRef="#br0" timeOffset="82094.83">13573 9935 0,'132'0'0,"-79"0"16,80 0-16,-54 0 0,0 0 16,1 0-16,12-13 0,186 0 15,-172 13 1,159 0-16,-1 0 0,14 0 15,-146 0-15,1 13 0,-1-13 16,-26 13-16,-14-13 16,133 27-16,-53-14 15,-106-13-15,14 13 0,-41 0 0,14-13 16,-26 13-16,-1-13 0,1 0 16,-14 0-16</inkml:trace>
  <inkml:trace contextRef="#ctx0" brushRef="#br0" timeOffset="82464.71">14340 10120 0,'27'14'0,"-54"-28"0,67 41 0,26-27 15,-13 13-15,27-13 16,78 0-16,54 13 16,53-13-16,-133 0 15,13 0-15,1 0 0,-14 0 16,106 0-16,0 0 0,-52-13 15,-94 13-15,-12 0 16,-1 0-16,40 13 0,-79-13 16,-1 0-16,-12 0 0,13 0 15,-27 0-15</inkml:trace>
  <inkml:trace contextRef="#ctx0" brushRef="#br0" timeOffset="83067.7">13533 8890 0,'106'13'0,"40"0"0,-67 1 15,120-1-15,-67-13 0,0 0 16,0 13-16,14-13 0,0 0 0,-1 0 16,159 0-16,-158 0 15,13 0-15,118 0 0,-158 0 16,-13 0-16,93 0 0,-120 0 15,0 0-15,14 0 16,-53 0-16,-14 0 0,1 0 16,-14 0-16</inkml:trace>
  <inkml:trace contextRef="#ctx0" brushRef="#br0" timeOffset="83378.77">14327 8943 0,'27'13'15,"12"0"-15,80 1 0,-39-1 16,105 13-16,-66-12 15,13-1-15,133 13 0,-120-13 16,1 1-16,-1-1 0,147 0 16,-160 0-16,0-13 0,0 14 15,-39-1-15,198 0 16,-212 0-16,1-13 0,-1 0 16,-26 14-16,-13-14 0,13 0 0,0 13 15,-40-13-15,13 0 16</inkml:trace>
  <inkml:trace contextRef="#ctx0" brushRef="#br0" timeOffset="84999.55">5120 8599 0,'53'13'0,"-27"-13"15,1 13-15,52-13 0,-39 0 16,13 14-16,-14-14 0,14 0 0,106 0 16,-106 0-1,13-14-15,79 1 16,-78 13-16,65-13 0,-66 0 15,132-27-15,-145 27 16,0-14-16,0 14 0,40-13 16,-53-1-16,-1 14 0,27-27 15,-26 1-15,0 12 16,-14 1-16,40-27 0,-26-13 16,-14 26-16,1 0 15,-14 1-15,0-54 0,-13 53 16,0 1-16,0-1 0,-13 0 15,0 1-15,-27-28 0,-26-12 16,26 39-16,1 1 0,-1-1 16,-79-13-16,53 27 15,-66-27-15,52 39 0,-79-12 16,67 13-16,12 13 16,-92 13-16,80 0 0,-27 0 15,0 14-15,13 13 0,-106 26 16,14 40-16,92-54 15,13 15-15,14-1 0,0 0 0,-40 79 16,39-26 0,27 1-16,53-54 0,-13-27 15,26 14-15,0 0 0,14 0 16,13 0-16,-1-13 0,14-1 0,79 28 16,54-15-16,-94-25 15,80-14-15,-79-13 16,79 0-16</inkml:trace>
  <inkml:trace contextRef="#ctx0" brushRef="#br0" timeOffset="95607.45">19420 10094 0,'14'-13'0,"-14"-1"16,-14 41 31,1-1-32,13-12-15,-13-1 0,0 13 16,13-13-16,-13 1 0,13-1 0,-14 0 16,14 0-16,-13-13 0,13 14 15,0-1-15,-13 0 0,13 0 16,0 1-16,-13-1 16,13 0-1</inkml:trace>
  <inkml:trace contextRef="#ctx0" brushRef="#br0" timeOffset="95926.84">19460 10041 0,'40'-13'0,"-27"13"15,0 0-15,0 13 0,1-13 0,-1 0 16,0 13-16,-13 0 0,13 1 16,1-1-16,-14 0 0,0 0 0,0 1 15,-14-1-15,14 13 0,-13-13 16,-13 14-16,12-14 0,1 0 0,0 1 15,0 12-15,-14-13 0,14 1 16,-13-14-16,12 13 0,1 0 16,0-13-16,0 13 0,0-13 0,-1 0 15</inkml:trace>
  <inkml:trace contextRef="#ctx0" brushRef="#br0" timeOffset="96426.06">19764 10160 0,'-26'13'0,"52"-26"0,-65 26 0,25 0 0,1 1 15,0-14 1,13 13-16,0 0 15,0 0 1,40-13 0,-27 0-16,0 0 0,0-13 15,1 13-15,-1 0 0,0 0 16,0 0-16,-13-13 0,14 13 16,-1 0-1,0 13 1,-13 0-16,13 1 15,-13-1-15,13-13 16,-13 13-16,27-13 16</inkml:trace>
  <inkml:trace contextRef="#ctx0" brushRef="#br0" timeOffset="96606.4">20069 10200 0,'92'-159'16,"-79"132"-16,1 14 0,-14 0 0,13 13 15,-13-13-15,0 0 0,-13 39 32,-1 27-17,1-27-15,0 1 0,13-14 16,-13 14-16,13-14 16,-13 0-16,13 0 0,-14 14 0,14-14 15,-13 0-15</inkml:trace>
  <inkml:trace contextRef="#ctx0" brushRef="#br0" timeOffset="97020.96">20108 10173 0,'40'-13'0,"-27"13"16,14-13-16,-14 13 0,40-13 16,-53-1-1,13 14-15,0 0 0,-39 0 47,-1 27-31,14-27-16,13 13 15,-13-13-15,26 13 16,27-13 0,-27 0-1,0 0-15,1 0 16,-1 0-16,0 0 0,0 0 16,0 0-16,1 0 0,-14 13 15,13-13-15,-13 14 0,13-1 16,0 0-16,1 0 15,-14 1-15</inkml:trace>
  <inkml:trace contextRef="#ctx0" brushRef="#br0" timeOffset="97420.62">19301 10742 0,'-26'27'31,"26"-14"-31,-13 0 0,13 0 15,-14 0-15,14 1 16,-13-1-16,13 0 0,0 0 0,-13 1 0,13-1 16,0 0-16</inkml:trace>
  <inkml:trace contextRef="#ctx0" brushRef="#br0" timeOffset="97718.68">19447 10782 0,'-13'39'15,"-1"-25"-15,14-1 0,0 0 16,0 0-16,0 1 0,14-14 0,-14 13 16,39 0-1,-25-13-15,-1 0 0,0 0 16,13-13-1,-12 13-15,-1-13 0,-13-1 16,13 1-16,-13 0 16,-13 0-1,13-1-15,-13 1 0,-1 13 16,1 0 0</inkml:trace>
  <inkml:trace contextRef="#ctx0" brushRef="#br0" timeOffset="97987.26">19645 10808 0,'0'0'0,"0"13"0,0 1 16,14 12-1,-14-13-15,13-13 0,0 14 16,0-14-16,0 0 15,1 0-15,-1 0 0,0 0 16,0 0-16,1 0 0,-14-14 16,13 14-16,-13-13 0,13 0 15,-13 0 1,0-1-16,-13 1 16,0 13-1,-1-13-15</inkml:trace>
  <inkml:trace contextRef="#ctx0" brushRef="#br0" timeOffset="98322.51">19910 10689 0,'0'0'0,"13"-13"0,-13 26 31,13 0-31,-13 1 0,0-1 16,0 27-1,0-27-15,0 0 0,27 27 16,-27-27 0,13 0-16,0-13 0,0 0 15,1 0-15,-1 0 16,0 0-16,14 0 0,-1-13 16,-13 13-16,1 0 0,-1 0 15,-13-13-15,13 13 16,0 0-16,0 0 0,-13 13 15,14 0-15,-14 0 32,-14 1-32,14-1 15,0 0 1</inkml:trace>
  <inkml:trace contextRef="#ctx0" brushRef="#br0" timeOffset="98951.72">20307 10795 0,'-13'13'0,"13"0"16,0 1 0,13-14 15,0 0-16,13 13 1,-12-13-16,-1 0 16,0 0-16,-13-13 0,13 13 15,14 0-15,-14-14 0,0 14 16,1 0-16,-1-13 0,0 13 16,0-13-16,0 0 15,-13 39 32,0-13-31,14 1-1,-1-1 1</inkml:trace>
  <inkml:trace contextRef="#ctx0" brushRef="#br0" timeOffset="99313.35">20704 10755 0,'0'14'0,"0"-1"15,0 0 1,0 0-16,0 0 15,0 1-15,0-1 16,-14 0 0,1-13-16,13 13 0,-13-13 15</inkml:trace>
  <inkml:trace contextRef="#ctx0" brushRef="#br0" timeOffset="99734.48">19209 11205 0,'66'0'16,"66"-13"-1,-26 0-15,-27 13 16,-12-14-16,-1 14 0,-13 0 0,13-13 16,-13 13-16,13 0 0,-13-13 15,0 13-15,0 0 0,-1 0 0,-12 0 16,-13 0-16,-1 0 0,1 0 16,-14 0-16,0 0 0</inkml:trace>
  <inkml:trace contextRef="#ctx0" brushRef="#br0" timeOffset="99961.58">19288 11337 0,'53'14'0,"-40"-14"16,53-14-16,-26 14 15,13 0-15,0-13 0,0 13 0,0-13 16,13 13-16,-13-13 0,0-1 0,13 1 16,-13 13-16,0-13 15,0 0-15,-14 13 0,27-27 0,-26 27 16,0-13-16,0 13 0,-27-13 0,13 13 16</inkml:trace>
  <inkml:trace contextRef="#ctx0" brushRef="#br0" timeOffset="101685.69">19037 11840 0,'53'-13'16,"-40"13"-16,13 0 0,-12 0 0,12 0 0,-13 0 16,14 0-16,-1 0 15,1 0-15,-1 0 0,-13 0 0,14 0 16,-14 0-16,0 0 0,1 0 0,-1 0 15,0 0-15,0 0 0,0 0 16,1 0-16</inkml:trace>
  <inkml:trace contextRef="#ctx0" brushRef="#br0" timeOffset="101983.87">18997 12052 0,'27'0'0,"-14"0"15,0 0-15,0 0 0,0 0 16,14-13-16,-14 13 0,0 0 0,1 0 16,12 0-16,-13 0 0,1 0 15,-1 0-15,13 0 0,-13 0 0,1 0 16,-1 0-16,0 0 0,0 0 16,1 0-16,-1 0 0,0 0 0,0-14 15,1 14-15</inkml:trace>
  <inkml:trace contextRef="#ctx0" brushRef="#br0" timeOffset="102396.28">19447 11734 0,'26'14'31,"-12"-14"-16,-1 0-15,-13 13 16,13-13-16,-13 13 16,13-13-16,-13 13 15,0 0 1,-13 1 0,0-1-1,13 0-15,-13-13 0,13 13 0,-14-13 16,14 14-16,-13-14 0,13 13 0,-13 0 15,0 0-15</inkml:trace>
  <inkml:trace contextRef="#ctx0" brushRef="#br0" timeOffset="102739.47">19301 12012 0,'27'0'31,"-1"13"-15,-26 1-16,14-14 0,-1 13 16,0 0-1,-13 0-15,-13 0 16,13 1-16,-13-14 0,13 13 16,-14-13-16,1 13 0,0 0 15,0-13-15,-1 14 0</inkml:trace>
  <inkml:trace contextRef="#ctx0" brushRef="#br0" timeOffset="103188.58">18957 12382 0,'53'0'16,"-39"0"-16,-1 0 0,13 14 15,1-14-15,-14 0 0,13 0 16,1 0-16,-1 13 0,-12-13 0,12 0 16,-13 0-16,14 0 0,-14 0 0,0 0 15,0 0-15</inkml:trace>
  <inkml:trace contextRef="#ctx0" brushRef="#br0" timeOffset="103443.71">19275 12277 0,'26'13'16,"-12"-13"-16,-14 13 15,26 14-15,-26-14 0,13 0 16,-13 0-16,14 0 0,-14 1 15,0-1-15,0 0 0,13-13 16,-13 13-16,0 1 0,0-1 16,-13 0-16,13 0 0,0 1 0,-14 12 31</inkml:trace>
  <inkml:trace contextRef="#ctx0" brushRef="#br0" timeOffset="103764.28">18984 12753 0,'66'0'0,"-53"0"0,14 0 15,-14 0-15,27 0 16,-27 0-16,40 0 15</inkml:trace>
  <inkml:trace contextRef="#ctx0" brushRef="#br0" timeOffset="104006.82">19275 12647 0,'0'0'16,"26"0"-16,1 27 16,-14-27-1,-13 13-15,0 0 0,13 0 0,-13 0 0,0 14 32,-13-14-32,13 0 0,-13 1 0,13-1 15,-13 0-15,-1 0 0,1 1 0,0-1 16,0 0-16,-1 0 15</inkml:trace>
  <inkml:trace contextRef="#ctx0" brushRef="#br0" timeOffset="104354.39">18957 13084 0,'40'0'16,"-80"0"-16,93 0 0,-39 0 0,-1 0 16,0 0-16,0 0 0,0 0 0,1 0 15</inkml:trace>
  <inkml:trace contextRef="#ctx0" brushRef="#br0" timeOffset="104594.52">19103 13031 0,'53'0'0,"-40"13"0,0-13 16,1 13-16,-1 0 16,0 1-16,-13-1 15,0 0-15,0 0 16,-13 1-16,13-1 16</inkml:trace>
  <inkml:trace contextRef="#ctx0" brushRef="#br0" timeOffset="105540.78">19672 11628 0,'0'-13'0,"26"13"31,-13 0-31,1 0 0,-1 0 16,13 0-16,1 40 16,-27-27-16,-27 67 15,14-54 1,0 14-16,-40 39 15,40-39-15,-27 26 0,27-40 16,-14 27-16,14-13 16,13-14-16,0-12 0,0-1 15,13 0-15,-13 0 0,14-13 0,-1 14 16,0-14-16,0 0 0,1 0 16,-1 0-16,13 0 15,-13 0-15,1 0 0,-1 0 16,0 0-16,0 13 15,1 0-15,-14 13 0,0-12 16,0 39-16,0-14 0,0 1 16,0 13-16,-14-13 0,14-1 0,0 1 15,-13 0-15,13-1 0,-13 14 16,13-26-16,-13-14 0,-1 13 16,14 1-16,-13-14 0,0 0 15,13 1-15,-13-1 0,0 0 16,13-39-1,0 12 1,13-25-16,13 12 0,-13 1 16</inkml:trace>
  <inkml:trace contextRef="#ctx0" brushRef="#br0" timeOffset="106447.62">20796 11536 0,'0'-13'0,"-26"26"15,13 0-15,-1 14 0,-12-14 0,-27 40 16,40-14-16,-27 14 0,27-26 15,0-1-15,-1-13 0,1 1 16,13-1-16,0 13 16,0-12-16,13-1 0,1-13 0,12 0 15,-13 0-15,1 0 16,-1 0-16,13-13 0,-13 13 0,14-14 16,-14 14-16,14-13 15,-1 0-15,-13 13 16,0 13-16,-13 0 31,0 1-31,0-1 0,0 0 16,0 0-16,14 0 15,-1 1-15,0-14 16</inkml:trace>
  <inkml:trace contextRef="#ctx0" brushRef="#br0" timeOffset="106750.92">21048 11774 0,'-40'13'16,"40"0"-16,-13 1 0,13-1 0,0 0 16,13 14-1,0-14-15,0-13 16,1 0-16,-1 0 0,0 0 15,0 0-15,1-13 16,-1-1-16,-13 1 0,13 0 16,-13 0-16,13-1 0,-13 1 15,0 0-15,0 0 0,-13 13 16,13-13-16,-13 13 16,-14 13-16,14 0 15,0 0 1</inkml:trace>
  <inkml:trace contextRef="#ctx0" brushRef="#br0" timeOffset="107126.88">21405 11814 0,'-13'-14'16,"-1"28"0,1-1-16,0 13 15,0-26-15,13 14 0,0-1 16,0 0-16,0 0 15,0 0-15,26 1 16,-13-1-16,1-13 16,-1 0-16,-13-13 15,13 13-15,0-14 0,-13 1 16,0 0-16,0 0 16,0 0-1,-13-14 1,13 14-16</inkml:trace>
  <inkml:trace contextRef="#ctx0" brushRef="#br0" timeOffset="107474.5">21815 11470 0,'-13'39'16,"13"-25"-1,-14 12-15,1 1 0,0 12 0,-13-12 16,12 12-16,1-12 0,13-1 16,-13 1-16,13-14 0,-13 13 0,13-12 15,0-1-15,0 0 0,0 0 16,-14 1-16,1-1 31,0-13-15,0 0-16,-14 13 31,27 0-31,0 0 16,0 1-1,13-14-15,1 0 0,-1 0 0,13 13 16,-12-13-16,12 0 0,-13 0 16,14 0-16,-14 0 0,13 13 15</inkml:trace>
  <inkml:trace contextRef="#ctx0" brushRef="#br0" timeOffset="107774.76">20876 12422 0,'0'-13'15,"-14"39"1,14-12 0,-13 25-16,13-25 0,-13 25 15,13-12-15,0-14 0,0 0 16,-13 14-16,13-1 0,0-13 15,0 1-15</inkml:trace>
  <inkml:trace contextRef="#ctx0" brushRef="#br0" timeOffset="108034.54">20889 12343 0,'26'-27'0,"-12"14"15,-1 0-15,0 13 0,0 0 0,0 13 16,1 0 0,12 14-16,-13-14 0,-13 0 15,14 27-15,-14-27 0,-14 0 16,14 14-16,-13-14 0,13 14 16,-26-1-16,12 0 0,1-12 0,0-1 15,-13 13-15,12-12 0,14-1 16,-13 0-16,0 0 0</inkml:trace>
  <inkml:trace contextRef="#ctx0" brushRef="#br0" timeOffset="108275.73">21272 12382 0,'-26'14'16,"26"-1"0,0 0-16,0 0 0,0 1 15,-13-1-15,13 0 0,0 0 0,0 1 0,0 12 16,-13-13-16,13 0 0,0 1 16,-27 39-16,14-40 15,0 0-15,-1 0 0,1 1 0,13-1 16,-13-13-16,0 13 0,0 0 15,-1-13-15</inkml:trace>
  <inkml:trace contextRef="#ctx0" brushRef="#br0" timeOffset="110059.71">22767 11390 0,'0'-26'0,"-26"39"31,26 0-31,-13 1 0,-1-1 16,1 26-1,0-12-15,0-14 0,13 14 0,0-14 0,-13 13 16,13-12-16,0-1 0,0 0 0,0 13 16,0-12-16,0-1 0,0 0 15,0 0-15,0 1 16,0-1-16,0 0 15,13 0 1,-13 1 47,0-1-17,-13 0-30,-1 0-16,14 0 0,-26 27 16,26-27-1,-13 1-15,13-1 16,-14 0-16,14 0 16,0 0-1,27-26 16,-1-13-15,-26-1-16,14 27 16,-1-26-16,-13 13 0,0-1 15,13 1-15,-13 0 0,0 0 16,0 0-16,0-1 0,0 1 0,-13 0 16,0 0-16,-1-1 15,1 1-15,0 13 16,13-13-1,-13 13-15,39 0 32,1 0-17,-14 0-15,0-13 0,0 13 16,14 0-16,-14 0 0,0 0 0,0 0 16,14 0-16,-14 0 15,0-14-15,1 14 0,-1 0 16,0 0-1,0 0 1,0 14 0,1-1-1,-1-13 1,0 0 0,0 0-16,1 0 15,-1 0-15,0-13 16,0 13-1,-13-14-15,14 1 0,-14 0 32,13 39 15,0-26-32,0 0-15,0 0 16,1 0-16,-1 0 15,0 0-15,0 0 0,1 0 16,-1 0-16,13 0 0,1 0 16,-14 0-16,0 0 15,0 0-15</inkml:trace>
  <inkml:trace contextRef="#ctx0" brushRef="#br0" timeOffset="111124.53">23667 11576 0,'-66'52'16,"66"-38"-1,0-1-15,13 0 16,0 0-16,14 1 15,-14-14-15,0 0 0,0-14 16,1 14-16,-1 0 0,13-13 0,-26 0 16,14 0-16,-1 13 0,0-14 15,-13 1-15,0 0 0,0 0 16,0 0-16,-13-1 0,0 1 16,-1 13-1,1 0-15,0 0 0,0 0 16,-1 13-1,28 1 1,25-14 0,-25 0-16,-1-14 15,26 1-15,14-13 16,-26-1-16,-1 14 0,1-14 0,-1 1 16,1 13-1,-14-14-15,40-26 0,-40 40 0,14-13 16,-14 12-16,0 1 0,0 0 15,0 0-15,-26 39 32,13-13-17,-13 1-15,13 12 0,-13-13 0,0 14 16,-1-1-16,14 1 0,-13-14 16,13 13-16,-13 1 0,13-14 0,-13 0 15,13 14-15,0-1 16,0-12-16,0-1 0,0 0 0,0 0 15,13-13 1,0 0-16,14 0 16,-27-13-16,13 0 15,0 0-15,13-1 0,1-25 16,-1 25-16,-12-12 0,25-14 16,-25 27-16,-14-13 15,26 12-15,-26 1 0,13 0 16,-13 0-16,13-1 0,-39 14 31,13 14-15,0 12-1,-1-26-15,1 27 16,13-14-16,-13 0 0,13 13 16,13-12-1,-13-1-15,13 0 16,1-13-16,12 0 31,0 0-31,-12-13 16,-1 26-16,0-13 0,0 0 15,1 0-15,-1 0 16,0 0-16,14 0 16,-14 0-16,0 0 0,0 0 15,0 0-15,1 0 16</inkml:trace>
  <inkml:trace contextRef="#ctx0" brushRef="#br0" timeOffset="111291.08">24130 11404 0,'66'-14'0,"-39"14"0,39 0 16</inkml:trace>
  <inkml:trace contextRef="#ctx0" brushRef="#br0" timeOffset="111533.69">24659 11470 0,'0'13'15,"0"0"-15,0 0 16,-13-13 0,13 14-16,0-1 0,26-40 47,-12 27-32,25-26 1,-25 26-16,-1-13 15,0 13-15,0-14 0,0 1 0,1 13 16,-1-13-16</inkml:trace>
  <inkml:trace contextRef="#ctx0" brushRef="#br0" timeOffset="111725.9">24897 11351 0,'0'-14'0,"27"28"15,-27-1 1,-27-26-16,67 39 0,-40-13 0,13 1 15,-13-1-15,13 0 16,-13 0-16,0 0 0,0 1 0,0-1 16,-13 0-16,13 0 15,-13-13-15,0 14 0,0-1 16,-1-13-16,1 13 0,0-13 16,-27 13-16,14 1 15</inkml:trace>
  <inkml:trace contextRef="#ctx0" brushRef="#br0" timeOffset="111988.99">23693 11893 0,'27'-26'0,"39"12"15,13-12-15,27-1 16,-40 14 0,133-13-16,-93 13 15,-53 13-15,0-14 0,26 14 16,-53 0-16,1 0 16,-14 0-16,0 0 0,0 0 0,1 0 15</inkml:trace>
  <inkml:trace contextRef="#ctx0" brushRef="#br0" timeOffset="112232.15">23535 11893 0,'66'13'16,"13"-26"-16,-13 13 15,159 0 1,-132 0-16,-1 0 0,-12 0 0,-1 0 0,14 0 16,-27 0-16,0 13 0,-13-13 15,0 0-15,0 0 0,-27 0 16,14 0-16,-27 0 0,14 0 0,-1 0 16,-13 0-16,1 0 0,-1-13 15,0 13-15,0 0 0</inkml:trace>
  <inkml:trace contextRef="#ctx0" brushRef="#br0" timeOffset="116305.55">12224 11814 0,'-13'-14'0,"-14"14"15,-39 0 1,53 0 0,-14 0-16,14 0 0,-13 0 0,-1 0 15,1 0-15,12 0 0,-12 0 16,-1 0-16,1 0 0,13 0 16,-14 0-16,14 0 0,0 0 0,0 0 0,-1 0 15,1 0-15,0 0 0,0 14 16,0-14-16,-1 0 15,1 0-15,13-14 47</inkml:trace>
  <inkml:trace contextRef="#ctx0" brushRef="#br0" timeOffset="116616.49">11840 11668 0,'-13'-13'0,"0"13"16,-14 0-16,-12 26 15,25-26-15,1 14 16,0-1-16,0-13 0,-1 13 15,14 0-15,-13 1 0,0-1 0,13 0 16,-13 13-16,13-12 16,0-1-16,13 0 15,0 0-15,0 1 0,1-14 0,-1 13 16,0-13-16,0 13 0,1-13 16,12 0-16,-13 13 0,0-13 15,14 0-15,-14 0 0,14 0 0,-14 0 16</inkml:trace>
</inkml:ink>
</file>

<file path=ppt/ink/ink7.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47:49.691"/>
    </inkml:context>
    <inkml:brush xml:id="br0">
      <inkml:brushProperty name="width" value="0.05292" units="cm"/>
      <inkml:brushProperty name="height" value="0.05292" units="cm"/>
      <inkml:brushProperty name="color" value="#0070C0"/>
    </inkml:brush>
  </inkml:definitions>
  <inkml:trace contextRef="#ctx0" brushRef="#br0">2500 1416 0,'410'-53'0,"-357"39"0,0 14 0,13 0 16,-13-13-16,0 13 0,-13 0 0,13 0 0,13 0 16,-13 0-1,-27 0-15,-12 0 0,-1 0 0</inkml:trace>
  <inkml:trace contextRef="#ctx0" brushRef="#br0" timeOffset="270.92">2580 1548 0,'26'0'15,"1"0"-15,105-13 16,-79 13-16,0 0 15,13-14-15,132 1 16,-132 13-16,40 0 16,-53-13-16,0 13 0,-13 0 15,39 0-15,-52-13 16,-14 13-16,0 0 0,14 0 16</inkml:trace>
  <inkml:trace contextRef="#ctx0" brushRef="#br0" timeOffset="4051.33">19275 1402 0,'40'-13'0,"-27"13"15,0 0-15,14 0 0,-14-13 0,26 13 16,-12 0-16,13 0 0,-1 0 16,14 0-16,0 0 0,0 0 0,-13 0 15,13 0-15,0 0 0,-1 0 16,-12 0-16,13 0 0,0 0 0,26 0 16,-52 0-16,-1 0 0,14 0 15,-14 0-15,-12 0 0,12 0 16</inkml:trace>
  <inkml:trace contextRef="#ctx0" brushRef="#br0" timeOffset="4997.93">16166 1349 0,'26'14'31,"-12"-14"-15,-1 0-16,0 0 0,67 0 15,-41 0-15,14 0 16,13 0-16,-13 0 0,0 0 15,27 0-15,12 0 0,-12-14 0,12 14 16,80 0-16,-79 0 0,-1 14 16,14-14-16,-13 0 0,-1 0 15,1 0-15,0 13 0,-1-13 0,1 0 16,-14 0-16,14 13 0,-14-13 0,0 0 16,1 13-16,-27-13 0,13 0 15,-13 0-15,0 0 0,0 14 0,0-14 16,-1 0-16,1 0 0,-26 0 0,13 0 15,26 13 1,-40-13-16,-13 0 0,1 0 16,-1 0-16,-13 13 15</inkml:trace>
  <inkml:trace contextRef="#ctx0" brushRef="#br0" timeOffset="6477.1">16735 1508 0,'40'0'15,"-27"0"-15,13 0 0,14 13 16,13-13-16,0 0 0,0 0 16,26 0-16,-13 14 0,14-14 0,-14 0 15,13 0-15,0 13 0,14-13 16,66 13-16,-80-13 0,1 0 15,-1 13-15,0-13 0,-12 0 0,-1 14 16,53-1-16,-80-13 16,14 13-16,-26-13 0</inkml:trace>
  <inkml:trace contextRef="#ctx0" brushRef="#br0" timeOffset="6898.99">19434 1654 0,'119'13'15,"-93"-13"-15,27 0 0,-13 0 16,158 0 0</inkml:trace>
  <inkml:trace contextRef="#ctx0" brushRef="#br0" timeOffset="10583.86">1310 2500 0,'26'-13'15,"-13"13"-15,1 0 16,12 0-16,1 0 0,-1 0 0,0-13 16,41 13-16,-28 0 15,1 0-15,13 0 0,0 0 0,39 0 16,-52 0-16,26 0 16,-26 0-16,13-13 15,-27 13-15,1 13 0,-1-13 0,-13 0 16,1 0-16,-1 0 0,0 0 0,0 0 15,1 0-15</inkml:trace>
  <inkml:trace contextRef="#ctx0" brushRef="#br0" timeOffset="10873.78">1812 2606 0,'93'-13'0,"-67"13"15,-12 0-15,12 0 0,1 0 0,-1 0 0,14-13 16,-27 13-16,13 0 0,-12 0 15,39 0 1,-40 0-16,0 0 0,0 0 0,0 0 16,1 0-1,-1 13-15</inkml:trace>
  <inkml:trace contextRef="#ctx0" brushRef="#br0" timeOffset="32612.71">22820 3691 0,'0'-13'16,"14"26"15,-1 0-31,-13 0 16,0 27-16,0-27 16,0 14-16,-27 105 15,27-79-15,0-27 16,-13 1-16,13-14 0,0 14 15,-13-14-15,13 0 0,0 0 16,0 1-16,0-1 0,-13 0 0,13 0 16,0 0-16,0 1 15,0-1-15,-14-40 32,14-12-17,0 26 1,-13-1-16,13 1 0,-13 0 15,-14 0-15,14-1 0,0 1 16,0 13-16,-14-13 0,14 13 16,0 0-16,0 0 0,-14 13 0,14-13 15,-14 13-15,14-13 0,-13 14 0,13-1 0,-1 0 16,1 0-16,0 1 16,0-14-16,13 13 0,0 0 0,-14 0 15,28 0-15,-14 1 0,13-1 16,0-13-16,14 13 0,-14-13 15,13 0-15,-13 13 0,14-13 16,-1 0-16,1 0 0,-14 0 0,14 0 0,-1-13 16,-13 13-16,14 0 15</inkml:trace>
  <inkml:trace contextRef="#ctx0" brushRef="#br0" timeOffset="33087.6">23125 4035 0,'-14'-13'0,"1"13"0,-40 13 31,40 13-31,0-26 0,-14 27 16,27-14 0,-13 0-16,0 1 15,26-1 1,0-13 0,14-13-16,-14 13 15,-13-14-15,13 14 16,0-13-16,-13 0 0,14 13 0,-1-13 15,0-1-15,-13 1 0,13 13 16,-13 13 15,0 14-15,0-14-16,14-13 16,-14 13-16,0 1 0,13-14 15,-13 13-15,13-13 0,0 13 16,1-13-16,-1 0 15,0 0-15,0 0 0,0-13 16,1 13-16</inkml:trace>
  <inkml:trace contextRef="#ctx0" brushRef="#br0" timeOffset="33326.48">23402 3942 0,'27'-66'16,"-27"53"-16,0 0 0,-27 105 15,54-198-15,-27 93 0,0 0 16,-13 13-1,13 26 1,-14-12-16,14-1 0,0 0 16,-13 14-16,13-1 0,0-13 15,-13 14-15,13-14 0,0 13 0,0-12 0,13 12 16,-13-13-16,0 1 16,13-1-16,-13 0 0,0 0 0,14 1 15,-1-1-15,0-13 0,0 13 0,1-13 16,-1 13-16,0-13 15,0 0-15,0 0 0</inkml:trace>
  <inkml:trace contextRef="#ctx0" brushRef="#br0" timeOffset="33526.81">23336 3995 0,'27'-13'32,"-14"13"-32,0 0 0,14 0 15,-14 0-15,13 0 16,1 0-16,-14 0 0,13 0 0,-12 0 16,-1 0-16</inkml:trace>
  <inkml:trace contextRef="#ctx0" brushRef="#br0" timeOffset="33967.12">23786 3969 0,'-13'0'16,"13"-13"-16,-13 13 0,-1 13 16,1-13-16,0 0 15,-14 13-15,14 13 16,0-12-16,0-14 0,0 26 16,13-13-1,0 1-15,0-1 0,13-13 16,0 0-1,0 0-15,14 0 16,-14-13-16,0 13 0,0-14 16,1 14-16,-1-13 15,0 13-15,0 0 16,0 0 0,-13 13-1,14 1 1,-1-14-16,-13 13 15,13 0 1,-13 0-16</inkml:trace>
  <inkml:trace contextRef="#ctx0" brushRef="#br0" timeOffset="34345.19">23230 4551 0,'14'13'31,"-28"14"-31,14-14 16,0 0-16,-13 13 0,0 1 15,13-14-15,0 0 16,-13 1-16,0 12 15,13-13-15,-14 0 16</inkml:trace>
  <inkml:trace contextRef="#ctx0" brushRef="#br0" timeOffset="34523.01">23244 4458 0</inkml:trace>
  <inkml:trace contextRef="#ctx0" brushRef="#br0" timeOffset="34805.39">23442 4405 0,'0'-13'16,"13"40"-16,-26 25 31,13-38-31,-13 25 0,0-12 0,13 26 16,-14-14-16,14-25 15,-13 12-15,13 1 16,0-14-16,-13 0 0,13 0 16,0 14-16,0-14 15,0 0 1</inkml:trace>
  <inkml:trace contextRef="#ctx0" brushRef="#br0" timeOffset="35002.49">23310 4683 0,'13'0'15,"0"-13"-15,0 13 16,1 0-16,-1 0 16,13-13-16,-12 13 15,12 0-15,1 0 16</inkml:trace>
  <inkml:trace contextRef="#ctx0" brushRef="#br0" timeOffset="35933.85">23654 4696 0,'13'-13'0,"-13"0"16,-13 39-16,39-65 0,-52 39 62,13 13-62,-1 0 16,1 14-1,13-14-15,0 0 16,13 0 0,1 0-1,-1-13-15,0 0 16,0 0-16,0 0 16,1-13-16,12 0 15,-13 0 1,1 13-16,-1-13 0,0-1 15,0 14 1,-13-13-16,13 13 16,1 0 15,-1 13-15,-13 1-1,13-14 1,-13 13-16,0 0 15,0 0 1,0 0 15,13-13-15,1-13 0,-1 13-1,0 0 1,-13-13-16,13 13 15,1 0-15,-1 0 47,0 13-15,0-26-1,0 13-16,1-13-15,-1 13 16,0 0-16,0 0 16,1-13-1,-14 26-15,13-13 16,0 0-16,0 13 31,-13 0-15</inkml:trace>
  <inkml:trace contextRef="#ctx0" brushRef="#br0" timeOffset="36305.08">23376 4948 0,'66'-27'16,"-26"27"-16,-27 0 16,40 0-16,-27-13 0,41 13 15,-41 0-15,0 0 16,1 0-16,26 0 0,-40-13 16,27 13-16,-14 0 0,1 0 31</inkml:trace>
  <inkml:trace contextRef="#ctx0" brushRef="#br0" timeOffset="36549.18">23336 5001 0,'-13'0'16,"26"0"-16,0 0 15,1 0-15,-1 0 16,0 0-16,27 0 0,-14 0 16,1 0-16,26 0 15,-27-14-15,1 14 0,-1 0 0,1 0 16,25 0-16,-25-13 0,-14 13 16,0 0-16,14-13 15,-14 13-15,0-13 0,0-1 16</inkml:trace>
  <inkml:trace contextRef="#ctx0" brushRef="#br0" timeOffset="37501.17">22410 3426 0,'-79'0'0,"66"0"16,-106 146-16,66-54 16,13 14-16,13-40 15,1 54-15,13-54 0,13 0 16,-13 132 0,13-132-16,13 67 0,-13-67 15,13 53-15,-13 0 16,13-26-16,0-14 15,-13-39-15,14-1 16,12 14-16,1-26 16,-14-14-16,13-26 15,1 13 1</inkml:trace>
  <inkml:trace contextRef="#ctx0" brushRef="#br0" timeOffset="38773.73">22132 3492 0,'212'-39'0,"-106"39"15,-53-13-15,0 13 16,26-14-16,146 1 16,-146 0-16,-12 13 0,12-13 15,0 13-15,1 0 0,65-14 16,-13 14-16,-79-13 15,0 13-15,13 0 0,40 0 16,-13 0-16,-1 0 16,-52 0-16,-13 0 15,65-13-15,-39 26 16,-26-13-16,-14 0 0,13 0 16,1 0-16,-14 13 15,0-13-15,14 14 0,-14-1 16,0 0-16,0 14 15,1-1-15,-1 0 16,-13 1-16,13 13 0,0-1 16,-13 1-16,0 0 15,0-1-15,14 94 0,-14-80 16,0-14-16,0 54 0,0-40 16,-14-13-16,14 12 0,-13 173 31,0-185-31,0 79 15,13-79-15,-14 13 16,14-27-16,0 1 0,-13 25 16,13-12-16,-13 0 15,13-14-15,0-12 16,0 25-16,-13-12 16,13-1-16,0-13 0,0 1 0,0-1 15,13 27 1,-13-27-16,0 13 15,0-13 1,0 1 0,0-1-1,-13-13 17,-1 0-17,1 0-15,0 0 0,-27-13 16,14 13-16,-14-14 0,0 14 15,-65-26-15,12 13 16,-39 0-16,-1-14 16,14 14-1,-92-14-15,145 27 16,-106-13-16,105 13 16,-38-13-16,52 13 15,0 0-15,-53 0 0,53 0 16,-13 0-16,13 0 15,26 0-15,1 0 16,-14 0-16,14 0 0,-1 0 16,1 0-16,13 0 15,0 0-15,-14 0 16,14 0-16,0 13 16,-1-13-1,1 0 1,0 0-1,13-13 17,13 0 15</inkml:trace>
  <inkml:trace contextRef="#ctx0" brushRef="#br0" timeOffset="43433.98">8572 4723 0,'27'0'16,"13"-13"0,-27 13-16,13 0 15,-12 0-15,12 0 0,14 0 16,-1 0-16,14 0 0,0-14 0,132 14 16,-118 0-1,-14 0-15,13 0 0,-13 0 0,13 0 16,-13 0-16,0 0 0,-1 0 15,1 0-15,0 0 0,0 0 0,-13 0 16,0 0-16,-14 0 0,0 0 16,1 0-16,-14 0 0,14 0 0,-14-13 15,13 13-15,-12 0 0,-1 0 16,0 0 0,0 0-1</inkml:trace>
  <inkml:trace contextRef="#ctx0" brushRef="#br0" timeOffset="44673.95">13851 4802 0,'106'0'0,"-80"0"16,1 0-16,-1 0 0,40 13 15,-26-13-15,-14 0 0,14 0 16,-13 0-16,12 0 0,-12 0 0,-1 0 15,14 0-15,-14 0 0,1 0 16,12 0-16,-12 14 0,-14-14 16,0 0-16,1 0 0,-1 0 15,0 0-15,0 0 0,1 0 16,-1 0-16,0 0 31,0 0-31</inkml:trace>
  <inkml:trace contextRef="#ctx0" brushRef="#br0" timeOffset="46470.84">17436 4776 0,'40'0'0,"-27"0"0,0 0 15,0 0-15,14 0 0,-14 0 16,14 13-16,-1-13 0,0 0 0,1 0 15,-1 0-15,1 13 0,-1-13 16,14 0-16,-14 0 0,1 13 0,13-13 16,-14 0-16,1 0 0,-1 0 15,0 14-15,1-14 0,-14 0 0,14 0 16,-1 0-16,-13 0 0,1 0 16,-1 0-16,-13 13 0,13-13 15,0 0-15,0 0 0,1 0 31,-1 0-15,0 0 0</inkml:trace>
  <inkml:trace contextRef="#ctx0" brushRef="#br0" timeOffset="48882.44">19328 4723 0,'40'13'16,"-27"-13"-16,0 13 0,0-13 16,27 0-16,-27 0 0,40 13 15,-27-13-15,14 14 0,-13-14 16,-1 0-16,14 13 0,-14-13 15,1 0-15,12 13 0,-12-13 0,-1 0 16,1 0-16,-1 13 0,1-13 0,-1 0 16,-13 0-16,14 0 0,-1 0 15,1 0-15,-14 0 0,13 0 0,-12 0 16,12 0-16,-13 0 0,14 0 16,-1 0-16,-13 0 0,14 0 0,-14 0 15,14 0-15,-14 0 0,27-13 16,-14 13-16,-13 0 0,14 0 15,-14 0-15,0-13 0,14 13 16,-14 0-16,0-13 0,0 13 0,1 0 16,-1-14-16,0 14 0,0 0 15,-13-13-15,13 13 0,1-13 0,-1 13 16,0-13-16,0 13 0,1-13 0,-1-1 16,0 1-16,0 0 15,1 0-15,-1-1 0,0 1 16,0 0-16,-13 0 0,13 0 0,-13-1 15,14 1-15,-14 0 0,13 0 16,0-14-16,-13 14 16,0 0-16,0-1 0,0 1 0,13 0 15,-13 0-15,0 0 0,0-1 16,0 1-16,0 0 0,0-14 16,0 14-16,-13 0 0,13 0 0,0-1 15,0 1-15,0 0 0,-13 0 16,13 0-16,-13-1 0,-1-12 15,1 26-15,13-13 0,-13-1 16,0 1-16,0 0 0,-1 13 16,1-13-16,0 0 0,-27-1 0,27 1 15,0 0-15,-14 13 0,14-13 16,0 13-16,0-14 0,-14 14 16,14-13-16,0 13 0,-1-13 0,1 13 15,-27-13-15,27-1 0,-13 14 16,13-13-16,-14 13 15,14 0-15,0-13 0,-1 13 16,-12-13-16,13 13 0,-1 0 16,1 0-16,0 0 0,0-13 15,0 13-15,-1 0 0,1 0 16,0 0-16,0 0 0,-1-14 0,1 14 16,0 0-16,0 0 0,-1 0 0,1 0 15,0 0-15,0 0 0,0 0 16,-1-13-16,1 13 0,0 0 0,0 0 15,-1 0-15,1 0 0,0 0 16,0 0-16,-14 0 0,14 0 16,0 0-16,0 0 0,-1 0 15,1 0-15,0-13 0,0 13 16,-1 0-16,1 0 0,-13 0 16,13 0-16,-1 13 0,1-13 15,-13 0-15,12 0 16,1 0-16,-13 0 15,12 13-15,1-13 16,0 0 0,0 14-16,0-14 15,-1 0-15,1 13 16,0-13 0,13 13-1,-13-13-15,-1 0 16,14 13-16,-13-13 15,0 13-15,0-13 16,0 14 0,-1-14-1,1 13 1,0 0 0,0-13-1,13 13-15,-14-13 16,14 14-16,-13-14 15,0 13-15,0 0 16,-1 0 15,1 1-15,0-1 0,0 0-1,0 0 1,-1 0-1,1-13 1,13 14-16,-13-1 16,0 0-16,-1 0 15,14 1-15,-13-14 16,13 13-16,0 0 16,-13-13-16,13 13 0,-13-13 15,13 13-15,0 1 16,-14-1-16,1 0 15,13 0 1,-13 14 0,13-14-16,-13 0 15,13 1-15,0-1 16,0 0 0,0 13-1,0-12-15,0-1 16,0 0-16,13 27 31,0-14-15,0 14-1,1-27 1,-1-13-16,-13 13 0,13-13 16,0 14-16,27 12 15,-27-26 1,1 0-16,-1 13 0,13-13 15,-26 14-15,13-14 16,1 0-16,-1 0 0,0 13 16,0-13-16,1 0 15,-1 13-15,0-13 16,0 0 0,-13 13-16,14-13 15,-1 0 1,-13 13-1,13-13 1,0 0 15</inkml:trace>
  <inkml:trace contextRef="#ctx0" brushRef="#br0" timeOffset="50346.67">18984 3321 0,'-40'119'16,"27"-106"-16,13 13 0,0-13 0,-13 1 16,13 12-16,-14-13 0,14 1 15,0-1-15,0 0 16,14-13-1,-1-13 1,27 0 0,-40-1-16,13 14 0,0-13 15,0 13-15,14-13 0,-14 13 16,0 0-16,0 0 0,-13 13 0,14-13 16,-1 0-16,-13 13 0,13-13 15,-13 14-15,13-1 16,1 0-16,-14 0 0,0 1 15,13-1-15,-13 0 16,13-13-16</inkml:trace>
  <inkml:trace contextRef="#ctx0" brushRef="#br0" timeOffset="50777.29">19315 3532 0,'13'-26'0,"-13"12"16,0 1-16,13 0 0,-13 0 16,0 0-16,0-1 15,-26 28 16,12-1-31,14 0 0,-13 0 16,0 14-16,13-14 0,-13 0 16,13 14-1,13-27-15,13 0 16,27-14 15,-13 1-31,-27 13 0,27-13 31,-40 0-31,13 13 0,0 13 16,-13 0 0,14 0-16,-14 1 15,0 12 1,0-13 0</inkml:trace>
  <inkml:trace contextRef="#ctx0" brushRef="#br0" timeOffset="50925.03">19606 3347 0,'-14'0'16</inkml:trace>
  <inkml:trace contextRef="#ctx0" brushRef="#br0" timeOffset="51750.89">19738 3387 0,'-13'13'0,"-14"-13"16,14 13-1,0 0-15,0 1 16,26 12 0,0-13-1,0-13-15,-13 13 0,13-13 16,-13 14-16,27 12 15,-27-13-15,13 1 0,-13-1 16,0 0-16,0 0 16,0 1-16,-13-14 0,13 13 0,-13-13 15,13 13-15,-14-13 0,1 13 16,0-13 0,0 13-16,39-39 46,1 13-30,-14 0-16,0-1 0,0 14 16,1-13-16,-1 0 0,0 0 15,0-1-15,1-12 0,-1 13 0,0-1 16,-13-12-16,13 13 0,0 0 0,1-1 16,-1-12-16,0 13 15,-13-1-15,13 1 0,-13 0 16,-13 26 15,0 0-15,13 1-1,-13-1-15,13 0 0,0 14 16,0-14-16,0 0 16,0 0-16,0 0 15,13 14 1,0-14-16,0-13 15,1 13-15,12-13 16,-13 0-16,14 0 16,-14-13-16,0 13 15</inkml:trace>
  <inkml:trace contextRef="#ctx0" brushRef="#br0" timeOffset="51993.81">20161 3294 0,'-13'40'31,"13"-27"-31,0 0 0,-13 0 0,13 1 15,0 12-15,-13-13 0,13 14 16,-14-1-16,14-13 16,0 1-16,0-1 0,0 0 15,0 0-15</inkml:trace>
  <inkml:trace contextRef="#ctx0" brushRef="#br0" timeOffset="52182.65">20016 3440 0,'26'-14'0,"-52"28"0,65-28 0,-25 14 16,-1 0-16,0 0 0,27-13 15,-27 13-15,27 0 16,-27 0-16,0 0 0</inkml:trace>
  <inkml:trace contextRef="#ctx0" brushRef="#br0" timeOffset="54977.35">19024 2884 0,'0'-13'0,"0"52"31,-14-25-31,14-1 0,-13 13 16,13-12-1,-13 12-15,13-13 0,0 0 16,0 1-16,0-1 0,-13 0 16,26 0-16,-13 1 15,13-14-15,14 13 16,-14-13-16,0 0 0,0 0 0,0 0 15,1 0-15,-1 0 16,0 0-16,14 0 0,-27-13 16</inkml:trace>
  <inkml:trace contextRef="#ctx0" brushRef="#br0" timeOffset="55269.3">19076 3056 0,'-13'-13'16,"40"13"31,-14 0-47,0 0 0,14 0 15,-14 0 1,0 0-16,0 0 0,-13-14 16,14 14-16,-28-13 31,14 0-31,-13 13 0,13-13 0,-13 13 15,0-13-15,-1-1 16,1 14 0,13-13-16,-13 13 0,26-13 31,0 0-15</inkml:trace>
  <inkml:trace contextRef="#ctx0" brushRef="#br0" timeOffset="55855.01">19354 2844 0,'14'0'16,"-14"27"15,-14 12-15,14-25-16,0-1 0,0 0 0,0 0 16,0 1-16,-13-1 0,26 0 0,-13 0 15,0 0-15,0 1 0,0-1 16,0 0-16,0 0 15,-13-13 1,0 0 0,-14-13-1,1 13 1,13 13-16,-1-13 16,1 14-16,0-1 31,39 0-16,-26 0-15,27-13 0,-14 0 16,14 0-16,-1 0 16,1 0-16,-1 0 15,-13 0-15,14-13 0,-14 13 0,0-13 0,0 13 16,1-13-16,-14-1 0,13 14 16,-13-13-16,13 13 0,-13-13 0,13 13 15,-13-13-15,-13 39 63,26-13-32,0-13-31,1 0 16,-1 0-16,0 0 15,14 14 1,-14-14-16,0 0 15,0 0-15,1 0 16,-1 0-16,0 0 0,0 0 16,0 0-16</inkml:trace>
  <inkml:trace contextRef="#ctx0" brushRef="#br0" timeOffset="56201.72">19844 3069 0,'0'-13'0,"0"26"16,-13-26-16,-1 26 31,28 0 0,-1-13-15,0 0-16,13 0 16,-12-13-1,-1 13-15,0-13 0,0 13 16,1-13-16,-1-1 15,0 1 1,0 26 15,-13 1 1,13-1-32,1 0 15,-1 0 1,0-13-16,0 0 15,1 0-15</inkml:trace>
  <inkml:trace contextRef="#ctx0" brushRef="#br0" timeOffset="56620.84">20201 2937 0,'13'-27'0,"-13"14"16,13 0-16,-13 0 15,0 39 32,0-13-47,0 1 16,0-1-16,-13 0 15,13 0-15,0 1 0,0-1 16,-13 0-16,13 0 16,-13 0-1,-1-13 1,28-13 31,-1 0-32,0 13-15,14-13 16,-1 13 0,-13 0-1,1 0-15,-14 13 16,0 0-1,0 0 1,0 1-16,0-1 16</inkml:trace>
  <inkml:trace contextRef="#ctx0" brushRef="#br0" timeOffset="57021.79">20386 2950 0,'-13'-13'15,"13"0"17,13 39 14,-13-13-46,13 1 16,-13-1 0,14-13-16,-1 13 15,0-13 1,0 0 0,1 0-1,-1 0-15,0 0 16,0 0 15,14 0-15,-14 0-1,0 0 1,0 0 0</inkml:trace>
  <inkml:trace contextRef="#ctx0" brushRef="#br0" timeOffset="57769.75">19301 2540 0,'-26'-13'16,"13"13"-16,-1 0 0,1 0 0,0 13 15,0-13-15,0 0 0,13 13 16,-14-13-16,14 13 16,0 1-16,0 12 0,14-26 15,-14 27-15,13-14 0,0 0 16,0 0-16,14 27 16,-14-27-16,13 0 0,-12 1 15,-14-1-15,13-13 0,-13 13 16,13 0-16,-13 1 15,-13-1-15,0-13 16,-1 13-16,1-13 0,0 0 16,0 13-16,-1-13 0,1 0 15,-13 0-15,-1 14 0,14-28 16</inkml:trace>
  <inkml:trace contextRef="#ctx0" brushRef="#br0" timeOffset="58270.82">19447 2686 0,'-40'13'16,"27"0"-16,13 0 16,13 0-1,0-13 1,1 0 0,-1 14-1,0-14 1,0 13-16,1 0 15,-1 0-15,0-13 16,0 0 0,27 0-1,0-26 1,-14 13-16,-13-1 0,1 1 16,-1-13-16,0 13 15,0-1-15,0-12 16,1 13-16,-1-1 15,-13 41 17,0-1-17,0-12-15,26 12 32</inkml:trace>
  <inkml:trace contextRef="#ctx0" brushRef="#br0" timeOffset="58606.81">20029 2646 0,'0'0'0,"-13"-13"0,-1 13 16,1 0-16,0 13 0,0-13 16,0 0-1,13 13-15,-14-13 16,14 13-16,14 1 15,-1-14 1,0 0 0,0 0-16,0 0 15,1 13 1,-1-13 0,0 0-16,0 13 15,1-13 1,-1 0 15,0 0-31,0-13 16</inkml:trace>
  <inkml:trace contextRef="#ctx0" brushRef="#br0" timeOffset="58952.29">20201 2619 0,'13'14'47,"0"-1"-31,1-13-16,-1 13 31,0-13-31,0 0 16,1 0-16,-14 13 0,13-13 0,0 14 31,0-1-15,-13 0-1,13-26 32,14-14-31,-14 14-16,14 13 15,-14-13-15,0 13 0</inkml:trace>
  <inkml:trace contextRef="#ctx0" brushRef="#br0" timeOffset="59064.82">20664 2593 0</inkml:trace>
  <inkml:trace contextRef="#ctx0" brushRef="#br0" timeOffset="64965.47">12965 9657 0,'53'14'0,"-40"-14"16,13 0-16,14 0 0,-14 0 0,27 0 16,0 0-16,0 0 0,0 0 0,-13 0 15,13 0-15,-14 0 0,1 0 16,-14 0-16,14 0 0,-13 0 0,-1 0 16,14 0-16,-14 0 15,-13 0-15,1 0 0,-1 0 16,13 0-1,-12 0-15,-1 0 16,0 0-16</inkml:trace>
  <inkml:trace contextRef="#ctx0" brushRef="#br0" timeOffset="65582.67">14552 9737 0,'27'0'31,"-14"0"-31,66 13 16,-26-13-1,-13 0-15,-14 0 0,14 0 16,-14 0-16,1 0 0,12 13 0,-12-13 0,-1 0 16,1 0-16,-1 0 0,1 0 15,-14 0-15,27 0 16,-27 0-16,0 0 0,0 0 0,1 0 16,-1 0-16,13-13 15,-12 13 1,-1 0-1,0 0 1,0 0-16</inkml:trace>
  <inkml:trace contextRef="#ctx0" brushRef="#br0" timeOffset="66177.72">16192 9723 0,'80'0'0,"-67"0"15,0 0-15,14 0 0,52 0 16,-52 0-16,-1 0 0,1-13 15,-1 13-15,0 0 0,1 0 16,-1 0-16,-12 0 0,-1 0 16,13 0-16,-12 0 0,-1 0 15,0 0-15,0 0 0,0 0 16,1 0 0</inkml:trace>
  <inkml:trace contextRef="#ctx0" brushRef="#br0" timeOffset="66901.75">17978 9763 0,'93'-13'0,"-66"13"15,-1 0-15,14 0 0,-1 13 0,14-13 16,0 0-16,-13 0 0,13 0 16,26 0-16,-39 13 0,-14-13 15,14 0-15,-14 0 0,-12 0 16,12 0-16,-13 0 0,14 0 0,-1 0 15,-13 0-15,1 0 16,-1 0-16,0 0 16,0 0-16</inkml:trace>
  <inkml:trace contextRef="#ctx0" brushRef="#br0" timeOffset="79552.25">16722 12158 0,'53'0'0,"-27"0"0,1 0 0,-1 0 16,27 0-16,0 0 0,0-14 16,0 14-16,0 0 0,13 0 0,-13 0 15,13 0-15,0 0 0,-13 0 16,13 0-16,-13 0 0,13 0 0,-13 0 16,0 0-16,0 0 0,0 0 0,-14 0 15,1 0-15,-13 0 0,-1 0 16,0 0-16,1 0 0,13-13 15,-14 13-15,-13 0 0,1 0 0,-1 0 16,0 0-16,13 0 16,-12 0-1,-1 0-15,-13-13 32</inkml:trace>
  <inkml:trace contextRef="#ctx0" brushRef="#br0" timeOffset="82057.42">3770 12726 0,'-13'0'16,"53"0"0,13 0-1,0 0-15,0 0 0,-1 0 16,1 0-16,0 14 0,0-14 0,13 0 16,-13 0-16,0 0 15,0 0-15,13 0 0,-26 0 0,0 0 16,-1 0-16,-12 0 0,-1 0 0,1 13 15,-14-13-15,13 0 0,-12 0 0,-1 0 16,0 0-16,0 0 0,0 0 16,1 0-16,-1 0 15,0 0 1,0 0 0,1 0-16,-1 0 15,0 0-15,0 0 16,1 0-16</inkml:trace>
  <inkml:trace contextRef="#ctx0" brushRef="#br0" timeOffset="82615.66">5940 12753 0,'40'0'31,"-27"0"-31,0 0 15,53 13 1,-26-13-16,0 13 0,-1-13 0,54 14 16,-27-14-16,-13 0 15,-27 13-15,41-13 16,-41 0-16,0 0 0,14 0 16,-13 0-16,-14 0 0,0 0 15,0 0-15,1 0 0,-1 0 16,0 0-16,0 0 15,0 0-15,1 0 16,-1 0-16,0 0 16,0-13-16,1 13 0</inkml:trace>
  <inkml:trace contextRef="#ctx0" brushRef="#br0" timeOffset="83229.99">7766 12832 0,'52'-13'15,"-38"13"1,39 0-16,13 0 15,53 0 1,-80 0-16,1 0 0,53 0 16,-1 0-16,-65 0 15,-1 13-15,14-13 0,-14 0 0,1 0 16,-1 0-16,1 0 16,-1 0-16,-13 0 0,1 0 15,-1 0 1,0 0-16,0 0 15,1-13 1,-1 26 0</inkml:trace>
  <inkml:trace contextRef="#ctx0" brushRef="#br0" timeOffset="86989.72">10081 12912 0,'92'13'0,"-65"0"16,-1-13-16,14 0 0,66 13 16,-53-13-16,79 14 15,-79-14-15,13 13 0,13-13 16,-13 13-16,14-13 0,-14 13 0,13-13 15,1 0-15,-14 14 0,13-14 16,1 0-16,-1 13 0,0-13 16,-12 0-16,91 0 0,-78 0 0,-1 13 15,-13-13-15,14 0 0,-14 0 16,53 0-16,-40 0 16,-13 0-16,67-13 0,-81 13 15,68 0-15,-54 0 16,40 0-16,-54 0 0,1 0 15,0-13-15,0 13 0,-13 0 0,13 0 16,-14 0-16,67-14 16,-79 14-16,-1 0 0,1-13 15,-14 13-15,13 0 0,-12 0 16,12 0-16,-13 0 0,27-13 16,-27 13-16,0 0 15,1 0-15,-1 0 0,0 0 0,0-13 16,1 13-1,-1 0-15,0 0 32,0 0-32,0-14 15,1 14 17,-14-13-17,13 13-15,-13-13 16,13 0-16,0-1 15,-13-12-15,14 13 16,-14 0-16,13-27 16,0 0-16,0 14 0,-13 12 15,14-12-15,-1 13 0,-13-14 16,13 14-16,-13 0 0,13 0 0,-13-14 16,13 1-16,-13 12 15,0 1-15,0 0 0,14 0 16,-14 0-16,0-1 0,0 1 15,-14 0 1,14 0-16,0-1 16,0 1-1,0 0-15,-13 13 16,13-13-16,0-1 16,0 1-1,0 0 1,-13 0-1,13 0 1,-13-1 0,13 1-1,-13 13-15,-1-13 0,1 0 16,0-1-16,0 14 16,-1 0-16,1-13 15,0 13-15,0-13 0,-14 13 0,14 0 16,-13-13-16,-1 13 0,1-13 0,-27 13 15,26-14-15,-12 14 16,-1-13-16,0 13 0,1-13 0,-1 13 16,0 0-16,0-13 0,14 13 15,-14-14-15,1 14 0,-54-13 16,53 13-16,-13-13 0,14 13 16,-14 0-16,13-13 0,-13 13 15,14 0-15,-1-14 0,0 14 0,-39-13 16,52 13-16,-12 0 0,-1-13 15,0 13-15,1 0 0,12 0 16,-65-13-16,52 13 0,13-13 16,-12 13-16,-1 0 0,14 0 0,-14-14 15,0 14-15,0 0 0,14-13 16,0 13-16,-41-13 0,-25 13 16,65 0-1,-12-13-15,12 13 0,-12 0 0,-28 0 16,41 0-16,-1 0 15,-12-14-15,12 14 0,1 0 0,-14 0 16,27 0-16,-14 0 0,1 0 16,-14 0-16,-13 0 0,27 0 0,-1 0 15,1 0-15,0 0 16,-1 0-16,14 0 0,-14 0 0,1 0 16,0 0-16,-1 14 0,14-14 0,-14 0 15,1 0-15,-1 0 0,14 0 16,-13 0-16,-1 0 0,-12 0 15,25 13-15,-12-13 0,13 0 16,-14 0-16,1 0 0,-1 0 16,14 0-16,0 0 0,-14 13 15,14-13-15,0 0 0,0 0 16,-14 0-16,14 0 0,0 0 16,0 0-16,-1 13 0,1-13 15,0 0-15,0 0 0,-1 0 16,-12 0-16,13 0 0,0 0 15,-1 0-15,1 0 0,0 14 0,0-14 16,-1 0-16,-12 0 16,13 0-16,-1 13 15,1-13-15,0 0 0,0 0 16,0 13-16,-1-13 0,1 0 16,0 0-16,13 13 15,-27-13-15,14 0 16,0 13-16,0-13 15,-1 14-15,1-14 16,0 13-16,0-13 16,13 13-1,-13-13-15,-1 0 16,14 13-16,-13-13 16,13 14-16,-13-14 0,13 13 15,-13-13 1,13 13-1,-14-13-15,14 13 16,-13-13 0,13 14-16,0-1 31,-13-13-15,13 13 15,-13 0 0,13 0-15,-14 1-1,14-1 1,-13 13 0,13-12-16,-13 12 15,0-13-15,0 0 16,13 1-16,-14-1 0,14 0 15,-13 0-15,13 1 0,-13 12 16,13-13-16,-13 1 0,13-1 0,0 0 16,-14 0-16,14 0 0,0 1 15,-13-1-15,13 0 0,0 0 16,0 1-16,0-1 16,0 0-16,0 0 0,13 1 15,-13-1-15,14-13 16,-14 13-16,13-13 15,0 0-15,0 13 16,1-13-16,-1 0 0,0 0 16,0 0-16,14 0 0,-1 0 15,1 0-15</inkml:trace>
  <inkml:trace contextRef="#ctx0" brushRef="#br0" timeOffset="88830.23">17105 12303 0,'-13'53'0,"13"-40"16,0 0-16,-13 1 15,13-1-15</inkml:trace>
  <inkml:trace contextRef="#ctx0" brushRef="#br0" timeOffset="89396.32">16947 12462 0,'13'0'0,"0"13"15,0 0 1,-13 1 0,13-14-16,-13 13 0,14-13 0,-14 13 15,13-13-15,0 0 0,-13 13 0,13-13 16,1 0-16,12 0 15,1 0 1,-14 0-16,0 0 0,0-13 16,0 0-16,14 13 15,-14 0-15,0-13 0,1 13 0,-1 0 0,0 0 16,0-14-16,1 28 0,-1-14 16</inkml:trace>
  <inkml:trace contextRef="#ctx0" brushRef="#br0" timeOffset="89836.52">16986 12819 0,'13'27'0,"-13"-14"16,0 0-16,0 0 0,14 0 15,-14 1-15,0-1 0,13 0 16,0 0-16,0 1 0,1-1 16,-1-13-16,0 0 15,0 0-15,1 0 16,12-13-16,-13-1 0,0 1 0,14 0 16,-1-14-1,-12 14-15,-1 0 0,0 0 0,0 0 16,1-1-16,12 1 0,-13 13 15,-13-13-15,13 13 16</inkml:trace>
  <inkml:trace contextRef="#ctx0" brushRef="#br0" timeOffset="90441.77">17476 12687 0,'0'0'0,"-14"0"16,1 13 0,0 0-16,0 0 15,13 1-15,-13-1 0,13 0 0,-14 0 16,14 14-16,0-14 16,0 0-16,0 1 15,0-1 1,14-13-1,-1-13-15,0 13 0,0-14 16,0 1 0,1 13-16,12-13 0,-13 13 15,1 13 1,-14 0-16,13-13 16,-13 14-16,0-1 0,0 0 15,-13 0-15,13 0 0,0 1 16,-14-1-16,14 0 15,0 0 1,27-39 15,13-27-15,-14 40 0,-13 0-16,0-1 0,1 1 15,12 0-15,1 0 0,-14-1 16,13 1-16,-26 0 15,14 13-15,-1-13 0,0-1 16,0 14-16,0 14 31,-13-1-15,-13 0-16,13 0 0,0 1 16,-13-1-16,13 0 0,0 0 15,-13 1-15,13-1 16,-13 0-1</inkml:trace>
  <inkml:trace contextRef="#ctx0" brushRef="#br0" timeOffset="90573.96">17899 12594 0,'0'-13'0</inkml:trace>
  <inkml:trace contextRef="#ctx0" brushRef="#br0" timeOffset="91002.6">17939 12660 0,'-66'66'15,"52"-39"1,14-14-16,0 0 16,27-26-1,-14 13 1,-13-13-16,13 13 0,1-13 16,12-1-16,-13 1 0,0 0 15,1 13 1,-14 13-1,0 0-15,0 1 16,0 12-16,-14 1 16,14-14-16,-13 13 0,13 1 15</inkml:trace>
  <inkml:trace contextRef="#ctx0" brushRef="#br0" timeOffset="91426.55">18269 12502 0,'-52'92'16,"38"-52"-1,1-27-15,13 0 0,-13 1 0,13-1 16,-13 13 0,13-13-16,26-13 15,-26-13 1,13 13-16,1 0 16,-1-13-16,13 13 0,14 0 15,-14 0-15,-12 13 16,-1 0-1,-26 1 1,13-1-16,-14-13 0,14 13 0,-26 0 16,13 1-16,-14-1 15,14-13 1,-13 13-16,12 0 0,1-13 16,13-13-1</inkml:trace>
  <inkml:trace contextRef="#ctx0" brushRef="#br0" timeOffset="91769.82">18653 12700 0,'13'-40'16,"-13"27"-1,-13 66-15,13-119 16,-13 79 0,0-13-16,-14 27 15,1-14-15,13 0 16,-1 27-16,1-14 15,13 1 1,0-14-16,0 0 0,13 0 16,1 1-1,-1-14-15,0 0 16</inkml:trace>
  <inkml:trace contextRef="#ctx0" brushRef="#br0" timeOffset="92154.51">18680 12382 0,'-40'53'0,"27"-26"0,-1-1 16,-25 40-16,-1 1 15,27-41-15,-40 93 32,40-106-32,-1 27 15,1-13-15,13-1 16,0-13 0</inkml:trace>
  <inkml:trace contextRef="#ctx0" brushRef="#br0" timeOffset="92487.31">18772 12779 0,'40'-39'16,"-27"12"-1,14 1-15,-27 13 16,13-14 0,-26 14-1,-1 26 1,-25 27-16,12-14 16,14-13-16,0 14 15,13-14-15,-14 14 16,28-1-16,-1 1 0,0-27 15,40 39 1,-26-39-16,12 0 16,14 0-1</inkml:trace>
</inkml:ink>
</file>

<file path=ppt/ink/ink8.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49:28.905"/>
    </inkml:context>
    <inkml:brush xml:id="br0">
      <inkml:brushProperty name="width" value="0.05292" units="cm"/>
      <inkml:brushProperty name="height" value="0.05292" units="cm"/>
      <inkml:brushProperty name="color" value="#0070C0"/>
    </inkml:brush>
  </inkml:definitions>
  <inkml:trace contextRef="#ctx0" brushRef="#br0">15081 2064 0,'-13'-13'16,"13"-1"47,-13 14-48,0 0 16,52 0 1,14 0-17,-26 0-15,-1 0 16,1 0-16,-1 0 16,0 0-16,1 0 0,-1-13 0,1 13 15,-1 0-15,-12 0 0,12 0 0,0 0 16,-12 0-16,-1 0 0,13-13 15,-12 13-15,-1 0 0</inkml:trace>
  <inkml:trace contextRef="#ctx0" brushRef="#br0" timeOffset="283.44">15425 1839 0,'13'0'0,"40"13"16,-26 0-1,-14 1-15,0-14 16,14 13-16,-14 0 0,13 0 0,-12-13 15,-1 13-15,0 1 0,0 12 16,1-13-16,-14 1 0,0-1 16,-14 0-16,-12 14 15,-1 12-15</inkml:trace>
  <inkml:trace contextRef="#ctx0" brushRef="#br0" timeOffset="1323.45">16431 1349 0,'0'40'0,"0"-13"15,-14 12-15,1-12 0,13 12 16,-13-12-16,13 13 0,0-14 16,-13 27-16,13-27 15,-14 1-15,14-14 0,0 13 16,0-12-16,0-1 0,0 0 15,0 0-15,0-52 47,-26-1-31,0 27 0,-1 0-16,14 13 15,0 0-15,-14 0 0,14 0 16,-27 13-16,14 13 0,13-26 15,-1 13-15,-12 14 16,26-14-16,0 0 0,0 1 16,0-1-16,13 0 15,0 0 1,1-13-16,12 14 0,14-14 16,-14 0-16,14 0 0,-14-14 15</inkml:trace>
  <inkml:trace contextRef="#ctx0" brushRef="#br0" timeOffset="1819.28">16682 1654 0,'-26'-14'0,"12"14"15,1 0-15,-27 14 16,27-14-16,-13 26 15,12 1 1,1-14 0,13 0-16,40 13 31,-14-39-15,-12 0-16,-1 13 15,0-13 1,14 13-1,-14 0 1,-13 13 0,13-13-16,0 26 15,0-12 1,1-14-16,-1 0 16,0 0-16,14 0 15</inkml:trace>
  <inkml:trace contextRef="#ctx0" brushRef="#br0" timeOffset="2097.17">16920 1667 0,'27'-40'0,"-14"1"16,13-28-16,27-65 31,-53 119-15,0 0-16,0-1 47,0 41-47,-40 52 15,14-13-15,0 14 16,26-1 15,13-66-31,26 53 16,-25-52-16,12-14 16,1 13-16,-14-13 0,27 0 15,-27-13-15,13-1 0,-13 14 16</inkml:trace>
  <inkml:trace contextRef="#ctx0" brushRef="#br0" timeOffset="2320.85">16801 1588 0,'13'-14'0,"1"14"16,-1-13-16,26 13 16,-25 0-16,-1-13 15,53 0-15,-40 13 16,1 0-16,26 0 0,-40 0 16,27 0-16,-27 0 15</inkml:trace>
  <inkml:trace contextRef="#ctx0" brushRef="#br0" timeOffset="2736.01">17423 1521 0,'-13'-13'16,"-1"13"-16,41 13 0,-67-26 16,27 26-16,0-13 15,-14 0-15,27 14 0,-13-14 16,0 13-16,-14 0 0,27 14 16,-13-14-1,26 0-15,1-13 16,-1 0-16,13 0 15,-13 0-15,14-13 16,-14 13-16,0-13 16,1 13-16,-14-14 15,13 14-15,0 0 16,0 0-16,0 14 16,-13-1-1,14 13 1,-14-13-16,26 14 15</inkml:trace>
  <inkml:trace contextRef="#ctx0" brushRef="#br0" timeOffset="3067.57">17978 1468 0,'0'40'15,"0"-27"-15,0 14 0,0-1 16,0-12-16,0-1 16,0 13-16</inkml:trace>
  <inkml:trace contextRef="#ctx0" brushRef="#br0" timeOffset="3343.17">18111 1177 0,'0'-13'0,"-13"40"47,13-14-47,0 0 16,0 0-16</inkml:trace>
  <inkml:trace contextRef="#ctx0" brushRef="#br0" timeOffset="3787.28">18389 1111 0,'-14'40'16,"1"0"-1,13-14-15,-13 27 0,0-13 16,13 13-16,-14-27 0,14 1 15,0 25-15,0-38 16,-13-1-16,13 27 0,13-14 16,-13-13-16,0 1 15</inkml:trace>
  <inkml:trace contextRef="#ctx0" brushRef="#br0" timeOffset="3992.67">18137 1495 0,'27'-27'16,"-14"27"-16,0 0 0,0 0 0,14-13 15,-1 13-15,-13 0 16,14-13-16,52 0 15,-26 0-15,-40 13 0,1 0 16</inkml:trace>
  <inkml:trace contextRef="#ctx0" brushRef="#br0" timeOffset="4353.72">18600 1468 0,'0'0'0,"13"-13"0,1 0 15,-14 0 1,0 0-16,0-1 15,0 1-15,-14 13 32,1 13-32,0-13 0,0 14 15,13-1-15,-13 0 16,13 0-16,0 0 16,13 1-16,-13-1 0,13-13 15,0 13-15,0 0 16,1-13-16,-1 14 0,13-14 15,-12 0-15</inkml:trace>
  <inkml:trace contextRef="#ctx0" brushRef="#br0" timeOffset="4923.38">18878 1389 0,'0'27'31,"0"-14"-31,0 13 16,0-13-1,13-13-15,-13 14 0,0-1 32,13-13-17,1 0-15,-1 0 16,0 0 0,0-13-16,1 13 15,-1 0-15,0 0 31,-13 13-31,13-13 0,1 13 16,-14 0 0,13 1-1,0-14 17,0 0-17,-13-14 1,13 14-16,1 0 0,-1 0 15,0 0-15,0 0 32,1 0-32,-1 0 15,0 0 1</inkml:trace>
  <inkml:trace contextRef="#ctx0" brushRef="#br0" timeOffset="5035.09">19447 1561 0</inkml:trace>
  <inkml:trace contextRef="#ctx0" brushRef="#br0" timeOffset="19160.11">609 4061 0,'0'27'31,"0"-1"-16,0-12 1,0-1-16,0 0 0,0 0 16,0 0-16,0 1 0,0 12 15,0-13 1,0 1 0,13-14-1,-13-14 1,13 1-1,-13 0-15,13 0 16,14-14 0,-14 14-1,0 13-15,0 0 16,1 0 0,-1 13-16,0 0 15,-13 1-15,13-14 16,-13 13-1,14-13 1,-14-13 15,26-14-15,-13 27 0,14-13-1,-14 13-15,0 0 16,0 13-16,1 0 15,-1-13-15,-13 14 16,13-14-16,-13 13 0,13 0 16,-13 0-1</inkml:trace>
  <inkml:trace contextRef="#ctx0" brushRef="#br0" timeOffset="19630.59">1085 4220 0,'13'-40'0,"-13"27"15,0 0-15,13-13 16,-13 12-16,0 1 15,-13 0 1,13 0-16,-13 26 31,13 0-31,-13-13 16,13 13-16,0 1 0,0-1 16,0 13-16,13 1 15,0-14 1,13 0-16,-12-13 15,-1 0-15,0 0 0,0 0 16,1 0-16</inkml:trace>
  <inkml:trace contextRef="#ctx0" brushRef="#br0" timeOffset="20115.12">1336 4048 0,'0'-13'0,"0"26"0,-13-13 31,0 0-31,13 13 0,-14 1 16,14-1-16,-13 0 16,13 0-16,0 1 0,0-1 15,-13 0-15,13 0 0,13-13 16,-13 13 0,13-13-16,1 0 15,-1-13-15,-13 0 16,13 13-16,-13-13 15,13 0-15,-13-1 16,14 1 0,-14 40 15,13-14-15,-13 0-1,13 0 1,0-13-16,1 13 15</inkml:trace>
  <inkml:trace contextRef="#ctx0" brushRef="#br0" timeOffset="20455.98">1535 3956 0,'-14'0'0,"1"0"16,13 26 15,0 0-31,0-12 16,13 12-16,1 14 15,-1-27 1,-13 0-16,0 1 15,0-1 1,0 0-16,-13-13 0,13 13 16,-27 0-16,14-13 15,0 0 1,-1 14-16,-12-14 0,13 0 16,0 0-1</inkml:trace>
  <inkml:trace contextRef="#ctx0" brushRef="#br0" timeOffset="20872.71">1667 3969 0,'0'-13'16,"0"39"15,0 0-15,0-12-16,0-1 15,0 0-15,0 0 16,13-13-16,0 14 16,1-14-16,-1 0 15,0 0-15,-13-14 0,13 14 16,-13-13-16,13 0 15,1 0-15,-14-1 16,0 1-16,13 0 16,-13 0-1,13 26 17,-13 0-17,0 0-15,0 1 16,13-1-16,1 13 15,-14-12 1</inkml:trace>
  <inkml:trace contextRef="#ctx0" brushRef="#br0" timeOffset="21233.08">1958 3903 0,'0'0'15,"13"26"17,0 1-17,-13-14 1,0 0-1,0 0-15,14 0 0,-14 1 32,0-41-1,0 14-15,13 0-16,-13 0 15,0-1-15,13 14 0,0-13 16,-13 0-16,14 13 15</inkml:trace>
  <inkml:trace contextRef="#ctx0" brushRef="#br0" timeOffset="21532.22">2183 3929 0,'26'-26'16,"-52"52"-16,52-66 0,-13 40 0,-13-13 16,14 0-1,-14 0-15,-27 26 32,14 0-17,0 0-15,0 1 16,-1-1-16,14 0 15,14 0 1,-1-13-16,0 0 16,0 0-16,14 0 15</inkml:trace>
  <inkml:trace contextRef="#ctx0" brushRef="#br0" timeOffset="23748.95">1124 4379 0,'40'0'47,"-27"-13"-47,1 13 0,12-14 16,14 1-16,92-13 15,-53-1-15,-39 14 0,40-13 16,-41 12-16,27 1 16,0-13-1,-26 12-15,-13 14 16,-27-13-16,26 13 15,-13 0-15</inkml:trace>
  <inkml:trace contextRef="#ctx0" brushRef="#br0" timeOffset="24159.45">1323 4419 0,'53'-14'0,"-27"1"0,40 0 16,-39 0-16,-1 13 15,14-14-15,-13 1 0,-1 13 16,0-13-16,1 0 0,-14 13 16,14 0-16,-14-14 0,13 1 0,1 13 15,-14 0 1,0-13-16,0 13 0,1 0 16,-1-13-1,0 13 1</inkml:trace>
  <inkml:trace contextRef="#ctx0" brushRef="#br0" timeOffset="25721.36">20373 3903 0,'66'-14'31,"-39"14"-31,25-13 15,15 0-15,-28 13 16,1-13-16,0 13 0,-1-14 16,-12 14-16,26-13 0,-14 0 15,-25 13-15,12 0 16,-13-13-16,1 13 0,-1 0 16,0 0-16,-13-13 15,13 13-15,0 0 0,-13-14 0</inkml:trace>
  <inkml:trace contextRef="#ctx0" brushRef="#br0" timeOffset="26047.98">20862 3664 0,'27'0'15,"26"14"1,-40-14 0,27 26-16,-1-13 15,1 14-15,-13-1 16,-14 1-16,0-14 15,-13 0-15,0 0 16,-13 14-16,-14-14 16,1 14-16,13-14 15,-1 0-15,-12 0 0,-1 1 16</inkml:trace>
  <inkml:trace contextRef="#ctx0" brushRef="#br0" timeOffset="26835.18">22053 3268 0,'-13'-14'0,"0"14"0,-14 14 15,14-14-15,0 13 0,-27 27 16,14-27-16,-1 13 15,-13 27-15,40-40 16,-26 27-16,13 0 0,13-14 16,0-13-1,0 1-15,26-1 16,1 0-16,-14 0 0,13-13 16,-12 0-16,-1 14 0,26-14 15,1 0-15</inkml:trace>
  <inkml:trace contextRef="#ctx0" brushRef="#br0" timeOffset="27309.07">22371 3387 0,'-53'0'0,"39"0"15,1 0-15,-13 13 0,12 0 16,-12 0-1,-14 14-15,40-1 16,-13-26-16,13 13 16,0 1-16,13-14 15,1 0-15,-1 0 16,0 0-16,13-14 0,-12 1 16,-1 13-16,0-13 15,14 0-15,-14 0 0,0-1 16,0 14-1,1 14 1,-14-1-16,0 0 16,0 0-1,0 0-15,0 1 0,0-1 16,13 0-16,0 0 16</inkml:trace>
  <inkml:trace contextRef="#ctx0" brushRef="#br0" timeOffset="27753.07">22701 3162 0,'0'-13'0,"-13"39"16,0-13-16,13 0 16,-13 14-16,-1-1 15,14-12-15,-13 25 0,0-25 16,13-1-16,0 0 0,0 13 16,13 1-16,-13-14 15,13-13-15,1 13 0,-14 1 16,13-14-16,0 0 0,0 0 15,0-14-15,1 14 0,-1-13 16,13 13-16,-26-13 16,14 13-16,-14-13 0,13 13 15,0 0 1,-13 13 0,0 0-1,0 0-15,0 1 0,13-1 16,-13 0-1,14-13-15,-1 13 16,0-13-16</inkml:trace>
  <inkml:trace contextRef="#ctx0" brushRef="#br0" timeOffset="27989.1">22503 3281 0,'92'-13'15,"-65"13"-15,-1 0 16,1 0-16,-1 0 0,-13 0 15,14 13-15,-14-13 0,14 0 16</inkml:trace>
  <inkml:trace contextRef="#ctx0" brushRef="#br0" timeOffset="29095.14">23085 3347 0,'-13'0'15,"-1"0"-15,41 0 0,-67 0 16,14 0-16,13 0 16,-1 0-16,14 13 15,-13-13 1,13 13-16,0 1 15,13-14-15,1 13 16,-1 0-16,0 0 16,0 1-16,0-1 0,1 13 15,-1-13-15,-13 1 16,0-1-16,0 0 0,0 0 0,0 14 16,-13-14-16,-1 14 15,1-27-15,0 26 16,-13-13-16,12-13 0,1 0 15,0 0-15,0 0 16,26-13 15,13 0-31,-12 0 16,-1 13-16,26-27 0,41-13 16,-54 27-1,27-27-15,-26 27 16,12-13-16,-25 13 0,-1-1 15,0 1-15,0 0 0,0 0 16,1-1-16,-1 1 16,-40 40 31,1-1-32,13 1-15,13-14 16,0 0-16,0 0 15,13 14-15,0-27 16,0 13-16,1-13 0,-1 0 16,13 0-1,-12-13-15,-14-1 16,13 1-16,-13 0 0,0-13 16,0 12-1,0 1-15,-13 13 0,13-13 16,0 0-16,0-1 47,26 28-32,-13-14-15,-13 13 0,27 0 16,-14 0-16,0 14 16,0-27-1,-13 13-15,14 0 0,-14 0 0,0 1 16,0-1 15,26-26 0,-13-1-15,1 1 0,-1 0-16,0 13 15,0 0 1</inkml:trace>
  <inkml:trace contextRef="#ctx0" brushRef="#br0" timeOffset="29833.3">23773 3360 0,'-13'27'16,"-1"-14"-1,14 0-15,0 0 16,0 1-1,14-1-15,-1 0 16,0 0-16,0-13 16,0 0-16,1 0 0,25 0 15,-12-13 1,-1 0-16,-12 13 16,12 0-1,0 0-15,-12 13 16,-1 0-16,0 0 15,-13 27 1,13-13-16,-26-1 0,0 27 16,0-13-1,-40-1 1,0-12 0,40-27-16,-14 0 15,14-13-15,0 13 16,13-14-1,0 1-15,13 0 0,13-27 16,80-52 0,-40 52-1,-52 27-15,65-14 16,-26 1 0,-13 26-16,-14-13 15</inkml:trace>
  <inkml:trace contextRef="#ctx0" brushRef="#br0" timeOffset="29937.19">24434 3400 0,'14'-13'0</inkml:trace>
  <inkml:trace contextRef="#ctx0" brushRef="#br0" timeOffset="31619.39">1019 4762 0,'13'14'0,"-13"-1"16,13-13-16,-13 13 16,0 14-16,13-1 15,-13 1-15,0-14 16,14 13-16,-14 1 15,0-1 1</inkml:trace>
  <inkml:trace contextRef="#ctx0" brushRef="#br0" timeOffset="32041.59">1019 4895 0,'26'-13'16,"-13"13"-16,-13-14 15,14 14-15,12-13 16,-13 13-16,0 0 15,1-13-15,-1 13 16,0 0-16,0-13 16,1 13-16,-1 0 15,0 0 1,0-14 0,-13 28-1,14-14-15,-14 13 16,0 0-1,0 0-15,13 1 16,-13 12 0,-13-13-16,13 0 15</inkml:trace>
  <inkml:trace contextRef="#ctx0" brushRef="#br0" timeOffset="32352.11">1482 4762 0,'13'-13'0,"13"0"31,-12 13-31,12 0 0,-26-13 16,13 13-16,1 0 0</inkml:trace>
  <inkml:trace contextRef="#ctx0" brushRef="#br0" timeOffset="32567.48">1707 4670 0,'13'13'15,"0"0"1,-13 1-16,0-1 16,13-13-16,-13 13 0,0 0 0,0 14 15,0-14 1,0 0-16,0 0 16,0 1-16</inkml:trace>
  <inkml:trace contextRef="#ctx0" brushRef="#br0" timeOffset="33003.01">2037 4511 0,'14'-13'0,"-28"39"32,14-12-17,-13 12-15,13 1 0,0-14 16,-13 13-16,0 1 15,13-14-15,0 0 0,0 0 16,-14 1-16</inkml:trace>
  <inkml:trace contextRef="#ctx0" brushRef="#br0" timeOffset="33736.89">2302 4538 0,'0'13'16,"0"13"-16,-13-12 15,-1 12-15,1 0 16,13-12-16,-13-1 0,13 0 15</inkml:trace>
  <inkml:trace contextRef="#ctx0" brushRef="#br0" timeOffset="34048.87">2527 4339 0,'0'40'31,"0"-14"-15,-13 1-16,13-14 16,-14 27-16,14-27 15,-13 27-15,13-14 16</inkml:trace>
  <inkml:trace contextRef="#ctx0" brushRef="#br0" timeOffset="34288.42">2408 4405 0,'13'14'46,"0"-14"-46,-13 13 0,13-13 16,1 13-16,25 0 16,-12-13-16,-14 0 0,0 13 15,0-13-15,1 0 16</inkml:trace>
  <inkml:trace contextRef="#ctx0" brushRef="#br0" timeOffset="34509.94">2434 4313 0,'-13'53'15,"13"-40"-15,0 13 16,13 1-16,-13-1 15,13 1-15,1-1 16,-1-13-16,-13 1 0</inkml:trace>
  <inkml:trace contextRef="#ctx0" brushRef="#br0" timeOffset="34721.19">2381 4524 0,'27'-13'16,"-14"13"-16,13-13 16,14 0-16,-13-1 15,39 1-15,-27 0 16</inkml:trace>
  <inkml:trace contextRef="#ctx0" brushRef="#br0" timeOffset="65457.04">225 10279 0,'-40'119'47,"27"-106"-47,13 1 0,0-1 16,0 0-16,0 0 15</inkml:trace>
  <inkml:trace contextRef="#ctx0" brushRef="#br0" timeOffset="66028.05">225 10107 0,'13'13'47,"0"1"-47,40 25 15,-39-26 1,-1-13-16,0 14 0,0-1 15,0 0-15,1-13 0,-1 13 16,0 1-16,0-14 0,-13 13 16,14-13-16,-14 13 0,13-13 15,-13 13-15,13 14 16,-13-14 0,0 0-16,0 0 15,-13-13-15,13 14 0,-13 12 16,-1-13-16,1 14 0,0-14 15,0 0-15,-14 14 16,1-1-16,13-13 0,-14 14 0,1-14 0,-1 27 16,1-14-1,12-13-15</inkml:trace>
  <inkml:trace contextRef="#ctx0" brushRef="#br0" timeOffset="67604.49">820 10147 0,'-13'26'47,"0"14"-31,13-27-16,0 0 15,0 1-15,0-1 0,0 0 16,-13 0-16,13 1 16,0-1-16,0 0 31,13-26 0,0 0-31,0-1 16,0 14-16,-13-13 0,27 0 15,-14 13-15,0 0 16,1-13-16,-1 13 0,0 0 16,0 13-16,0-13 15,-13 13 1,14-13-16,-14 13 16,0 1-16,13-1 15,-13 0-15,13-13 16</inkml:trace>
  <inkml:trace contextRef="#ctx0" brushRef="#br0" timeOffset="67964.89">1124 10213 0,'-13'13'0,"0"-13"16,13 13-16,0 1 15,0-1-15,0 0 16,-13 14-16,26-14 16,-13 0-16,13 0 15,0-13 1,1 0-1,-1 0-15,0-13 16,-13 0 0,0 0-16,0-1 15,0-12-15,0 13 16,-13 13-16,13-14 16,-13 1-16,13 0 15</inkml:trace>
  <inkml:trace contextRef="#ctx0" brushRef="#br0" timeOffset="68827.23">1468 10173 0,'0'27'31,"-13"-14"-15,13 13-16,0 14 31,13-40-31,-13 13 15,14-13-15,-1 14 0,0-14 16,0 0-16,14 0 0,-14 0 16,14-27-1,-14 14-15,0 0 16,0-14-16,0 14 16,-13-14-16,14 1 15,-28 13 1,1 0-1,0 13-15,0 0 16,0 0-16,-1 13 16,1-13-1,26 13 1,14-13 15,-14 13-31,0-13 16,0 13-16,1 1 0,-14-1 15,13 13-15,0-12 16,-13 12-16,13 14 0,-13 13 16,0-40-16,0 40 15,-13-40-15,13 27 16,-13-27-16,13 0 0,-13 14 16,-1-14-16,1 0 15,0-13-15,0 0 16,13-13-1,0 0 1,0-1-16,13-12 16,0 0-16,0 12 15,1-12-15,-1 13 0,13-14 16,14-13-16,-27 27 16,0 0-1</inkml:trace>
  <inkml:trace contextRef="#ctx0" brushRef="#br0" timeOffset="69264.19">1958 10094 0,'-27'0'0,"14"13"16,0-13-16,13 13 15,0 1-15,0 12 16,0-13-1,13 0-15,0 1 16,1-1-16,-1 13 16,0-12-16,0-1 15,1-13-15,-14 13 16,0 0 0,-14-13-16,1 14 15,0-1-15,-14 0 16,14-13-16,-13 13 15,13-13-15,-1 0 16</inkml:trace>
  <inkml:trace contextRef="#ctx0" brushRef="#br0" timeOffset="69540.32">2222 10041 0,'14'-13'16,"-28"26"0,14 27 15,0-27-15,-13 0-16,13 14 0,0-14 15,-13 26-15,13-25 16,0-1-16,0 0 0,0 0 15,0 1-15,0-1 16,13 0-16,-13 0 0,13-13 16,1 0-16,-1 14 15,0-14-15,0 0 0</inkml:trace>
  <inkml:trace contextRef="#ctx0" brushRef="#br0" timeOffset="69751.57">2077 10213 0,'13'-13'32,"0"13"-32,1 0 0,12-14 15,1 14 1,25 0-16,-25 0 15,-14 0-15,0-13 0,14 13 16,-14 0-16,0 0 0</inkml:trace>
  <inkml:trace contextRef="#ctx0" brushRef="#br0" timeOffset="70372.21">2447 10186 0,'0'14'32,"0"12"-32,0 14 31,14-14-15,-1-12-16,13-14 31,-12 0-31,-1 0 0,0-14 15,13 1-15,-12 0 16,-1-14-16,0 14 16,0 0-16,-13 0 15,14-1 1,-14 28 15,0 12-31,0-13 16,0 1-16,0-1 15,0 0-15,0 0 16</inkml:trace>
  <inkml:trace contextRef="#ctx0" brushRef="#br0" timeOffset="70817.03">2990 9935 0,'0'-13'0,"-13"79"15,-1-53 1,14 14-16,-13-1 0,0 14 16,0 0-16,-1-14 15,14 14 1,0-27-16,0 13 0,0-12 15,14-1 1,-28-40 31,1 27-47,-40 0 31,27 14-31,-1-1 16,14-13-16,-27 40 31,40-27-31,0 0 16,14 0-16,-1-13 0,0 13 15,27-13 1,-14 0-16,-12 0 0,12 0 16,0 0-16,-12 0 0</inkml:trace>
  <inkml:trace contextRef="#ctx0" brushRef="#br0" timeOffset="71563.45">3109 10332 0,'0'-13'15,"0"0"1,13-1-16,-13 1 16,0-13-1,0 12-15,0 1 16,0 0-16,0 0 16,-13-1-1,0 28 1,-1-1-16,14 0 15,-13-13-15,13 13 16,0 1-16,0-1 0,0 0 16,13-13-16,-13 13 15,14-13 1,-14 14-16,13-14 16,0 0-16,0-14 15,1 14-15,-1 0 16,0 0-16,0 0 15,0 0-15,1 0 16,-1 14 0,0-1-1,0 0 17,1-26-1,-1 13-16,0 0 17,0 0-32,1 0 0,-1 0 15,0 0 1,0 0-16,0 0 16,-13-13-16,14 13 0</inkml:trace>
  <inkml:trace contextRef="#ctx0" brushRef="#br0" timeOffset="71800.17">3532 10028 0,'0'-14'16,"-13"28"-1,13-1-15,0 0 16,-13 14-16,13-14 15,0 13-15,-14-12 0,14 25 16,0-26-16,-13 14 16,13-1-16,-13 1 15,13-1-15,0-12 0,0-1 16</inkml:trace>
  <inkml:trace contextRef="#ctx0" brushRef="#br0" timeOffset="71984.07">3321 10213 0,'0'0'0,"13"0"31,13 0-31,1 0 16,-14 0-16,0 0 15,27 0-15</inkml:trace>
  <inkml:trace contextRef="#ctx0" brushRef="#br0" timeOffset="72252.1">3691 10173 0,'-13'0'16,"13"13"15,0 14-31,0-14 16,0 0-16,0 1 0,13-1 16,-13 0-1,0 0-15,-13 1 0,13-1 16,-14-13-16,14 13 15,-13-13-15,13 13 16</inkml:trace>
  <inkml:trace contextRef="#ctx0" brushRef="#br0" timeOffset="72641.98">3889 10134 0,'-13'39'15,"0"1"1,13-27-1,0 0-15,0 14 32</inkml:trace>
  <inkml:trace contextRef="#ctx0" brushRef="#br0" timeOffset="72839.22">3850 10041 0,'0'-13'15,"0"26"-15</inkml:trace>
  <inkml:trace contextRef="#ctx0" brushRef="#br0" timeOffset="73183.23">3995 10094 0,'13'0'16,"-13"13"-16,0 0 31,0 1-31,14-14 16,12 0 15,-13-14-15,1 14-1,-1 0-15,0 0 0,0 0 16,1 0 0,-1 14-1,-13-1 1,0 13 0</inkml:trace>
  <inkml:trace contextRef="#ctx0" brushRef="#br0" timeOffset="74238.87">2328 10649 0,'0'-13'16,"-13"13"0,0 13-1,0 14 1,-1-14-16,14 0 16,-13 1-16,0 12 0,13-13 15,-13 14-15,13-1 16,0-13-1,13-13-15,0 0 0,-13 14 16,13-14-16,1 0 0,12-14 31,-13 14-31,-13 14 0,27-14 16,-14 13 0,0 0-1,-13 0-15,0 1 16,13-1-16</inkml:trace>
  <inkml:trace contextRef="#ctx0" brushRef="#br0" timeOffset="74607">2487 10716 0,'13'26'32,"-13"1"-32,0-14 0,0 26 31,0-25-31,0 12 15,14-39 32,-1 13-47,-13-13 16,13-1-16,13-12 16,-12 26-1,-1-13-15,0 13 0,0 0 16,1-13-16,-1 13 15</inkml:trace>
  <inkml:trace contextRef="#ctx0" brushRef="#br0" timeOffset="75111.11">2791 10742 0,'-39'13'0,"39"1"15,-14-14-15,1 13 0,0 13 16,13-13-16,-13 1 16,13-1-16,13 0 31,0-13-16,0 0-15,1-13 16,-1 13-16,-13-13 16,13 13-16,-13-14 15,13 14-15,1 14 32,-14-1-1,-14 0-31,28 0 15</inkml:trace>
  <inkml:trace contextRef="#ctx0" brushRef="#br0" timeOffset="75581.14">3135 10623 0,'0'26'47,"0"-12"-47,-13 39 16,13 0 15,0-14-16,13-39-15,-13 13 16,14 1 0,-41-28 31,1 14-32,-1 0 1,14 14-16,0-14 0,-1 0 0,1 13 15,-13 0-15,13 0 16,13 1 0,0-1-1,13-13 1,0 0-16,0 0 0,0 0 16,1 0-16,-1 0 15,13 0-15,-12 0 0,-1 0 0</inkml:trace>
  <inkml:trace contextRef="#ctx0" brushRef="#br0" timeOffset="76005.57">3175 10888 0,'40'-27'0,"-27"27"0,-13-13 15,13 0-15,-13-1 16,0 1 0,-13 26 31,0 1-32,13-1-15,13 0 16,-13 0-16,26 1 15,1-14 17</inkml:trace>
  <inkml:trace contextRef="#ctx0" brushRef="#br0" timeOffset="76364.14">3585 10636 0,'13'-13'15,"-13"39"1,0-12 0,-13-1-16,13 0 15,0 0-15,-13 1 0,13-1 0,0 0 16,-13 0-16,13 1 15,0-1-15,0 0 0</inkml:trace>
  <inkml:trace contextRef="#ctx0" brushRef="#br0" timeOffset="76701.09">3731 10663 0,'-27'13'16,"27"0"0,0 0-16,-13-13 15,13 14-15,0-1 0,0 0 0,0 0 16,0 1-16,0-1 16,13-13-16,0 13 15,1-13-15,-1 0 16,0 0-16,0-13 0,1 13 15,-1-13-15,-13-1 0,13 1 16,-13 0-16,13 0 0,-13-1 16,0 1-16,0 0 0,0 0 15,-13-1-15,13 1 0,0 0 16,-13 0-16,0 13 16,13-13-1</inkml:trace>
  <inkml:trace contextRef="#ctx0" brushRef="#br0" timeOffset="81043.39">132 11655 0,'14'-13'15,"-1"13"1,0-14-16,0 14 0,0 0 16,1 0-16,-1 0 0,0 0 0,0 0 15,1 0-15,-1 14 0,13-1 16,-26 0-1,0 14 1,-13-14-16,-13 27 16,12-27-16,1-13 0,13 13 15,-13 0-15,0-13 0,-1 13 16,1-13-16,0 14 16,26-1 15,27-13-16,-27 0 1,0 0-16,1 0 0,-1 0 16,0 0-16,0-13 0,1 13 0,25-14 15,-26 14 1,1 0-16</inkml:trace>
  <inkml:trace contextRef="#ctx0" brushRef="#br0" timeOffset="81425.8">278 11470 0,'0'-14'0,"26"14"16,1 14 0,-14-1-16,0-13 0,14 13 15,-14 0-15,53 54 16,-53-54-16,14 26 16,-14-12-16,0-1 0,0 41 15,-13-54-15,0 13 16,0-13-16,-26 54 15,-1-41-15,14 0 0,-13-12 16,13 12-16,-1-13 0,-12 1 0,13-14 16,-14 13-16,14 0 0,0-13 15,0 13-15,-1-13 0,1 0 0,0 14 16,0-14-16</inkml:trace>
  <inkml:trace contextRef="#ctx0" brushRef="#br0" timeOffset="83838.31">1019 11549 0,'-14'27'16,"14"-14"-16,0 0 16,0 0-16,-13 14 15,13-14-15,0 13 0,-13-12 0,13-1 16,0 0-16,0 0 0,0 1 0,0-1 0,-13 0 15,13 0 1,0 0 0,0-52 15,13-1-15,-13 27-16,13 0 15,-13-1-15,0 1 0,13 0 0,-13-14 16,14 27-16,-14-13 15,13 13-15,0 0 32,0 27-32,-13-14 15,14 0-15,-14 0 0,13 27 16,-13-27-16,0 1 16,13-1-16,-13 0 0,0 0 15,13-13-15,-13 13 16,13-13-1,1-13-15,-14 0 16,13-27 0,0 27-16,-13 0 15,13 0-15,-13-1 0,0 1 0,14 0 16,-14 0-16,0-1 16,13 1-16,-13 0 15</inkml:trace>
  <inkml:trace contextRef="#ctx0" brushRef="#br0" timeOffset="84143.12">1270 11602 0,'0'40'0,"13"-1"15,-13-25-15,13-1 16,-13 0-16,0 0 0,14-13 16,-1 14-16,0-14 0,-13 13 15,13-13-15,1 0 0,-14-13 16,13 13 0,-13-14-16,0 1 0,0 0 15,-13 0-15,13-14 16,-14 14-16,1 0 15,13-1-15,-13 1 16</inkml:trace>
  <inkml:trace contextRef="#ctx0" brushRef="#br0" timeOffset="85046.8">1707 11523 0,'-14'0'0,"1"13"15,13 13 1,-13-12-16,13-1 16,0 0-16,0 0 0,0 0 15,0 1-15,0-1 0,13 0 16,-13 14 0,13-27-16,14 0 15,-1 0 1,1-14-1,-27 1-15,13-13 16,0 12-16,-13 1 16,0-13-16,0-1 15,-13 14 1,0 13-16,-1 0 16,1 0-1,0 0 1,53 0 31,-27 0-32,0 13-15,0-13 16,1 27 0,-14-14-16,13-13 0,-13 40 15,0-27-15,0 0 16,0 53-16,0-39 15,0-1-15,0-13 0,0 14 0,-13-1 16,13 1-16,-14-14 0,1 13 16,0-12-16,13-1 0,-13 0 0,-1 0 15,14 1-15,-13-14 0,13 13 0,-13-13 16,13 13-16,-13-13 16,0-13-1,13 0 1,13-1-16,-13 1 0,39-27 15,-39 27-15,14 0 16,-1 0-16,13-14 0,-12 27 0,-1-13 16,0 0-16,0 0 0,27-14 15,-14 14 1,-12 0-16,-1 13 0</inkml:trace>
  <inkml:trace contextRef="#ctx0" brushRef="#br0" timeOffset="85747.2">2368 11364 0,'0'40'31,"0"-27"-15,-13 40 0,13-27-16,0 1 0,0-1 0,0 27 15,0-40-15,0 14 16,0-14-16,0 13 0,0-12 0,0-1 0,0 0 15,13 0-15,-13 1 16,0-1 0,13-13-1,-13-13 1,0-1-16,-13-12 16,13 13-16,0-1 15,-13 14-15,0-13 16,13 0-16,-14 13 15,1 0-15,0 13 16,0-13-16,-1 13 16,1-13-16,0 27 15,13-14 1,0 0 0,13 1-1,0-14-15,1 0 0,12 13 16,1-13-16,-14 0 15,26-13 1,-25 13-16</inkml:trace>
  <inkml:trace contextRef="#ctx0" brushRef="#br0" timeOffset="86646.08">2566 11734 0,'27'-53'0,"-14"27"16,-13 13-16,0-1 15,0 1 1,0 0-16,0 0 31,-26 39-15,26-13-16,0 1 16,0-1-1,0 0-15,0 0 0,13-13 0,0 0 16,0 14-1,1-14-15,25-14 0,-25 14 16,-1-13-16,0 0 0,27-14 16,-27 14-16,0 0 0,0 0 15,-13-14-15,14 14 0,-1-13 0,0-41 16,0 54 0,1-26-16,-14 25 15,0 1-15,0 53 31,-14 39-15,14-39-16,-13 0 0,13-1 16,-13 80-1,0-79-15,-1 26 16,1-26-16,13-27 0,-13 13 0,0-12 16,-14 25-1,14-25-15,0-1 0,0-13 16,-1 0-16,1-13 15,0-1 1,26-12 0,-13 13-16,13-1 0,1 1 15,12-26 1,-13 25-16,14 1 0,-14 0 0,13-27 16,-12 27-1,-1 0-15,0 0 0,0-1 0,1 1 0,-1-13 16,0 12-16,0-12 15,0 13 1,-13-1 0,-13 14-1,0 14 1,13-1 0,0 0-1,0 14 1,13-14-1,-13 0-15,13 0 16,1-13-16,-1 0 0,0 14 0,0-14 16,1 0-16</inkml:trace>
  <inkml:trace contextRef="#ctx0" brushRef="#br0" timeOffset="87463.08">3135 11602 0,'-39'13'0,"25"-13"15,14 13-15,-13-13 0,13 14 0,-13-14 16,13 13-16,0 0 0,-13-13 0,13 13 16,0 1-16,0-1 15,0 13 1,13-26-16,-13 14 0,13-14 0,14 0 16,-14 0-1,40-27 1,-40 14-1,13 0-15,1-27 0,-14 27 0,0-1 16,-13-12-16,27-14 16,-27 27-16,13-13 0,0 12 0,-13 1 15,0 0-15,14 0 0,-14-1 16,13 1-16,-26 40 47,13-1-32,-14-13-15,14 14 0,0-14 16,0 27-16,0-27 16,0 0-16,0 0 0,0 1 15,14 12 1,-1-13-16,0-13 16,0 0-16,14-13 15,-14 13-15,13-26 16,-12 26-1,12-14-15,-13 14 32,-13 14-17,0-1-15,-13 0 16,26 0 0,-13 1-16,13-14 15</inkml:trace>
  <inkml:trace contextRef="#ctx0" brushRef="#br0" timeOffset="87611.81">3572 11496 0,'13'-13'15</inkml:trace>
  <inkml:trace contextRef="#ctx0" brushRef="#br0" timeOffset="87796.85">3228 11509 0,'26'0'31,"14"0"-15,-13 0-16,-14 0 0</inkml:trace>
  <inkml:trace contextRef="#ctx0" brushRef="#br0" timeOffset="88582.49">3664 11602 0,'14'26'31,"-1"-12"-31,-13 25 16,13-39-16,-13 14 0,0-1 15,13 13 1,-13-12-16,14-1 16,-1-13-1,0-13 1,0-1 0,-13 1-1,14 0-15,-14 0 0,13-1 16,0 1-1,0 13 1,0 0 0,1 0-1,-1 0-15,13-13 16,-12 13-16,-1-13 16,13-1-16,-26 1 15,14 0 1,-14 0-1,-14 39 17,14-13-17,0 1-15,0-1 16,14 0-16,-1 0 16,13-13-16,-13 14 15,1-14-15,-1 0 0</inkml:trace>
  <inkml:trace contextRef="#ctx0" brushRef="#br0" timeOffset="89144.06">4233 11377 0,'-13'66'16,"0"-39"-16,13-1 15,-13 1-15,13-1 0,-14 14 0,14-1 16,-13-12-16,13-1 0,-13 1 0,13-1 16,-13 27-1,13-26-15,-13-14 0,13 0 16,0 0 0,0 1-16,13-28 31,0 1-31,-13 0 0,26-66 15,-12 52-15,-1 1 16,0-14-16,0 27 0,1-14 0,-1 14 16,0 0-16,0 0 0,-13-1 15,40 1 1,-27 13-16,0 13 0,1-13 16,-14 27-1,0-14-15,-14 13 16,1-26-16,0 27 15,0-27-15,13 13 0,-14 0 0,1-13 16,0 14-16,0-1 16</inkml:trace>
  <inkml:trace contextRef="#ctx0" brushRef="#br0" timeOffset="89946.36">4405 11549 0,'0'-13'15,"-26"26"17,26 14-32,-13-14 15,13 0-15,0 0 0,-14 14 16,14-14-16,0 0 15,14-13 1,-1 0 15,0-13-15,0 0-16,1-1 0,-1 14 16,0-13-1,0 26 1,-13 1-1,0-1-15,0 0 16,0 0 0,0 1-16,0-1 15,0 0-15,13-39 47,1 12-47,-14 1 16,13 0-16,0-14 15,0 14-15,-13 0 0,27-13 16,-14 12-16,0 1 0,1 0 16,-14 0-16,39-27 15,-39 13-15,13 14 0,-13 0 16,14 13-16,-14-13 0,13-14 16,-13 14-1,13 13-15,-26 27 47,13-1-31,-13-13-1,13 0-15,0 1 16,0-1-16,13-13 16,0 13-1,0 0 1,-13 1-1,14-14-15,-14 13 0,0 0 16,13 14 0,-13-14-16,0 0 15,-13 0 1,-1 0 0,1-13-16,0 0 15</inkml:trace>
  <inkml:trace contextRef="#ctx0" brushRef="#br0" timeOffset="90150.37">4392 11496 0,'132'-13'0,"-65"0"16,25 13-1,-65-14-15,39 14 16,-53 0-16,13-13 0,1 13 0,-14 0 16,0 0-16,14 0 0,-14 0 0,0-13 15</inkml:trace>
  <inkml:trace contextRef="#ctx0" brushRef="#br0" timeOffset="92383.14">93 12594 0,'13'-26'15,"0"26"1,0 0-16,27 0 16,-14 13-1,-12 0 1,-14 0-16,-14 14 16,14-14-1,0 0 1,-13-13-16,26 0 15,1 14 1,-1-14-16,0 0 0,0 0 16,27 26-1,-27-26-15,1 13 16,-14 0-16,0 1 0,0-1 16,0 0-16,-14-13 15,14 13-15,-26 1 16,13-14-16,-1 0 0,-12 13 15,13-13-15,-1 0 0,1 0 0,0 0 16,0-13-16,0 13 0,-1-14 16</inkml:trace>
  <inkml:trace contextRef="#ctx0" brushRef="#br0" timeOffset="92601.94">159 12316 0,'198'119'0,"-171"-92"15,-1-1-15,1 93 16,-27-79-16,-14 106 16,-39-54-16,14-39 15,-1 0-15,0 0 0,-13 0 0,1 0 16,-81 39-1</inkml:trace>
  <inkml:trace contextRef="#ctx0" brushRef="#br0" timeOffset="104647.64">635 12528 0,'-13'26'16,"0"14"-16,13-27 16,0 1-16,0-1 0,-14 40 15,14-27 1,0-13-16,0 14 0,-13-1 15,13-12-15,0-1 0,0 0 0,-13 0 16,13 1 0,0-1-16</inkml:trace>
  <inkml:trace contextRef="#ctx0" brushRef="#br0" timeOffset="105020.13">622 12634 0,'0'-13'16,"13"26"15,-13 0-31,13 14 15,0-1 1,1-13 0,-14 0-16,13-13 0,-13 14 0,13-1 15,0-13 1,-13-13 0,14-14-1,-14 14-15,13-27 16,0 14-16,-13 13 15,13-1-15,-13 1 0,0 0 0,0 0 16,14-14 0,-14 14-16</inkml:trace>
  <inkml:trace contextRef="#ctx0" brushRef="#br0" timeOffset="105343.59">860 12594 0,'0'13'15,"0"-26"-15,0 40 0,0-14 16,13 13-16,0-12 16,14-1-16,-14 0 15,0-13-15,0 0 0,1 0 16,12 0-16,-13 0 0,27-13 15,-40 0-15,13-1 0,1 1 16,-14 0 0,0-14-1,-14 14-15,1 0 0,0 0 16,0 13-16,-1-14 16,1 14-16,0 0 15,0 14 1</inkml:trace>
  <inkml:trace contextRef="#ctx0" brushRef="#br0" timeOffset="106534.06">1283 12581 0,'-13'26'0,"13"-12"0,0-1 32,0 0-17,0 0 1,13-13 0,-13 14-16,13-14 15,1-14 1,12 1-1,-13 13-15,-13-13 0,14 13 0,-14-13 16,13-14 0,-13 14-16,0 0 0,0-1 15,0 1 1,0 0-16,-13 0 0,-1 0 16,1 13-1,-13 13 1,12-13-16,1 13 15,13 0-15,-13-13 0,13 13 16,0 1 0,13-14-1,0 0-15,1-14 0,-1 14 0,0 0 16,0 0-16,1-13 16,-1 13-1,0 0-15,0 13 16,14 14-1,-27-14-15,13 14 0,-13 65 16,13-52-16,-13 0 16,-13 39-16,13-39 0,0-1 15,-13-12-15,0 39 16,-1-53-16,14 0 0,-13 1 16,0-1-16,0-13 15,-1-13 1,28-27-1,-14 27 1,13 0-16,-13-1 0,26-12 16,27-27-16,-26 40 15,-14-14-15,13 14 0,1 13 0</inkml:trace>
  <inkml:trace contextRef="#ctx0" brushRef="#br0" timeOffset="107115.47">1720 12515 0,'0'-13'16,"-13"39"-16,13-13 16,0 0-16,-14 27 15,14-13 1,-13-1-16,13-13 0,0 1 15,-13 12 1,13-13-16,0 0 0,13 1 31,-13-1-31,13-13 16,1 0 0,12 0-1,-13 0-15,14 0 16,-14 0-16,0-13 15</inkml:trace>
  <inkml:trace contextRef="#ctx0" brushRef="#br0" timeOffset="107282.29">1680 12647 0,'27'-13'0,"-14"13"0,13 0 16,1 0-1</inkml:trace>
  <inkml:trace contextRef="#ctx0" brushRef="#br0" timeOffset="107461.72">1680 12528 0,'0'-13'0,"13"0"0,1 13 16,-1 0-16,0-14 16,0 14-16,14 0 15,-14 14-15,13-14 16</inkml:trace>
  <inkml:trace contextRef="#ctx0" brushRef="#br0" timeOffset="107987.96">1998 12528 0,'-14'26'16,"14"-12"-16,0-1 16,0 0-16,0 14 15,0-14 1,0 0-16,0 0 31,14-26 0,-1 0-15,0 13-16,0-13 0,1 13 16,-1 0-1,0 0 1,0 13-16,0-13 16,-13 13-1,0 0-15,14-13 16,-1 0 31,-13-13-16,13 13-31,0 0 0,1 0 16,-14 13 15,13-13-31,0 0 0</inkml:trace>
  <inkml:trace contextRef="#ctx0" brushRef="#br0" timeOffset="108465.1">2302 12409 0,'-13'13'31,"13"14"-15,0-14-16,0 0 0,0 14 0,-14 12 15,14-12-15,0 65 16,0-65-16,14-1 16,-14 1-16,0-1 0,0 1 15,0-14-15,0 13 0,0 27 16,0-40-16,0 1 0,0-1 15,0 0-15,0 0 16,13-26 15,0-40-15,0 27-16,-13-1 0,14-12 0,12-28 16,-13 41-16,0 0 15,1 12-15,-1-12 0,27-1 16,-27 27-1,0 0-15,0-13 0,1 26 16,-1-13-16,-13 27 16,0-14-16,-13-13 0,13 13 15,-14 1-15,-25 25 16,25-39-16,1 13 0,0-13 16,-14 14-16,14-14 0,-13 0 15,13 0-15</inkml:trace>
  <inkml:trace contextRef="#ctx0" brushRef="#br0" timeOffset="114026.3">4974 3149 0,'0'26'15,"13"40"-15,-13-39 16,-13-1-16,13 14 0,0-1 16,0 80-1,-13-79-15,13-13 0,0-1 0,0 1 16,0-1-16,0 0 0,-13 1 15,13-1-15,0 1 16,0-14-16,0 0 16</inkml:trace>
  <inkml:trace contextRef="#ctx0" brushRef="#br0" timeOffset="114406.08">5014 3175 0,'-13'-13'0,"-14"26"15,14 0-15,0 0 16,-14 27-16,14-27 15,0 1-15,-14-1 0,14 0 0,0 14 0,0-14 16,-1 0-16,1 0 0,0 0 16,0 1-16,-1-1 0,1 0 15</inkml:trace>
  <inkml:trace contextRef="#ctx0" brushRef="#br0" timeOffset="114614.77">4908 3162 0,'13'0'15,"0"13"-15,14 13 16,-1-12-16,-26-1 0,27 13 16,-14-12-16,0-14 15,1 13-15,-1 0 0,0 0 16,13-13-1,-12 14-15,-1-14 16</inkml:trace>
  <inkml:trace contextRef="#ctx0" brushRef="#br0" timeOffset="115167.47">4591 2659 0,'0'-13'16,"0"53"-1,-14-1 1,14 1 0,0-14-16,-13-12 0,13-1 15,0 27-15,0-27 16,0 0-16,0 0 15,0 0-15,13-26 32,14-26-17,-14 25-15,0 1 0,0 0 16,14-27 0,-14 40-16,0-13 0,1 13 0,12 0 15,-13 0-15,0 0 16,-13 13-16,27 0 15,-27 1-15,13-14 0,-13 26 16,13-13 0,-13 1-1,14-1 1</inkml:trace>
  <inkml:trace contextRef="#ctx0" brushRef="#br0" timeOffset="115559.2">4934 2725 0,'0'-13'0,"0"26"0,-13-13 47,13 13-47,0 1 16,0 12-1,0-13-15,0 1 16,27-1-16,-14-13 16,0 0-16,0 0 15,1 0 1,-14-13-16,13 13 0,-13-14 0,13 1 16,-13 0-1,13 0 1,1 26 15,-1 0-15,0 0-16,0 1 15,14-1 1,-14-13-16,0 13 16</inkml:trace>
  <inkml:trace contextRef="#ctx0" brushRef="#br0" timeOffset="116110.63">5226 2672 0,'0'27'31,"0"-14"-31,0 0 0,0 0 16,0 14-1,0-14 1,0 0-16,26-26 31,-13 0-15,-13 0-16,13 13 15,1-14 1,-1 14-16,0 0 16,0 0-16,1 14 15,-1-1 1,-13 0-16,13-13 16,-13 13-16,0 1 15,13-14 1,1 0-1,-1-14 1,0 1-16,0 13 16,0-13-1,1 13-15,-1 0 16,13 0 0,-12 13-1,12-13 1,-13 13-16,0-13 15,1 0-15,-1 14 0</inkml:trace>
  <inkml:trace contextRef="#ctx0" brushRef="#br0" timeOffset="116546.33">5715 2778 0,'0'-13'0,"0"0"0,13-1 16,-13-12-1,0 13 1,-13 0-16,13-1 16,0 1-16,-13 40 46,13-1-46,0-13 16,13 0-16,0 14 16,0-14-16,-13 0 15,14-13-15,-1 14 0,0-14 16,0 0-16,1 0 0</inkml:trace>
  <inkml:trace contextRef="#ctx0" brushRef="#br0" timeOffset="117056.11">5887 2699 0,'0'-13'0,"0"-1"31,13 28-15,0-1-16,-13 13 15,0-13-15,0 1 16,0-1-16,0 0 16,-13 0-16,13 1 15,0-1 1,13-26 15,14-14-15,-14 14-16,-13 0 0,13 13 15,14-27-15,-14 27 16,0-13-16,0 13 0,1-13 16,-1 13-16,0 0 15,0-13-15,14-1 16,-1 14 0,-12 0 15,-1 14-31,0-1 15,-13 0-15,0 0 16,13 14 0,-13-14-16,0 0 0,13-13 15,-13 13 1,0 1-16,14-14 0</inkml:trace>
  <inkml:trace contextRef="#ctx0" brushRef="#br0" timeOffset="117203.83">6271 2540 0,'0'-13'16,"-14"39"15</inkml:trace>
  <inkml:trace contextRef="#ctx0" brushRef="#br0" timeOffset="117452.12">6390 2606 0,'0'0'0,"-27"13"0,14 1 0,0-1 15,0 0-15,-1 14 16,14-14-16,0 13 15,0-13 1,27 1-16,-1-1 16,14 0-1,-14-13-15,-12 0 0,-1 0 16,0 0-16,14 0 0,-14 0 0,0 0 16,0 13-16</inkml:trace>
  <inkml:trace contextRef="#ctx0" brushRef="#br0" timeOffset="118643.97">5477 3082 0,'132'14'0,"27"-1"16,-93-13-16,80 0 16,-67 0-16,0 0 0,-13 0 15,120-13-15,-133 13 16,0 0-16,-1-14 0,1 14 0,0-13 15,-13 0-15,13 0 0,-13-1 16,-1 1-16,80-40 16,-79 27-16,-14 13 0,14-14 0,-13 1 15,39-54 1,-40 54-16,-26 13 0,13-14 0,1-26 16,-28 27-1,14-1-15,-39-52 16,12 39-16,1 14 15,-1-1-15,14 1 0,-13 13 16,-40-53-16,39 52 16,-52-52-16,39 53 15,14 0-15,-1-1 0,-92-25 16,79 26 0,-13-1-16,14 1 0,-14 0 0,-13 0 0,13-1 15,-119-12 1,119 13-16,13 0 0,-13 13 0,0-14 15,-39 14 1,39 0-16,-93 0 16,107 0-16,-14 0 0,0 0 0,0 0 15,0 0-15,-40 0 16,54 14-16,12-14 0,-12 0 0,12 0 16,-13 0-16,-52 13 15,65-13-15,-39 13 16,26 0-16,14-13 0,-14 0 0,1 13 15,12-13-15,-13 14 0,-39-1 16,53-13-16,-14 13 16,0 0-16,14-13 0,-1 14 0,-92 25 15,93-39 1,-27 27-16,26-14 16,1 0-16,-53 27 15,65-27-15,-12 0 0,13 1 0,-14 12 16,-12 27-1,25-40-15,-12 40 16,13-40-16,-1 14 0,14-14 16,-13 53-16,0-39 15,13 39 1,0-27-16,0-25 0,0 39 16,0-40-1,13 27-15,-13-27 0,13 13 16,1-13-16,-1 1 0,40 39 15,-40-40-15,53 26 16,-39-25-16,-1-1 16,-13 0-16,80 27 15,-67-27-15,41 0 16,-1 1-16,-27-1 16,-12-13-16,-1 0 0,14 0 0,53 13 15,-67-13 1,0 0-16,1 0 0,13 0 0,-14 0 15,53 0 1,-52 0-16,39 0 0,-13 0 16,-27 0-16,14-13 15,-13 13-15,-1 0 0,67 0 16,-54 0-16,-12 0 0,26-13 16,-14 13-16,-12 0 15,-14 0-15,14-14 0,39 14 16,-40 0-16,1-13 15,-14 13-15,0 0 0,0 0 16,1 0-16,-1 0 16,-13-13-16</inkml:trace>
  <inkml:trace contextRef="#ctx0" brushRef="#br0" timeOffset="122386.71">198 13348 0,'14'-13'31,"-41"39"31,27-12-46,-13-14-16,0 13 16,0 13-16,-1-12 15,1-1-15,0 0 16,0 14-1,-1-14-15,1 0 16,13 0-16,-13 0 16,26 1-1,0-14 1,1 13-16,25-13 16,-25 0-16,-1 0 0,0 0 15,13 0-15,-12 0 0,-1 0 16,0 0-16,0 0 0,14 0 15,-14 0-15,0 0 16,1 0 0,-14-13-16</inkml:trace>
  <inkml:trace contextRef="#ctx0" brushRef="#br0" timeOffset="122613.81">291 13401 0,'-40'13'0,"40"1"16,-13 12-16,0 14 16,13-14-16,0-13 0,-13 40 15,-1-26 1,14-14-16,0 27 15,0-27-15</inkml:trace>
  <inkml:trace contextRef="#ctx0" brushRef="#br0" timeOffset="122970.48">238 13044 0,'93'26'16,"-67"-12"-16,-13 12 0,14 1 0,-14-1 0,0-13 16,14 40-16,-14-26 0,-13-1 15,0 1-15,0-1 0,0 0 16,0 1-16,-13-1 0,0 14 0,13-13 16,-14-1-16,1 0 0,0-12 0,13-1 15,-13 27 1</inkml:trace>
  <inkml:trace contextRef="#ctx0" brushRef="#br0" timeOffset="123676.86">820 13163 0,'0'13'16,"0"14"-16,0-14 15,-13 0-15,13 0 0,0 14 16,0-14-16,0 27 16,0-14-16,0 1 15,-13-27 1,13 13-16,13 0 0,-13 0 15,13-39 17,0 13-17,1-1-15,-1 1 16,13-13-16,-12 26 16,-1 0-1,13 0-15,-13 26 16,1-13-1,-14 1-15,0-1 0,0 0 16,13 14 0,0-14-16,0-13 31,14-13-15</inkml:trace>
  <inkml:trace contextRef="#ctx0" brushRef="#br0" timeOffset="123936.45">1098 13361 0,'13'-26'0,"-26"52"16,13-26 15,0 14-31,13-1 16,-13 0-16,13 0 16,1-13-1,-1 0-15,0 0 16,0-13-16,1 0 15,-14 0-15,0-1 0,-14-12 16,14 13 0,-13 0-16,13-1 0,-13 14 0,13-13 0,-13 0 15,-1 13 1,14-13-16,-13 13 0,0 0 16</inkml:trace>
  <inkml:trace contextRef="#ctx0" brushRef="#br0" timeOffset="124742.95">1601 13282 0,'0'-13'0,"-27"26"0,27 0 0,-13-13 16,13 14-16,0-1 0,0 0 16,0 0-16,0 27 15,0-27-15,0 0 0,13 1 16,-13-1-16,27 0 16,12-13-1,-25 0-15,25-26 16,-25 12-1,-14 1-15,0 0 0,0 0 0,0-1 16,0 1-16,-14-13 16,1 13-16,-13-1 15,26 1 1,-14 13-16,1 0 0,0 0 16,0 0-1,26 13 16,13 14-15,-12-14-16,-14 0 0,13 0 16,0 1-16,0-1 0,-13 13 0,14-12 15,-1 12-15,-13 1 0,13-1 0,-13 0 16,13 1-16,-13-1 0,0-12 16,0 12-16,0 0 0,0-12 0,0 12 15,0-13-15,-13 14 0,13-14 16,-13 0-16,13 1 0,-13-1 15,13 0 1,-14-39 0,14-1-1,0 1-15,0 12 0,0 1 0,0 0 16,14-14-16,-14 14 0,13-13 16,0 13-16,-13-14 0,13 14 0,0-14 15,1 14-15,12-13 0,-13 13 16,1-14-16,12 14 0,-13 13 15,1-13-15,-1-1 0,0 1 0,0 13 16</inkml:trace>
  <inkml:trace contextRef="#ctx0" brushRef="#br0" timeOffset="130426.67">2342 13097 0,'-14'0'0,"1"0"0,0 0 16,-14 13-16,1 0 15,13 1 1,-1-1-16,1 0 0,-13 0 0,-1 40 16,14-40-1,0 14-15,13-14 0,0 0 16,-13 40-16,13-40 15,0 27-15,13-27 16,-13 1-16,13-1 16,14 0-1,-14-13-15,0 0 0,0 0 0,0 0 16,1 0-16</inkml:trace>
  <inkml:trace contextRef="#ctx0" brushRef="#br0" timeOffset="130840.84">2474 13256 0,'-27'0'16,"14"0"-16,13 13 0,-13-13 15,13 13-15,-13-13 0,-1 13 0,14 1 0,-13-14 16,0 26 0,13-13-16,0 0 0,0 1 15,0-1 1,13-13-16,0 0 16,1-13-16,-1 13 15,-13-14-15,26-12 16,-12 26-16,-14-13 0,26 0 15,-26-1 1,13 28 15,-13 12-15,0-13-16,0 0 16,0 1-16,0-1 0,0 0 15,14 0 1</inkml:trace>
  <inkml:trace contextRef="#ctx0" brushRef="#br0" timeOffset="131203.84">2672 13189 0,'-13'14'0,"13"-1"15,0 0 1,0 0-16,13 54 16,-13-54-1,-13 26 1,13-25-16,-13 12 15,0-26-15,13 13 0,-14-13 0,1 14 16,0-14 0,0-14-1,26 1 17,0 0-17</inkml:trace>
  <inkml:trace contextRef="#ctx0" brushRef="#br0" timeOffset="131487.94">2818 13269 0,'0'0'0,"0"-13"16,0-1-1,-13 14 1,-1 14 0,1-14-16,13 13 15,0 0-15,-13 14 16,13-14-16,0 0 16,0 0-16,13 0 15,0 1-15,1-14 16,-1 0-1,13 0-15,-12 0 0</inkml:trace>
  <inkml:trace contextRef="#ctx0" brushRef="#br0" timeOffset="131791.12">3003 13203 0,'-13'0'15,"13"13"-15,0 13 16,0-12 0,13 12-16,-13 1 15,0-14-15,0 0 0,0 0 16,0 0-16,0 14 15,0-14-15,-13 0 16,0 14 0,-1-27-16,14 13 0,-13-13 0,0 0 15,13 13-15</inkml:trace>
  <inkml:trace contextRef="#ctx0" brushRef="#br0" timeOffset="134530.87">3373 13137 0,'14'-14'0,"-28"54"16,14-14-1,0-12-15,0 12 16,0-13-16,0 1 0,-13 12 0,13-13 15,0 14-15,0-14 0,0 27 16,0-27-16,0 0 16,0 0-16,0 1 15</inkml:trace>
  <inkml:trace contextRef="#ctx0" brushRef="#br0" timeOffset="134762.72">3281 13269 0,'26'0'16,"1"-13"-1,-14 13-15,0 0 0,0 0 16,1 0-16,-1 0 0,0 0 16,0 0-16</inkml:trace>
  <inkml:trace contextRef="#ctx0" brushRef="#br0" timeOffset="135320.98">3651 13150 0,'0'26'31,"0"-13"-15,0 1-16,0-1 0,0 0 0,13-13 15,-13 13-15,0 1 0,0-1 16,0 13-16,0-12 15,14-1 1,-14 0-16,13-13 16,0-13-1,-13 0 1,13-1-16,-13 1 16,14-13-1,-14 12 1,13 1-1,0 13 1,0-13 0,1 13-16,-1-13 15,0 13-15,0-14 0,0 1 16,1 13-16,-1-13 0,-13 0 0,13 13 16,0-13-16,1 13 15,-28 13 16,14 0-15,14 0 0,-14 0-16,13-13 0,0 14 15,-13-1-15,13-13 16,1 0-16,-1 0 16</inkml:trace>
  <inkml:trace contextRef="#ctx0" brushRef="#br0" timeOffset="135898.97">3215 13004 0,'-53'133'0,"53"-107"0,0 0 0,0 1 0,0-1 0,0 1 15,13-1-15,-13 1 16,13-1-16,0-13 0,-13 14 0,14-14 15,-1 14-15,0-14 0,14-13 0,-14 13 16,13-13-16,1 0 0,-1 0 16,1 0-16,12 0 0,14-13 0,-13 0 15</inkml:trace>
  <inkml:trace contextRef="#ctx0" brushRef="#br0" timeOffset="136258.97">4101 12806 0,'40'13'15,"-40"0"-15,13 1 16,0 12-16,0 0 0,1 1 0,-1-1 16,0 1-16,0 13 0,1-1 15,-14-12-15,0-1 0,0 14 0,-14 39 16,1-39-16,0 0 15,0-1-15,-1 1 0,1 0 16,-13-14-16,-1 14 0,14-14 0,-13 1 0</inkml:trace>
  <inkml:trace contextRef="#ctx0" brushRef="#br0" timeOffset="138964.03">5040 9419 0,'14'40'0,"-1"-27"0,-13 0 0,13 1 0,-13 12 16,0 0-16,13 1 15,0 52-15,-13-39 0,0 0 16,14-1-16,-14 14 0,13 27 16,-13-27-16,0-1 0,0-12 0,13 13 15,-13-13-15,0-1 16,0 14-16,-13 0 0,13-13 0,0 13 0,0-13 16,0 13-16,-13 105 15,-1-118-15,14 66 16,-13-67-16,13 14 0,0-13 0,-13 26 15,-13 80 1,26-107-16,-14 28 0,1-15 16,13 1-16,-13-13 0,0 13 0,-1 0 0,14 0 15,-39 92 1,25-105-16,14 0 0,-13-1 16,0 1-16,0 0 0,-27 92 15,27-92-15,0-1 16,-1 14-16,1-13 0,0 0 0,0-1 15,13 14-15,-27 40 16,14-40-16,0 0 0,0 0 0,13 13 16,-14-13-16,1 79 0,0-53 15,13-12-15,-13 12 0,13 0 0,-14 27 16,14-13-16,-13 198 16,13-66-1,0-106-15,13-40 0,-13 40 0,0-39 16</inkml:trace>
  <inkml:trace contextRef="#ctx0" brushRef="#br0" timeOffset="145640.6">8083 6879 0,'26'-13'0,"1"0"16,-14 13-1,0-14-15,1 14 0,-1-13 16,0 0 0</inkml:trace>
  <inkml:trace contextRef="#ctx0" brushRef="#br0" timeOffset="145931.13">8136 6707 0,'53'13'16,"-40"1"-16,14-1 15,-14 0-15,0 0 0,13 1 16,-26-1-16,14 0 0,-1 0 16,-13 0-16,0 14 15,-27 13 1,27-27-16,-13 0 0,0-13 16</inkml:trace>
  <inkml:trace contextRef="#ctx0" brushRef="#br0" timeOffset="146743.64">8665 6416 0,'0'40'16,"0"-27"-1,0 14 1,0-14-16,0 0 16,0 13-16,0-12 15,0-1 1,13-40 0,1 1-1,-1 26 1,0-26-1,0 12-15,0 14 0,1-13 0,-1 13 16,0 0-16,0 0 16,14 0-16,-14 13 15,0 1 1,1-1 0,-14 0-1,13-39 32,0 26-31,-13-14-16,26 1 15,-12 13-15,-1 0 16,13 0 0,-12 0-16,12 13 15,-13-13 1,-13 14-16,14-14 15,-14 13 1</inkml:trace>
  <inkml:trace contextRef="#ctx0" brushRef="#br0" timeOffset="147138.44">9128 6469 0,'13'-26'0,"1"-1"16,-14 14-1,0 0-15,0-1 16,-14 14 0,1 14-1,13-1 1,0 0-16,0 0 16,0 1-16,0-1 0,0 0 15,27 0 1,-27 1-16,13-14 0,0 0 15,0 13-15,1-13 0,-1 0 0,0 0 16,40 0 0,-40-13-16</inkml:trace>
  <inkml:trace contextRef="#ctx0" brushRef="#br0" timeOffset="147540.21">9485 6337 0,'-26'0'15,"52"0"-15,-52-13 0,13 13 16,-14 13-16,14 0 0,0 0 16,-1-13-1,14 13-15,-13 1 0,13 12 16,0-13-1,0 1 1,13-14-16,27 0 16,-40-14-16,13 14 15,1-13-15,-1 0 0,0 13 16,0-13 0,1-1-16,-1 1 15,0 26 1,-13 1-1,0-1 1,0 0-16,13-13 0,-13 13 16,0 1-1,13-1-15</inkml:trace>
  <inkml:trace contextRef="#ctx0" brushRef="#br0" timeOffset="147887.31">9631 6271 0,'-13'0'0,"13"26"15,13-13 1,-13 14-16,13-14 0,-13 0 0,13 0 16,1 1-16,-14-1 0,13 0 0,-13 0 15,13 14 1,-13-14-16,-13-13 0,13 13 16,0 1-16,-13-14 0,-1 13 15,14 0-15,-13-13 0,0 13 16,0-13-16,-1 13 15,1-13-15,0 0 16,0-13 0</inkml:trace>
  <inkml:trace contextRef="#ctx0" brushRef="#br0" timeOffset="148296.91">9737 6350 0,'13'0'0,"-26"26"31,13-12-15,0-1-16,0 0 16,0 0-16,13 1 15,0-1-15,0-13 16,1 0-16,12-13 31,0-14-15,-12 14-16,-1-14 15,0 14-15,0-13 16,-13 13-16,14 13 31,-1 13-15,-13 0-16,0 0 15,13-13-15,-13 13 0,0 1 16,13-14-16,1 26 16,-1-13-1</inkml:trace>
  <inkml:trace contextRef="#ctx0" brushRef="#br0" timeOffset="148614.82">10094 6310 0,'0'-13'15,"13"40"1,-13-14 0,0 0-1,0 0-15,-13 0 16,13 1-1,0-1-15,13-26 47,0-1-47,-13 1 16,27-13-16,-1-14 16,-13 14-1,-13 12-15,14 14 0</inkml:trace>
  <inkml:trace contextRef="#ctx0" brushRef="#br0" timeOffset="148862.44">10319 6310 0,'26'-39'0,"-26"25"16,-13 28-1,-13-1 1,12 0-16,14 0 0,-13-13 0,13 14 16,-13-14-16,13 13 0,0 0 0,0 0 15,13 0 1,27-13-1,-27 0-15,0 0 0</inkml:trace>
  <inkml:trace contextRef="#ctx0" brushRef="#br0" timeOffset="150211.84">3691 6641 0,'-40'79'0,"40"-65"0,-13-1 15,13 27 1,0-27-16,13-13 0,-13 13 0,13 0 16,-13 0-16,14-13 0,-1 14 0,27-14 15,-27 0 1,0 0-16,0 0 0,1 0 0,-1-14 16,0 14-16,0 0 0,-13-13 0,13 13 15,1-13 1,-1 0-16,0 13 15,-13 13 1,13 0 0,-13 0-16,14-13 15,-14 14-15,13-14 0,0 0 0,-13 13 16,13-13-16,27-13 16,-27 13-16,0 0 15,1 0-15,-1-14 0,0 14 0,-13-13 0,0 0 16,-26-13-1,-1-1 1,14 27-16,0-13 0,0 13 16,-1 0-16,14-13 0,-39 26 15,12-13 1,27 13-16,-13-13 0,13 13 16,0 1-1,13 12 1</inkml:trace>
  <inkml:trace contextRef="#ctx0" brushRef="#br0" timeOffset="150870.71">4128 6707 0,'0'-13'0,"0"26"0,-14-26 15,1 13 1,0 13-1,0 0 1,13 1 0,0 12-1,0-13 1,13-13-16,0 0 0,14-13 16,-14 13-1,0 0-15,-13-13 0,13 13 16,-13-13-16,13-1 15,1 14-15,-14-13 16,13 26 15,-13 1-15,13-1 0,0 0-1,1-13 1,-1 0-1,0-13 1,0 13-16,-13-13 16,13-1-1,1 14-15,-1-13 16,0 13 0,-13 13-1,13-13 1,-13 14-1,14-1 1,-1-13 15,0-13-15,0 13-16,1 0 16,-1-14-16,0 14 15,0 0 1,0-13-16,1 13 15,-1-13-15,0 13 16,0-13-16</inkml:trace>
  <inkml:trace contextRef="#ctx0" brushRef="#br0" timeOffset="151068.13">4630 6443 0,'0'-27'15,"0"14"-15,0 53 31,0-14-15,0 1-16,-13-14 16,13 13-16,0 1 0,0-1 15,0-13-15,0 1 0,0-1 0,0 0 16,0 0-16,0 1 0,0-1 16,0 0-16</inkml:trace>
  <inkml:trace contextRef="#ctx0" brushRef="#br0" timeOffset="151282.57">4419 6588 0,'26'-13'15,"0"0"-15,-12 13 16,12 0-16,1-14 0,-1 14 0,1 0 15,-1-13-15,0 13 0,1 0 16,26-13-16,-27 13 16,-13-13-16,1 13 0,12 0 0,-13 0 0,-13-13 15,14 13-15</inkml:trace>
  <inkml:trace contextRef="#ctx0" brushRef="#br0" timeOffset="152440.04">5411 9790 0,'0'39'0,"-13"-26"0,13 14 16,-14-14-16,14 0 0,0 14 15,-13-14-15,13 14 0,0-14 0,-13 40 16,13-27 0,0-13-16</inkml:trace>
  <inkml:trace contextRef="#ctx0" brushRef="#br0" timeOffset="152803.7">5411 9631 0,'66'40'0,"-53"-27"15,14 13-15,-1-13 0,-13 14 0,14-1 16,-1-12-16,1 12 0,-1 0 16,1-12-16,-1 12 0,0 1 0,1-14 15,-14 13-15,0-12 0,1-1 0,-1 0 16,0 0-16,-13 0 0,0 1 0,0-1 15,0 0-15,-13 0 0,0 1 16,-1-1-16,1 0 0,0 14 0,-14-14 16,-12 13-16,12-13 0,1 14 0,-1-14 15,1 0-15,-67 40 16,80-53-16,0 14 0</inkml:trace>
  <inkml:trace contextRef="#ctx0" brushRef="#br0" timeOffset="153833.14">6482 9618 0,'0'26'0,"0"-13"0,0 1 15,-13 52 1,13-40-16,-13 1 0,13-14 0,-13 13 16,13 1-16,-14-14 0,14 13 15,-13-12-15,13-1 0,0 0 0,-13 0 16,39-13 15,14-26-15,-27 13-16,1 13 0,-1-14 15,0 14-15,0-13 0,0 13 16,1 0-16,-1 0 0,0 13 0,14 1 16,-14-1-1,0-13-15,-13 13 0,13 0 0,-13 1 16,14-1-16,-14 0 16,13-13-16,-13 13 0,13 0 15</inkml:trace>
  <inkml:trace contextRef="#ctx0" brushRef="#br0" timeOffset="154318.9">6826 9975 0,'13'-27'0,"1"27"0,-1-13 16,0-13-1,-13 12-15,0 1 0,0 0 16,13-14 0,-26 27-1,0 0 1,0 14-16,-1-1 0,1 0 15,0 0 1,13 1-16,0-1 16,0 0-1,13-13-15,0 0 0,1 0 16,-1 0-16,0 0 0,0-13 0,1 13 16,12-13-16,-13-1 0,1 1 15,-1 0-15,13 13 0,-13-13 0,1-1 16,-1 14-16,-13-13 0,13 13 15,0 13 1,-13 1 0,0-1-16,0 0 0,0 0 15,0 1-15,0-1 16,0 0-16,0 0 16,0 1-16</inkml:trace>
  <inkml:trace contextRef="#ctx0" brushRef="#br0" timeOffset="155108.4">7342 9776 0,'-40'-13'0,"14"13"15,0 13-15,12-13 16,1 0-16,0 14 0,0-1 0,-1-13 15,-12 26-15,13 1 32,13-14-17,13-13-15,13 0 16,-12 0-16,-1 0 0,13 0 16,-12 0-16,-1 0 0,0 0 0,0 13 15,0-13-15,1 0 0,-1 13 16,0-13-16,0 14 0,1-1 15,-14 0-15,0 0 0,0 1 16,0-1-16,0 0 0,-14 0 16,14 0-16,-13 1 0,0-1 0,0 0 15,-1 0-15,1-13 0,0 14 0,0-14 16,0 13-16,-1-13 0,1 0 16,-13 0-1,12-13 1,28-14-1</inkml:trace>
  <inkml:trace contextRef="#ctx0" brushRef="#br0" timeOffset="155665.54">7541 9578 0,'0'40'15,"0"-27"-15,0 0 0,-14 14 16,14-14-16,0 0 0,-13 0 16,13 0-16,0 1 0,0-1 15,-13 0-15,13 0 16,0 1-16,13-1 15,0 0 17,1-13-32,-14 13 15,13-13-15,-13 13 16,13-13-16,-13 14 0,13-14 16,1 0-16,-1 0 15,13 0 1,-13-14-16,1 14 0,-1-13 0,13 0 15,-12 0-15,-1 0 0,40-54 16,-40 41-16,0 0 0,14-27 31,-27 39-31,13-25 0,-26 65 32,-14 40-1,14-39-31,13-14 0,-13 13 15,13 1-15,-13-14 0,13 27 0,0-27 16,0 0-16,0 0 0,0 1 0,0-1 16,0 0-1,13-13-15,0 13 16</inkml:trace>
  <inkml:trace contextRef="#ctx0" brushRef="#br0" timeOffset="155898.85">7646 9737 0,'27'0'0,"-14"-14"0,0 14 0,27 0 15,-13 0-15,-1 0 16,14-13-16,-14 13 0,1 0 0,12 0 15,-12-13-15,-1 13 0,1 0 0,-14 0 16,40 0 0,-40 0-16,0 0 0</inkml:trace>
  <inkml:trace contextRef="#ctx0" brushRef="#br0" timeOffset="156650.47">5318 10808 0,'93'0'15,"-80"0"-15,0 0 0,0 13 0,-13 1 16,0 12-1,-26 1 1,13-14-16,-14 0 0,14 0 0,-13 1 16,12-14-16,1 13 0,-13-13 15,26 13-15,-14-13 0,1 13 0,0-13 16,0 0-16,13 13 16,0 1-1,39-1 1,-25-13-16,-1 0 0,0 0 15,27 0-15,-27 0 16,14 0-16,-14 0 0,0 0 0,0 0 0,0-13 16,1 13-16,-1-14 0,0 14 15</inkml:trace>
  <inkml:trace contextRef="#ctx0" brushRef="#br0" timeOffset="156892.38">5596 10583 0,'26'40'15,"1"13"1,-14-13-16,-13-1 16,13-12-16,-26 65 15,0-52-15,0 0 16,-14-1-16,1 1 0,-1 0 0,1-1 15,-1-12-15,1-1 0,-1-12 0,1 12 16,13 1-16,-14-14 0,14 0 16,0-13-16</inkml:trace>
  <inkml:trace contextRef="#ctx0" brushRef="#br0" timeOffset="157522.92">6297 10901 0,'0'-13'16,"-13"26"15,0 0-16,13 0-15,0 1 0,0-1 32,13 0-32,0 0 15,0-13-15,14-13 16,-1 0 0,-13 13-16,1-13 15,-1 26 16,0 13-15,-13-13-16,13-13 0,-13 14 16,14-1-1,-1 0-15,0-13 0,14 0 16,-14-13 0,0 0-16,-13-1 15,13 14-15,-13-13 0,13 0 0,-13 0 16,0 0-16,14-1 0,-14 1 15,0 0-15,13 0 16,0 13 0</inkml:trace>
  <inkml:trace contextRef="#ctx0" brushRef="#br0" timeOffset="158020.21">6668 11007 0,'26'-14'0,"-13"-12"15,0 13 1,-13 0 0,-26 39 31,26-13-32,-13 0-15,13 1 0,0-1 16,13-13-16,0 13 15,0-13-15,27 0 16,-27-13-16,1 13 16,-1 0-16,0-13 15,13-1-15,-12 1 0,-1 13 0,-13-13 16,13 13-16,0-13 0,1 13 16,-14 13-1,0 0 1,0 0-1,0 1-15,0-1 16,0 13 0</inkml:trace>
  <inkml:trace contextRef="#ctx0" brushRef="#br0" timeOffset="158143.68">6985 10861 0,'0'-13'0</inkml:trace>
  <inkml:trace contextRef="#ctx0" brushRef="#br0" timeOffset="158716.09">7210 10941 0,'-13'-14'0,"-14"14"15,14 14-15,-13-14 16,12 13-16,1 0 15,0-13-15,13 13 0,-13-13 16,13 13-16,-14 1 16,28-1-1,12-13 1,-13 0-16,1 0 16,-1-13-16,0 13 0,0 13 15,14-13 1,-14 13-16,0 0 0,-13 1 15,13 12 1,-13-13-16,-13 27 16,0-27-16,13 0 15,-13-13-15,13 14 0,-14-1 0,1-13 16,-13 26 0,13-26-16,13 14 15,-14-28-15</inkml:trace>
  <inkml:trace contextRef="#ctx0" brushRef="#br0" timeOffset="159287.72">7395 10914 0,'-13'53'16,"0"-27"-1,-1-12-15,1 12 16,13-13-16,-13-13 16,13 14-16,0-1 15,13-13 1,0 0-1,1 0 1,-1 0-16,13 0 16,-12 0-16,-1 0 15,0 13-15,0-13 16,0 0-16,27 0 16,-13-13-1,-14 13-15,0-13 0,14-1 16,-14 14-16,0-13 0,0 0 15,14-27-15,-14 27 0,27-40 16,-27 40 0,0 0-16,-13-1 0,13 1 0,1 0 15,-28 39 17,14-12-32,-13-1 15,13 0-15,0 0 0,0 1 16,0-1-16,0 0 0,0 0 0,0 0 15,0 1-15,0-1 0,0 0 16,0 0-16,0 1 16,13-1-16</inkml:trace>
  <inkml:trace contextRef="#ctx0" brushRef="#br0" timeOffset="159487.7">7607 10967 0,'53'-13'0,"-40"13"0,66 0 31,-52-13-31,12 13 0,-12 0 0,-1 0 0,1 0 16,-1 0-16,1 0 0,-14 0 15,13 0-15,-12 0 0</inkml:trace>
  <inkml:trace contextRef="#ctx0" brushRef="#br0" timeOffset="160591.6">5305 11959 0,'13'-13'0,"0"13"16,1 0-16,12 0 16,-26 13-1,13-13-15,1 13 16,-14 1 0,0-1-16,-14 0 15,1 0-15,13 1 16,0-1-1,13 0 1,-13 0-16,0 0 0,0 1 0,14-14 16,-14 13-16,0 0 0,0 0 0,13-13 15,-13 14-15,-13-1 0,13 0 16,0 0-16,-14-13 0,14 14 16,-13-1-16,0-13 15,0 0-15,-1 0 0,1 0 16,0-13-16</inkml:trace>
  <inkml:trace contextRef="#ctx0" brushRef="#br0" timeOffset="160791.84">5477 11748 0,'53'52'0,"-40"-38"0,13 78 16,-12-52-1,-14 0-15,13-1 0,-13 1 0,-13 0 16,13-1-16,-14 14 0,-12 0 16,-27 40-16,27-54 0,-1 14 15,-12-13-15,-1 0 0,0-1 16,0-12-16</inkml:trace>
  <inkml:trace contextRef="#ctx0" brushRef="#br0" timeOffset="181189.65">6826 10583 0,'119'0'15,"27"-13"-15,-93 13 16,13 0-16,-13 0 0,13 0 0,-13 0 16,26 0-16,-13 13 0,14-13 15,-14 0-15,13 0 0,-26 0 0,13 14 16,27-14-16,-40 13 15,0-13-15,-14 13 0,1 0 0,0 0 16,-14-13-16,-12 14 0,12-1 0,-13 0 16,14-13-16,-14 13 15,-13 1-15,13-1 0,0 0 0,1 0 16,-14 1-16,0-1 0,13 0 0,-13 0 16,0 0-16,0 1 15,13-1-15,-13 0 0,0 0 0,0 1 0,0-1 16,0 0-16,-13 27 0,13-27 15,-13 0-15,13 14 0,-14-14 16,14 0-16,-13 14 0,13-14 16,-13 0-16,0 13 0,-1-12 0,1 12 15,0-13-15,-13 14 0,12-14 0,1 0 16,-13 14-16,12-14 0,-12 0 16,13 0-16,-14 1 0,14-1 15,-13 0-15,-1 0 0,1 1 0,-40-1 16,13 13-16,26-26 15,1 0-15,-14 14 0,14-14 16,-14 13-16,0-13 0,-13 0 0,14 13 16,-14-13-16,-40 0 0,40 0 15,0 0-15,0 0 0,0-13 16,14 13-16,-14-13 0,0 13 0,0-14 16,13 14-16,-13-13 0,0 0 0,0 0 15,1-1-15,12 1 16,-13 0-16,0 0 0,13 13 0,-13-14 15,1 1-15,12 0 0,0 0 0,-13 0 16,27 13-16,-14-14 0,0 1 16,14 0-16,-1 13 0,14-13 0,-13-1 15,13 14-15,-1-13 0,1 0 16,-13 0-16,12-1 0,1 1 0,13-13 16,-13 13-16,0-1 0,-1-12 0,14 13 15,-13-14-15,0 14 0,13 0 16,0 0-16,-13-1 0,13-12 15,0-1-15,0 14 0,0 0 16,0 0-16,13-1 0,-13 1 16,13 0-16,0 0 0,14 0 0,-1-1 15,1-12-15,13 13 0,-14-1 16,53-12-16,-39 26 0,0-13 16,-1-1-16,1 14 0</inkml:trace>
  <inkml:trace contextRef="#ctx0" brushRef="#br0" timeOffset="185662.05">8678 9300 0,'66'-13'16,"-52"13"-16,-1 0 0,13 0 0,-12 0 15,-1 0-15,0 0 16,0 0-16,1-13 0,-1 13 0,0 0 0,13 0 16,-26 13-1,14-13-15,-1 13 0,-13 0 16,13 14-16,-13 12 0,13 1 16,-13 66-16,14-40 0,-14 0 15,0 0-15,0 1 0,0 12 16,13-13-16,-13 66 0,13-65 15,-13-1-15,13 0 0,-13-13 0,14 13 16,-14-26-16,0 13 0,13-14 16,-13 14-16,13 26 0,0 1 15,-13-54-15,0 1 16,0-1-16,0-13 0,0 14 0,0-14 16,0 14-16,0-14 0,0 0 15,0 0-15,-13 1 0,0-1 16,0 0-16,-1 0 0,1 0 15,0 1-15,-53 12 0,39-13 16,-12 1-16,-1-1 0,0 0 16,-13 0-16,14 0 0,-1 1 0,0-1 15,0-13-15,1 13 0,12 0 0</inkml:trace>
  <inkml:trace contextRef="#ctx0" brushRef="#br0" timeOffset="186641.59">6429 9260 0,'-66'0'0,"27"-13"16,25 13-16,-12 0 0,-1 13 15,-39-13-15,40 0 16,-1 0-16,-12 14 0,12-14 15,-26 13-15,27 0 0,-1 0 16,1 1-16,13-1 0,-1 0 16,1 0-16,-13 14 0,13-1 0,-14 27 15,27-26-15,-26 25 16,26-12-16,-14 0 0,14 0 0,-13-1 16,0 67-16,0-53 15,-1 0-15,14 0 0,0 0 0,-13-14 0,13 14 16,-13 0-16,0 66 15,0-66-15,13 13 0,-14-13 16,1 0-16,-27 53 0,27-53 16,0-13-16,0-1 0,-14 41 15,14-54-15,0 14 16,13 26-16,0-40 16,0 1-16,13-14 0,0 27 15,0-27-15,27 13 0,-13-12 16,12-14-16,1 13 0,0 0 15,-1 0-15,1-13 0,0 0 16,-1 14-16,-12-14 0,-1 0 0,14 13 16,-14-13-16,1 0 0</inkml:trace>
  <inkml:trace contextRef="#ctx0" brushRef="#br0" timeOffset="189124.74">6813 11919 0,'13'-13'16,"0"0"-16,-39 13 62,13 0-46,0 0-16,-1 13 15,1-13 1,0 0-16,0 13 0,-1-13 16,14 14-16,-13-14 15,0 0-15,13 13 16,-13-13-16,13 13 16,0 0-1,13 1 1,0-14-1,-13 13-15,13-13 0,1 13 16,-1-13-16,0 13 16,0 1-1,1-14-15,-1 13 16,-13 0-16,13 0 16,-13 0-16,0 1 15,0-1 1,-13 0-16,13 0 15,-13 1-15,-1-14 16,14 13-16,-13-13 0,0 13 16,0 0-16,-1-13 15,-12 14-15,13-14 16,0 0-16,-1 0 0,1 13 16,0-13-16,0 0 31,-1 0-31</inkml:trace>
  <inkml:trace contextRef="#ctx0" brushRef="#br0" timeOffset="190528.14">7011 11959 0,'0'27'32,"-13"-14"-32,13 13 0,-13 14 15,0 39-15,13-39 0,-13 0 16,-1-1-16,14 1 0,-13 0 15,0 26-15,13-26 16,0-27-16,0 13 0,0-12 0,0-1 16,0 0-16,0 0 15</inkml:trace>
  <inkml:trace contextRef="#ctx0" brushRef="#br0" timeOffset="190846.45">6985 12078 0,'13'-26'0,"0"26"0,-13-13 15,14-1-15,-1 14 0,0 0 0,0-13 16,14 13-16,-14 0 15,14 13-15,-14-13 0,0 14 16,13-1-16,-26 0 0,14 0 16,-14 0-16,0 1 0,-14-1 15,14 0-15,-13 0 0,13 1 16,-13-1-16,0 0 0,0-13 16,-14 27-16,14-27 0,0 0 0,-1 0 15,1 0 1</inkml:trace>
  <inkml:trace contextRef="#ctx0" brushRef="#br0" timeOffset="191295.36">7448 12184 0,'26'-66'16,"-26"39"-1,0 14 1,0 0-16,-13 13 16,0 13-1,0 0 1,13 1-16,0-1 15,0 0-15,13 0 16,-13 1-16,13-14 0,0 26 0,1-13 16,-1-13-1,0 14-15,0-14 0,1 0 16,-1 0-16</inkml:trace>
  <inkml:trace contextRef="#ctx0" brushRef="#br0" timeOffset="191892.87">7713 12158 0,'0'-14'16,"-14"1"-16,1 26 16,0 1 15,13-1-31,0 0 0,0 0 15,13 1 1,-13-1-16,13-13 0,1 0 16,-1 0-1,13 0-15,1-13 16,-14 13-16,13-14 0,-12 1 16,25-13-16,-25 12 15,12 1-15,-13 0 0,1 0 0,-1-1 16,-13 1-16,13 0 0,0-13 0,0 12 15,-13 1-15,0 0 16,0 0 0,-26 26-1,26 0 1,-13-13-16,13 13 0,-13 1 0,-1 12 16,14 0-1,14 1 1,-1-27-1,26-27 1,-25 14-16,-1 0 0,13-13 0,-12-1 16,-1 1-16,0-1 0,0 1 15,0 12-15,1-12 0,-14 13 16,13 13-16,-13-13 16,0 39-1,0-13-15,-13 0 0,13 14 0,0 13 16,0-14-16,0-13 0,0 14 15,0-1-15,13 1 0,-13-14 16,0 13-16,13-12 0,-13-1 0,0 0 16,13 0-16</inkml:trace>
  <inkml:trace contextRef="#ctx0" brushRef="#br0" timeOffset="193239.14">5318 13150 0,'-26'26'0,"-27"14"16,53-27-16,-13 0 0,13 1 15,-14-14-15,14 26 16,0-13-16,0 1 0,0-1 16,0 0-16,0 0 15,14 0-15,-14 1 0,13-14 16,13 13-16,-13-13 16,1 13-16,-1-13 0,0 0 15,0 0-15,1 0 0,-1-13 0,0 13 16,0 0-16,-13-13 0,14 13 15,-14-14-15,13 1 0</inkml:trace>
  <inkml:trace contextRef="#ctx0" brushRef="#br0" timeOffset="193403.74">5437 13137 0,'-13'13'47,"13"0"-47,0 13 0,0-12 16,0 12-16,0-13 0,0 14 15,0-1-15,0 1 0,0-1 0,13 27 16,-13-26-16,0-318 0,0 595 16,0-278-16,0 1 0,13-1 15</inkml:trace>
  <inkml:trace contextRef="#ctx0" brushRef="#br0" timeOffset="193664.1">5490 12872 0,'13'0'0,"14"0"0,-67 0 0,93 13 0,-40 0 16,14 1-16,-14 12 15,13-13-15,1 27 0,-14-13 0,0-1 16,14 53-16,-14-39 0,-13 0 15,13-1-15,-13 1 0,-13 53 16,13-54-16,-13 1 0,13 0 16,-13-14-16,-1 40 15,14-52-15,-13-1 0,13 0 0</inkml:trace>
  <inkml:trace contextRef="#ctx0" brushRef="#br0" timeOffset="194344.37">6760 12872 0,'-13'26'32,"13"-12"-32,0 25 15,0-25-15,-13 12 0,13 1 16,0-1-16,0 0 0,0-12 0,0 12 16,0-13-16,-14 14 0,14-14 0,0 13 15,0-12-15,0-1 0,0 0 16,0 0-16</inkml:trace>
  <inkml:trace contextRef="#ctx0" brushRef="#br0" timeOffset="194655.27">6694 12912 0,'93'-14'15,"-54"41"-15,-26-14 16,1 0-16,-1 1 0,0 12 0,-13-13 16,13 14-16,-13-1 0,0-13 15,0 14-15,0-1 0,-13 1 0,13-1 16,-13-13-16,0 27 0,-1-13 15,14-14-15,-13 13 0,0-12 0,-13-1 16,12 13-16,-12-13 16,13 1-16,-1-14 0</inkml:trace>
  <inkml:trace contextRef="#ctx0" brushRef="#br0" timeOffset="194847.43">6972 13097 0,'13'26'16,"-13"14"0,0-27-16,0 0 0,0 14 15,-13-14-15,13 0 0,0 14 0,0-14 16,0 14-16,-13-14 0,13 0 0</inkml:trace>
  <inkml:trace contextRef="#ctx0" brushRef="#br0" timeOffset="195656.61">7263 13031 0,'-13'0'0,"-14"0"16,14 0-1,0 13-15,-1-13 16,14 13-16,-13 0 15,26 1 1,-13-1-16,14 0 0,-1 0 16,0 1-16,0-1 0,14 13 15,-27-13-15,13 1 0,0-1 16,0 13 0,1-12-16,-14-1 0,0 0 15,-14 0-15,14 1 16,-13-14-16,13 13 0,-13-13 15,-13 13-15,26 0 0,-14-13 0,1 13 16,0-13-16,0 0 16,-1 0-16,1 0 15</inkml:trace>
  <inkml:trace contextRef="#ctx0" brushRef="#br0" timeOffset="195892.59">7448 12925 0,'13'-13'0,"-26"26"15,26 0 1,0 14 0,-13-14-16,0 0 0,0 14 15,0-14-15,14 13 0,-14-13 0,0 14 16,13-1-16,-13-12 0,0 12 15,13-13-15,-13 0 0,0 1 0,13 12 16,-13-13-16,14 1 16,-14-1-16</inkml:trace>
  <inkml:trace contextRef="#ctx0" brushRef="#br0" timeOffset="196111.53">7461 13123 0,'13'0'16,"-13"-13"-16,14 13 0,-1-13 16,13 13-16,-12-13 0,-1 13 15,27-14-15,-14 14 16,-13 0-16,14 0 15,-14-13-15</inkml:trace>
  <inkml:trace contextRef="#ctx0" brushRef="#br0" timeOffset="196826.84">7818 13004 0,'-13'0'15,"0"0"-15,0 14 0,0-14 16,-1 13-16,1 0 15,132-53-15,-251 93 0,119-40 16,118-79-16,-210 146 16,105-67-16,0 0 15,0 0-15,13-13 32,0 0-32,0-13 15,1 13 1,-14-13-16,13 0 15,-13-1 1,13 1 0,0 26 31,-13 1-32,0-1-15,13-13 0,-13 13 16,0 0-16,0 1 15,0-1-15,14-13 16,-14 13-16,13-13 31,0-13-15,0 13 0,1-13-16,-1 13 15,0-14-15,0 14 16,1 0-1,-1 14 1,0-14 0,-13 13-16,13-13 15,0 13 1,1-13 0,-1 0-1,0 0 1,0-13-1,1 13 1,-1 0 0,13 0-1,-13 0 1,1 0-16,-1 0 0,0-13 16,0 13-16,1 0 0,-1-14 15</inkml:trace>
  <inkml:trace contextRef="#ctx0" brushRef="#br0" timeOffset="197126.85">8414 12978 0,'-27'-13'16,"1"26"0,26 0-16,-13 0 15,13 1-15,-14 12 16,14-13-16,14-13 15,52-79-15,-132 171 0,79-92 16,0 0-16,0 0 16,1-13-16,-1 13 0,0-13 15,0 13-15,0 0 16,-13 13 15,14 0-15,-14 1-16,13-1 0,0-13 15,0 0 1,1 0-16,12 0 0</inkml:trace>
  <inkml:trace contextRef="#ctx0" brushRef="#br0" timeOffset="198688.93">5411 13904 0,'39'-27'0,"-25"27"16,-1-13-1,-40 40 16,-12-1-15,26-13-16,-1 1 0,1-1 16,13 0-16,-13-13 15,13 13-15,13 14 16,0-14-16,-13 0 16,14 0-16,12 14 0,-26-14 15,13 0-15,0 1 0,-13-1 16,14 0-16,-14 0 15,0 0-15,0 1 0,0-1 16,-14 0-16,14 0 0,-13 1 0,0-14 16,0 0-16,0 0 15,-14 0-15,14 0 0,-27-14 16,0 14-16,27-13 0,-53-13 16,40 12-16</inkml:trace>
  <inkml:trace contextRef="#ctx0" brushRef="#br0" timeOffset="198900.49">5159 13692 0,'146'13'0,"-106"1"16,-1-1-16,1 13 0,-14-12 15,27 38-15,0 15 16,-40-41-16,27 120 15,-40-54 1,-13-65-16,0-1 16,13 1-16,-14 12 15</inkml:trace>
  <inkml:trace contextRef="#ctx0" brushRef="#br0" timeOffset="199411.93">6654 13732 0,'14'40'16,"-1"-14"0,-13 67-1,0-40-15,0-27 16,0-13-16,13 14 0,-13-1 15,0-13-15,0 14 0,0-14 0,0 14 16,0-14-16,0 0 16,0 0-16</inkml:trace>
  <inkml:trace contextRef="#ctx0" brushRef="#br0" timeOffset="199636.8">6575 13983 0,'-13'-13'16,"39"13"-16,-26-13 16,27 13-16,-14-13 0,0 13 15,14 0-15,12-14 0,1 1 16,-14 13-16,-12-13 15,12 13-15,14 0 16,-14 0-16,14 0 0,-27 0 0,0 13 16</inkml:trace>
  <inkml:trace contextRef="#ctx0" brushRef="#br0" timeOffset="200047.57">6932 14102 0,'27'-26'15,"-27"13"1,0-1-16,13 1 0,-13 0 15,0 0-15,0-1 0,0 1 16,0 0 0,0 0-16,0 39 31,0-13-15,0 1-16,0-1 15,0 0-15,0 0 0,13-13 16,-13 27-16,13-27 0,0 13 15,1 0-15,-1-13 16,0 14-16,0-14 0,1 0 16,12-14-16,-13 14 15,1 0-15,-1 0 0,-13-13 16,13 13-16</inkml:trace>
  <inkml:trace contextRef="#ctx0" brushRef="#br0" timeOffset="200503.9">7289 13944 0,'0'13'47,"0"13"-47,0-13 16,0 1-16,0-1 15,0 0-15,0 0 16,0 1-16,0-1 15,0-132-15,0 106 16,27 145 0,-27-145-16,13 13 15,0 0-15,-13-14 16,13 14 0,1 0-1,-1 0 1,0 0 15,0 0-31,1 0 31,-1-13-31,13 13 16,-13 0-16,1-13 31,-1 13-31,0 0 16,0 0-16,1 0 15,-1 0-15,0 0 16,14 0-16</inkml:trace>
  <inkml:trace contextRef="#ctx0" brushRef="#br0" timeOffset="201055.9">7726 13586 0,'0'-13'15,"0"53"-15,0-27 16,0 13-16,0 1 0,0 26 16,0-13-16,13 39 15,-13-39-15,0 13 16,0-27-16,0 0 0,0 14 16,0-27-16,0 14 0,0-14 15,0 0-15,0 1 0,13-28 31,1 1-31,-14-13 16,13-1-16,0 1 0,27-27 16,-27 26-16,0 1 0,0-1 15,27 1-15,-27 13 16,-13-1-16,14 14 0,12-13 16,-13 13-16,0 0 15,-13 13-15,14 1 0,-14-1 16,0 0-16,0 0 15,-14 1-15,1 12 16,0-26-16,0 13 0,0 1 0,-14-1 16,14-13-16,0 13 15,-1-13-15,1 0 0,-13 0 16,12-13-16,1 0 16</inkml:trace>
  <inkml:trace contextRef="#ctx0" brushRef="#br0" timeOffset="-211306.09">20717 4815 0,'-13'-13'0,"26"0"31,40 13-15,-40 0-16,0 0 0,53-13 16,-52 13-16,12 0 0,27 0 15,-40-14 1,27 14 0,-27 0-16,0 0 0</inkml:trace>
  <inkml:trace contextRef="#ctx0" brushRef="#br0" timeOffset="-211014.11">20942 4670 0,'26'13'16,"-13"-13"-16,27 40 15,-13-27-15,-14-13 16,0 13-16,0 0 0,-13 1 0,14-1 0,-14 27 16,0-27-1,-14 13 1,1-12-16,-13 12 15,12-26-15</inkml:trace>
  <inkml:trace contextRef="#ctx0" brushRef="#br0" timeOffset="-210178.02">21590 4511 0,'13'-13'0,"-13"39"47,0 1-31,-13-14-16,13 14 15,0-14-15,0 0 0,-13 0 16,13 0-16,0 1 0,0-1 15,0 0 1,0 0 0,13-26 15,13 0-15,-26 0-16,14-1 0,-1 1 0,-13 0 15,26 0-15,-12 13 16,-1-13-16,0 13 0,0 0 15,14 0-15,-14 13 16,0-13-16,0 26 16,1-13-16,-14 1 15,26-1 1,-26 0-16,0 0 16,13-13-16,1 0 15</inkml:trace>
  <inkml:trace contextRef="#ctx0" brushRef="#br0" timeOffset="-209874.76">22013 4591 0,'-13'26'15,"13"-13"1,0 14-1,13-14 1,1-13-16,-1 0 16,0 0-1,0 0-15,0 0 16,-13-13-16,14-1 16,-14 1-16,0 0 15,0 0-15,0 0 16,-14 13-1,14-14-15,-26 14 16</inkml:trace>
  <inkml:trace contextRef="#ctx0" brushRef="#br0" timeOffset="-209506.66">22159 4524 0,'13'0'16,"0"0"0,-13 14-16,0-1 15,0 0 1,14 0-16,-14 1 16,0-1-1,0 0 1,13-26-1,0 13 1,13-13-16,-12-1 16,-1 14-16,0 0 0,0-13 15,1 13-15,-1 0 16,0 0-16,0 0 0,14 13 16,-14-13-1,0 0-15,0 14 16,1-14-16,-1 13 0,0 0 15,14-13-15</inkml:trace>
  <inkml:trace contextRef="#ctx0" brushRef="#br0" timeOffset="-208592.84">22834 4471 0,'26'14'16,"-39"-1"-1,13 0-15,0 0 16,0 14-16,0-14 16,0 0-16,-13 1 15,13-1-15,0 0 16,13-26 31,13-14-32,-13 14-15,1 0 0,12 0 16,-13 13-16,1 0 16,-1 0-16,0 0 15,14 13-15,-14 0 16,-13 0-1,13-13-15,-13 14 0,0-1 0,13-13 16,-13 13-16,13 0 0,-13 0 16,14-13-1,-1 14-15</inkml:trace>
  <inkml:trace contextRef="#ctx0" brushRef="#br0" timeOffset="-208156.61">23217 4551 0,'0'-13'0,"0"-1"16,0 1-1,-26 26 16,26 1-15,0-1-16,-13 0 16,26 0-16,0 1 31,0-14-31,0 13 0,1-13 16,12-13-1,-13-1 1,1 1-1,-14 0-15,13 13 0,-13-13 16,13 13-16,-13 13 31,0 13 1,0-12-32,13-1 15,14 0 1</inkml:trace>
  <inkml:trace contextRef="#ctx0" brushRef="#br0" timeOffset="-207553.71">23495 4511 0,'0'-13'16,"0"39"0,-13-12-1,13-1-15,0 0 16,0 0-16,0 1 15,-13-1 1,26-13 0,13-13-1,-13 13 1,-13-14-16,14 14 16,-1 0-16,0 0 15,0 0-15,1 0 16,-1 14-1,-13-1-15,0 0 32,0 0-17,13-26 32,0 13-31,1 0-16,-1-13 0,0 13 15,0 0 1,0 0-16,1 0 0,-1 0 16,0 0-1,0 13 1,1 0 0,-1-13-16</inkml:trace>
  <inkml:trace contextRef="#ctx0" brushRef="#br0" timeOffset="-207125.83">23852 4657 0,'13'-14'0,"1"14"16,-1-13-16,-13 0 15,13 0 1,-13 0-16,0-1 0,-26 28 47,26-1-47,0 0 31,0 0-31,0 0 0,13 1 16,13-1-16,1 0 15,-14-13-15,27 13 16</inkml:trace>
  <inkml:trace contextRef="#ctx0" brushRef="#br0" timeOffset="-206661.4">24130 4551 0,'26'13'47,"-26"14"-32,0-14-15,0 0 16,0 0-16,0 14 31,27-27 1,-27-14-17,26 1-15,-12 13 16,-1-13-16,0 13 0,40-13 15,-27 13 17,-12 0-32,-1 0 0,0 13 15,-13 13 17,0-12-32,0-1 15</inkml:trace>
  <inkml:trace contextRef="#ctx0" brushRef="#br0" timeOffset="-206488.21">24500 4538 0,'0'-14'0,"-13"1"15</inkml:trace>
  <inkml:trace contextRef="#ctx0" brushRef="#br0" timeOffset="-206245.94">24619 4551 0,'0'-13'0,"-13"-1"16,-13 14-1,13 14-15,-1-14 16,1 13-16,0 0 0,0-13 16,-1 13-16,14 1 0,-13-14 15,13 13-15,-13 0 0,13 0 16,0 0-16,13-13 15,-13 14-15,13-1 16,1-13-16</inkml:trace>
  <inkml:trace contextRef="#ctx0" brushRef="#br0" timeOffset="-205839.99">24778 4643 0,'0'-13'0,"-13"0"16,0 13 0,39 26-1,-65-52-15,25 39 16,1-13-16,0 13 0,0-13 16,26 14 15,0-14-16,27 0 17,-27 0-32,0 0 15,0 0 17,1 0-32,-1 0 15,-13-14-15,13 14 16,14 0-16,-14 0 0,0 0 15,0-13-15,1 13 16,12 0-16,-13-13 0,0 13 16,40-26-16,-39 26 15,25-14-15</inkml:trace>
  <inkml:trace contextRef="#ctx0" brushRef="#br0" timeOffset="-203491.58">7990 4167 0,'0'-13'0,"14"39"47,-14-12-31,0-1-16,0 0 15,0 0-15,0 1 31,26-28 1,-26 1-32,13 0 15,1 13-15,-14-13 0,13 13 0,13-14 16,-13 14-16,1 0 16,-1 0-16,-13 14 15,13-14-15,0 13 16,-13 0-16,14-13 0,-14 13 15,13 1-15,-13-1 16,13 0-16</inkml:trace>
  <inkml:trace contextRef="#ctx0" brushRef="#br0" timeOffset="-202800.13">8334 4167 0,'0'-13'0,"0"0"16,-13 0 15,13-1 125,-13 41-62,13-1-79,0-13 1,0 14 0,0-14-16,13 0 15,0-13 1,1 0-16,-1 0 16,0 0-1,-13-13-15,13 13 0,-13-13 16,14 13-16,-14-13 0,0-1 15,0 1-15,-14 13 16,14-13-16,0 0 0,-13 0 16,0-1-1,0 14-15,-14 0 16,14 14 0</inkml:trace>
  <inkml:trace contextRef="#ctx0" brushRef="#br0" timeOffset="-202494.09">8414 4128 0,'39'13'15,"-39"0"-15,27 13 16,-14-12 15,-13-1-15,27-13-16,-1 0 31,0-13-31,-12 13 0,-1 0 16,0 0-1,14 0 1,-14 0-16,0 13 15,0 0 1</inkml:trace>
  <inkml:trace contextRef="#ctx0" brushRef="#br0" timeOffset="-201088.69">8255 4498 0,'-26'0'16,"-14"26"0,40-12-16,-13-1 0,-1 13 0,14-12 15,-13-1-15,13 0 0,0 0 16,-13 0-16,26 1 0,-13-1 15,0 0-15,13-13 0,-13 13 16,14-13-16,-1 0 16,-13 14-16,13-14 0,0 0 0,1 0 0,-1 0 15,13 0-15</inkml:trace>
  <inkml:trace contextRef="#ctx0" brushRef="#br0" timeOffset="-200425.11">8493 4591 0,'-40'-14'0,"27"14"16,0 14-16,0-14 0,0 0 15,-1 13-15,1 0 0,0-13 16,13 13-1,0 0 1,13 1 0,0-14-1,1 0 1,-1-14-16,0 28 16,0-14-1,0 13 1,1-13-16,-14 13 15,13-13-15,0 0 0,0 0 0,1 0 16,-1 0-16,0 0 0,0 0 0,0 0 16,14-13-16,-1 0 15,-12 13-15,-1-14 0,0 14 16,-13-13-16,13 0 0,1 0 16,-1 0-16,-13-1 0,26-39 15,-13 27-15,-13-1 16,14 27-16,-14-13 15,0 0-15,-14 53 47,14-27-47,0 27 16,0-27 0,14 13-1,12-26-15,-13 14 16,1-14-16,-1 0 15,0 0-15,0 0 16,1 0-16,12 0 16,-13 13-1,0-13 1,1 13-16,-1-13 0,0 0 16</inkml:trace>
  <inkml:trace contextRef="#ctx0" brushRef="#br0" timeOffset="-200246.19">8705 4538 0,'26'-14'15,"-13"14"1,1 0-16,-1 0 0,13 0 15,-12 0-15,-1 0 0,0 14 16,0-14-16</inkml:trace>
  <inkml:trace contextRef="#ctx0" brushRef="#br0" timeOffset="-199417.48">9036 4524 0,'-14'-13'0,"1"13"16,13-13-16,-26 13 15,105 53-15,-105-80 16,-41 14 0,81 26-1,-14 1-15,13-1 0,-13 0 16,0 0-16,0 1 0,0-1 0,0 0 16,0 0-16,0 0 0,-13 14 15,13-14-15,0 0 0,-14 1 16,1-1-16,0 0 15,0-13 1,26-26 15,13 12-15,-12 1-16,-1 0 0,13 0 16,-12-1-16,12 1 0,-13 0 0,0 0 15,14 13-15,-14-13 0,0-1 16,1 14-16,-14-13 0,13 0 15,0 13-15,-26 13 47,0 14-31,13-14-16,0 0 16,13-13-16,-13 13 15,13-13 1,-13 13-16,13-26 15,1 13 1,-1-13-16,0 13 0,-13-13 16,13 13-1,14-13-15,-14 13 16,0 0 0,0 13-16,1-13 15,-14 13-15,13-13 0,-13 13 16,0 0-1,13-13 1,0 0 0,0-13-1,1 13-15,-14-13 16,13 13-16,0-13 0,0 0 0,14-1 16,-27 1-1,13 13-15,0-13 0,14 0 31,-14 13-31,-13-14 0,13 14 16,0 0 0,-13 14-1,-13 12 1,13-13 0,0 1-1,0-1-15</inkml:trace>
  <inkml:trace contextRef="#ctx0" brushRef="#br0" timeOffset="-199281.8">9604 4498 0,'-13'-13'16</inkml:trace>
  <inkml:trace contextRef="#ctx0" brushRef="#br0" timeOffset="-198913.92">9750 4498 0,'-27'13'0,"14"-13"32,0 0-32,0 13 0,0 1 15,-1-1-15,1-13 16,13 13-16,-13 0 16,26 1-1,0-1-15,14-13 31,-14 0-15,0 0 0,0 0-1,1 0 1,-1 0 0,0 0-16,0 0 15,1 0-15,-1 0 0</inkml:trace>
  <inkml:trace contextRef="#ctx0" brushRef="#br0" timeOffset="-198492.94">10014 4551 0,'0'-13'0,"-13"13"0,0 0 15,0 0 1,0 0-16,-14 13 15,14-13 1,13 13-16,-13-13 0,-1 13 16,14 1-16,0-1 15,14 0 17,12-13-17,-13 0-15,14-13 16,-14 0-16,0 13 15,0-14-15,1 1 0,-1 0 16,0 0-16,14-14 0,-14 1 16,0 12-16,0 1 0,1 0 0,-14 0 15,13 0-15,-13-1 16,13 1-16,-13 40 31,0-14-31,-13 13 16,13 1-16,0-14 0,0 0 15,0 14-15,0-14 16,0 0-16</inkml:trace>
  <inkml:trace contextRef="#ctx0" brushRef="#br0" timeOffset="-198322.82">10464 4366 0,'-26'13'0,"13"0"15,-1 0-15,1 14 16,0-14-16,0 13 0</inkml:trace>
  <inkml:trace contextRef="#ctx0" brushRef="#br0" timeOffset="-198034.8">8718 4921 0,'-26'0'0,"12"0"15,54 0-15,-53-13 0,39 13 16,1 0-16,26-13 0,0 13 16,13 0-16,172-27 15,-159 14-15,93 0 0,-92 0 16,-1 13-16,-13 0 0,13-14 16,14 14-16,-53 0 0,-14 0 15,-13 0-15,1 0 0,-1 0 16</inkml:trace>
  <inkml:trace contextRef="#ctx0" brushRef="#br0" timeOffset="-197845.61">8731 5027 0,'291'-13'15,"-198"13"-15,-14 0 0,14-13 0,-1 13 16,14-14-16,-13 14 0,13 0 16,79-13-16,-79 0 0,-14 13 15</inkml:trace>
  <inkml:trace contextRef="#ctx0" brushRef="#br0" timeOffset="-183917.08">11562 8506 0,'-13'-13'0,"0"13"16,0 13-16,-1-13 0,1 14 0,0-1 15,0-13-15,-1 13 16,-12 27-16,13-27 0,0 0 15,-1 0-15,1 1 0,0-1 0,13 0 16,0 0-16,-13 14 16,13-14-16,0 0 0,13 0 0,0 1 15,-13-1-15,13-13 16,1 0-16,-1 13 0,0-13 0,13 0 16,-12 0-16,-1 13 0,0-13 15,0 0-15</inkml:trace>
  <inkml:trace contextRef="#ctx0" brushRef="#br0" timeOffset="-182941.24">11748 8625 0,'-14'-13'0,"1"13"0,0 0 31,0 0-31,-1 0 0,1 0 15,0 13-15,0-13 0,-1 14 0,1-14 16,0 13-16,13 0 16,-13-13-16,0 13 0,-1 1 0,14-1 15,-13-13-15,13 13 16,13-13-16,1 0 16,-1 0-16,0 0 15,0 0-15,0-13 16,1 0-16,-1 13 0,0 0 15,0-14 1,1 28 0,-14-1 15,13-13-31,-13 13 0,13-13 16,-13 13-16,27-13 15,-14 0 1,0 0-16,0-13 0,0 13 15,14-13-15,-27 0 0,13 13 16,0-14-16,1 1 0,-1-13 16,0 12-16,0-12 0,0 13 15,-13-14-15,14 1 0,-1-1 16,0 14-16,-13 0 0,0 0 0,13-1 16,-13 1-16,0 0 0,0 39 46,0-12-46,0-1 0,0 13 16,0-12-16,0 25 16,0-26-1,0 1-15,14-14 0,-14 13 0,13 0 0,0-13 16,0 13-16,1-13 16,-1 0-16,0 0 15,0 0-15,0 0 0,1 0 16,-1 0-1,0 0-15,-13 14 16,13-14-16,1 13 0,-1-13 16,-13 13-16,13-13 15,0 13-15,1-13 16,-1 0-16</inkml:trace>
  <inkml:trace contextRef="#ctx0" brushRef="#br0" timeOffset="-182729.35">11893 8559 0,'93'-13'0,"-67"13"0,-13 0 15,14 0-15,-14 0 0,13 0 16,-12 13-16,-1-13 0,13 0 16,-12 0-16,12 13 0</inkml:trace>
  <inkml:trace contextRef="#ctx0" brushRef="#br0" timeOffset="-182309.64">12356 8559 0,'-66'0'0,"53"0"16,-1 13 15,41 14-16,13 13 17,-40-27-32,13 0 0,0 27 15,-13 13 1,-13-40-16,0 13 16,-1-12-16,-12-1 15,13 0-15,-1-13 0,1 13 16,0-13-1,13-26 1,13 26 0,-13-13-16,13 13 0,1-14 0,-1 1 15,0 13-15,0-13 16,1 0-16,-1 13 0,26-27 16,-25 27-16</inkml:trace>
  <inkml:trace contextRef="#ctx0" brushRef="#br0" timeOffset="-181748.9">12581 8599 0,'0'-13'16,"0"-1"-16,-13 14 15,-1 14 1,1-14-16,13 13 16,-13-13-16,-13 53 15,12-27 1,14-12-16,0-1 15,0 13-15,14-26 16,12 13 0,-13-13-16,14 0 15,-14 0-15,0-13 0,0 13 16,-13-13-16,14 0 16,-14 0-16,-14-1 15,14 1-15,-13 0 16,13 0-1,-13 13-15,13-14 16,13 1 15,14 26-15,-14-13-16,0 14 0,0-1 16,1-13-16,-14 13 15,13 0-15,0 14 16,-13-14-1,0 0-15,0 0 0,0 1 16,0-1 15,13-26-15,0-1-16,1 14 16,-14-13-16,13 13 0,0-13 15,0 0-15,1 13 0,-14-13 16,13 13-16,0-14 15,0 14-15,1 0 0,-14-13 16,13 13-16</inkml:trace>
  <inkml:trace contextRef="#ctx0" brushRef="#br0" timeOffset="-181603.08">12951 8625 0,'14'-13'0,"-1"26"31,-13 1-15,0-1-16,0 13 15,-27-79-15,41 120 16,-14-54-16,0 0 16,0 0-16</inkml:trace>
  <inkml:trace contextRef="#ctx0" brushRef="#br0" timeOffset="-181470.63">13018 8586 0,'-14'-14'0,"14"1"15</inkml:trace>
  <inkml:trace contextRef="#ctx0" brushRef="#br0" timeOffset="-180645.95">13189 8612 0,'14'0'0,"-1"0"15,0 27 17,-13-14-17,0 0 1,13-13 15,1 0-15,-1 0-16,0-13 15,0 13-15,1 0 0,25 0 16,-26 0-16,1 13 16,-1-13-16,0 13 15,0 1-15,1-1 0,-14 0 16,0 0-16,-14-13 0,14 13 16,-13 1-16,13-1 0,-13-13 15,0 13-15,-1 0 0,1-13 16,0 0-16,0 14 15,0-14-15,39-27 47,14 14-31,-27 13-16,0-13 0,0 13 16,14 0-16,-14-14 0,0 14 15,1-13-15,25 0 0,-26 0 16,14 0-16,-27-1 15,13 14-15,0-13 0,1 13 0,-14-13 16,13 13-16,-13-13 0,13 13 16,-26 13 15,13 27-15,13-40-1,-13 13-15,13-13 16,-13 13-16,13-13 0,1 0 0</inkml:trace>
  <inkml:trace contextRef="#ctx0" brushRef="#br0" timeOffset="-178980.99">14116 8572 0,'-14'-26'16,"1"26"-16,0 0 15,0 0 1,-1 13-16,1-13 0,0 13 0,0-13 16,13 14-16,-14-14 0,1 13 15,0-13-15,0 26 0,0-12 16,13-1-1,0 13 1,13-26-16,0 0 16,0 0-16,0 0 15,1 0-15,-1 0 0,0-13 16,0 13-16,-13-13 16,14 0-16,-1 13 0,-13-14 15,13 14-15,-13-13 0,13 13 16,-13-13-16,14 13 15,-14-13-15,13 13 47,-13 26-31,13-26 0,-13 13-1,0 1 1,13-14-1,0 0 1,1 0 0,-1-14-1,0 14 1,14 0 0,-14 0-1,0 14 1,-13-1 15,13 0 0,14-26 16,-14 13-31,0 0-1,0 0-15,1 0 16,-1 0-16,0 0 16,0 0-16</inkml:trace>
  <inkml:trace contextRef="#ctx0" brushRef="#br0" timeOffset="-178596.45">14711 8374 0,'0'-13'0,"0"53"31,-13-14-31,13-13 16,0 0-16,-14 14 0,14-14 16,0 0-16,0 1 0,-13-1 0,13 0 15,0 0-15,0 0 0,13 1 0,-13-1 16,0 0-16,0 0 15,14-13 1,-41 0 15,-13 0-15,27 0-16,0 0 16,0 14-16,-14-14 15,14 0-15,0 13 0,0-13 0,-1 13 16,28 0-1,-1-13-15,13 14 16,-12-14-16,12 0 0,-13 0 16,14 0-16,12 0 15</inkml:trace>
  <inkml:trace contextRef="#ctx0" brushRef="#br0" timeOffset="-177645.65">13798 9049 0,'0'-13'16,"-13"39"15,-14 0-31,27-12 16,-13 12-1,13-13-15,0 1 0,0-1 0,0 0 16,13 0 0,-13 1-16,14-1 0,-1-13 0,0 13 15,0-13-15,0 0 16,1 0-16,-1 0 0,0 0 15,0-13-15,1 13 0,-1-13 16,0-1-16,0-12 16,-13 13-16,0-1 0,0 1 15,-13 0-15,13 0 16,-13-1-16,13 1 0,-13 13 16,13-13-16,-14 13 15,41 0 16,-14 13-15,0-13-16,1 0 0,-1 13 16,13-13-16,-13 14 0,1-1 15,12 0-15,-26 0 0,13 14 16,1-27-16,-14 26 16,0-12-16,0-1 15,-14-13-15,14 13 0,0 0 0,-13-13 16,0 13-16,13-39 47,26 0-32,-12 26 1,-1-14-16,0 1 0,14 0 16,-14 13-16,0 0 15,0-13-15,0 13 0,1 0 16,-1-14-16,13 14 0</inkml:trace>
  <inkml:trace contextRef="#ctx0" brushRef="#br0" timeOffset="-177180.03">14499 8943 0,'0'13'0,"-13"0"0,13 1 16,-13-1-16,-1 27 16,1-14-16,0 0 15,0 1-15,13-1 16,-13 14 0,13-27-16,0 1 15,13-1 1,-13-40 31,-13 14-32,-14 13 1,14 0-16,0 0 16,-1 0-16,1 0 0,13 13 15,-13-13-15,13 14 0,-13-14 16,13 13-16,-13 0 15,26 0-15,0 0 16,0-13-16,0 0 16,1 14-16,-1-14 15,0 0-15,14 0 0,12 0 16,-26 0-16,1-14 0,-1 14 16,0 0-16,14 0 15</inkml:trace>
  <inkml:trace contextRef="#ctx0" brushRef="#br0" timeOffset="-176760.06">14698 9208 0,'-14'-14'0,"28"-12"16,-14 13-1,0-1 1,0 1-16,0 0 15,-14 13-15,1-13 16,0 26 0,0-13-1,13 13 1,0 0-16,0 1 16,13-1-16,0 0 15,0 0-15,1-13 16,-14 14-16,13-14 15,0 0-15,0 13 0</inkml:trace>
  <inkml:trace contextRef="#ctx0" brushRef="#br0" timeOffset="-176403.67">14870 9141 0,'0'-13'16,"0"26"-16,13-13 31,-13 14-15,0-1-16,-13-13 16,13 13-16,-27 14 15,27-14-15,-13 0 16,0 0-1,39-26 17,-13 0-32,14 0 15,-14-1-15,0 1 16,0 13-16,14-13 0,-14 0 0,0-1 16,1 1-16,-1 13 0,0-13 0,0 13 15,1 0-15,-14-13 0,13 13 16</inkml:trace>
  <inkml:trace contextRef="#ctx0" brushRef="#br0" timeOffset="-175333.27">11165 8334 0,'-39'0'16,"25"0"-16,14 14 0,-13-14 0,13 13 15,-13 0-15,0 14 0,0-14 16,13 0-16,-14 0 0,14 14 16,-13-14-16,13 13 0,-13 1 0,13-14 15,-13 13-15,13 1 0,-14 13 16,1-14-16,13 1 0,-13 12 15,0 14-15,0-13 0,-1 0 16,14-14-16,-26 40 0,26-39 16,-13-1-16,13 1 0,-14-14 15,1 40-15,13-40 0,-13 0 16,13 0-16,-13 14 16,13-1-16,0-12 0,0-1 15,0 0-15,0 0 16,13 0-16,0 1 15,0-14-15,1 0 16,-1 13-16,0-13 16,0 0-16,14 0 0,-1-13 0,1 13 15,-1 0-15,14 0 0,13-14 16</inkml:trace>
  <inkml:trace contextRef="#ctx0" brushRef="#br0" timeOffset="-174360.2">14975 8176 0,'80'0'16,"-27"0"-16,-27 13 15,27-13-15,-26 0 0,-1 0 16,-13 0-16,14 0 0,-1 0 0,-13 13 16,1-13-16,12 0 0,-13 0 15,14 13-15,-14-13 0,-13 14 16,13-14-16,0 26 16,1-26-16,-14 13 0,0 14 0,13-14 15,-13 27-15,0-14 0,0-13 16,0 14-16,-13-1 0,13 1 15,0 26-15,-14-14 0,14-12 16,0-1-16,0 1 0,0-1 16,0 27-16,0-40 0,0 14 15,0-1-15,0 1 0,0-1 0,0 1 16,14-1-16,-14 0 0,0 1 16,0-14-16,0 14 0,0-14 0,0 13 0,0-12 15,0 12-15,0-13 16,0 0-16,13 14 0,-13-14 0,0 14 15,0-14-15,0 0 0,0 0 16,0 14 0,13-14-16,-13 0 15,0 0-15,0 1 16,-13-14-16,13 13 16,-13-13-16,13 13 0,-14-13 15,1 13-15,0-13 0,0 14 0,-14-14 16,-12 13-16,12 0 15,-13-13-15,14 13 0,-40 0 16,0 1-16,39-14 16,1 13-16</inkml:trace>
  <inkml:trace contextRef="#ctx0" brushRef="#br0" timeOffset="-170253.94">12303 9155 0,'-13'13'16,"13"0"-16,-13 0 15,13 1-15,0-1 0,-14 13 32,14-13-32,-13-13 0,13 14 0,0-1 15,-13 0 1,39-26 15,-26 0-31,14 13 16,-1 0-16,13-27 15,-12 27-15,-1-13 16,13 13 0,-13 0-16,-13 13 0,14 0 15,-1-13-15,0 14 16,0-1-1,1-13-15,-1 13 0,0-13 16</inkml:trace>
  <inkml:trace contextRef="#ctx0" brushRef="#br0" timeOffset="-169944.19">12660 9247 0,'0'-13'16,"0"39"15,14 1-15,-1-14-16,0 0 15,0-13-15,0 14 0,14-14 16,-14 0-16,0 0 0,1 0 16,-1 0-16,0 0 15,0-14-15,-13 1 0,14 13 16,-14-13-16,0 0 0,-14-1 15,14 1-15,-13 0 16,0 13-16,13-13 16,-13 13-16,-14 0 15,14 0 1</inkml:trace>
  <inkml:trace contextRef="#ctx0" brushRef="#br0" timeOffset="-169680.95">13137 9088 0,'13'-13'0,"-26"26"32,13 1-32,-27 25 15,27-25 1,-13-1-16,13 0 0,-13 14 15,13-14-15,0 0 0,0 13 16,0 1 0,13-14-16,0 0 0,0 1 15,1-14-15,-1 13 0,0-13 16,0 0-16,14 0 16,-14 0-16</inkml:trace>
  <inkml:trace contextRef="#ctx0" brushRef="#br0" timeOffset="-169493.02">13018 9221 0,'26'-13'16,"-13"13"-1,0 0-15,1 0 0,25 0 16,1-14-16,-27 14 0,14 0 15,-1 0-15,-13 0 0,14 0 16,-14 14-16,0-28 0,14 14 0</inkml:trace>
  <inkml:trace contextRef="#ctx0" brushRef="#br0" timeOffset="-168589.83">16801 8334 0,'-53'14'16,"40"-1"-16,0 0 16,-1 0-16,-12 27 15,13-27-15,13 0 0,-13 1 0,13-1 16,0 0-16,0 0 0,0 1 15,0-1-15,0 0 0,13 0 16,0 0-16,13 1 16,-12-14-16,-1 13 15,0-13-15</inkml:trace>
  <inkml:trace contextRef="#ctx0" brushRef="#br0" timeOffset="-167915.97">16999 8533 0,'-13'-13'16,"0"-1"-1,0 14-15,0 0 16,-27 14 0,27-1-16,-1 0 15,1-13-15,13 13 0,-13 0 16,13 1-1,0-1-15,13-13 16,14 0 0,-14 0-1,0 0-15,0 0 16,1-13 0,-1 26-1,-13 0 1,26 0 15,-13-13-15,1-13-16,-1 13 0,0 0 15,0-13-15,1 13 0,-1-13 0,13-14 16,-12 14-16,-14 0 0,39-80 31,-39 80-31,13-13 0,-13 12 0,14-12 16,-14 13-16,13-1 15,-13 1-15,-27 40 32,1 12-17,26 1 1,-13-27-16,13 0 0,0 1 0,0-1 0,0 0 16,0 0-16,13 1 15,-13-1-15,13-13 0,0 13 16,1-13-16,12 0 0,-13 0 15,1 0-15,-1 0 16,0 0-16,0 0 0,14 0 16,-14 0-16,0 13 0,0-13 15,1 13-15,-1-13 16,0 0-16,-13 14 0,13-14 0,14 13 16,-14-13-16,0 0 15</inkml:trace>
  <inkml:trace contextRef="#ctx0" brushRef="#br0" timeOffset="-167749.27">17145 8453 0,'93'0'0,"-27"14"16,-53-14-1,13 13-15,-12-13 0,12 0 0,-13 13 16,14-13-16</inkml:trace>
  <inkml:trace contextRef="#ctx0" brushRef="#br0" timeOffset="-166572.23">17687 8506 0,'-26'-13'15,"52"26"-15,-79-39 16,40 26-16,0 0 15,0 0-15,0 0 16,-1 0-16,14 13 16,-13-13-16,13 13 15,0 1 1,13-1-16,-13 0 16,14 0-16,-14 0 0,0 1 15,13-1-15,-13 0 16,0 0-16,0 1 0,-13-1 15,-1 0-15,1 0 16,0 1-16,0-1 16,-1-13-16,1 0 0,0 13 0,0-13 15,-1 0-15,1 0 16,40-13 15,-14 0-15,13-1-1,14 14-15,-27-13 0,1 0 16,-1 13-16,0-13 0,0 13 16,0-14-16,1 1 0,-1 0 15,13-14-15,-12 14 0,-1 0 16,0 0-16,0 0 16,-13-1-16,-13 28 62,26 12-46,-13-13-1,0 0-15,14 14 16,-1-27 0,0 13 15,0-26-16,0 0 1,-13-1 0,0 1-16,14 0 15,-14 0-15,0 0 16,13 13-16,-13-14 0,13 14 16,0 0-1,1 14 1,-1-1-1,0 0-15,-13 0 16,0 0 0,0 1-16,13-1 31,14-26 0,-14-1-15,0 14-16,0-13 15,1 13 1,-1-13-16,0 13 16,14-13-1,12 0 1,-39-1-16,14 14 16,12-13-1,-13 0 1,0 26 15,-13 0-31,0 1 16,-13-1-1,13 0 1,-13 0-16</inkml:trace>
  <inkml:trace contextRef="#ctx0" brushRef="#br0" timeOffset="-166408.02">18190 8401 0</inkml:trace>
  <inkml:trace contextRef="#ctx0" brushRef="#br0" timeOffset="-165549.97">18203 8520 0,'14'-14'16,"12"14"-1,-26-13-15,13 13 16,0 0-16,1 0 15,-1 0-15,0 0 16,0 13-16,1-13 16,-14 14-16,0-1 0,0 0 15,-14-13-15,14 13 16,-13 0-16,0-13 31,39 0 0,-12 0-15,-1 0-16,0 14 16,0-14-1,-13 13-15,0 0 0,0 0 16,-13 1 0,0-1-16,0 0 0,-1 0 15,-12 1-15,13-14 16,13 13-16,-14-13 15,1 13-15,53-26 32,-27 0-32,0 13 15,1-14-15,12 14 0,14-26 16,-1 13-16,-12-14 16,-14 14-16,14 0 0,-1-1 15,-13 1-15,1 13 0,-1-13 16,-40 26 15,14 14-15,13-14-1,13 0 1,1 0 15,-1-13-31</inkml:trace>
  <inkml:trace contextRef="#ctx0" brushRef="#br0" timeOffset="-164550.23">19182 8387 0,'-39'0'16,"-1"27"0,27-27-1,-1 13-15,1-13 0,0 13 0,0 14 16,0-27-16,13 13 16,-14 0-16,14 0 15,0 1-15,0-1 0,14-13 16,-14 13-16,13-13 15,0 13-15,0-13 16,14-13 0,-14 0-16,0 0 15,0-1-15,-13 1 0,14 13 16,-14-13-16,0 0 0,13 13 16,-13-14-16,0 1 15,13 13-15,-13-13 0,13 39 47,-13-12-31,0-1-16,14 0 15,-14 0 1,13-13 0,0 0-1,0 0 1,0 0-16,1 0 15,-1 0-15,0 0 16,0 0 0,-13 14-16,14-14 15,-14 13 1,13 0 15,0-13 16,0 0-31,14 0-1,-14 0-15,0 0 16,0 0 0,1 0-16,-1 0 0</inkml:trace>
  <inkml:trace contextRef="#ctx0" brushRef="#br0" timeOffset="-164182.89">19725 8348 0,'0'39'16,"-14"-12"-1,1-14-15,13 27 16,0-14-16,0-13 16,0 14-16,13-199 0,-26 357 15,40-383 1,-41 409 0,-25-224 15,26 13-31,-1 0 0,-25 0 15,25 13 1,1-13-16,0 13 16,0-13-16,26 14 15,0-14-15,0 13 16,27-13-16,-13 0 16</inkml:trace>
  <inkml:trace contextRef="#ctx0" brushRef="#br0" timeOffset="-163212.27">18084 8983 0,'-13'-14'16,"-27"41"15,27-14-31,13 0 0,-13 1 15,13-1-15,-13 0 0,13 0 16,0 0-16,0 1 0,0-1 16,0 13-16,13-12 15,0-14-15,0 13 0,1-13 16,12 13-16,-13-13 16,14-13-16,-14 13 15,-13-13-15,0-1 16,0 1-16,0 0 15,0 0-15,-13-14 0,0 14 16,13 0-16,-14 13 16,14-13-16,-13-1 15,40 14 17,-14 0-32,0 0 0,0 14 15,0-14-15,27 13 16,-27 0-16,14 13 15,-1 1-15,-13-14 16,-13 0-16,0 1 16,-13-1-1,0-13-15,0 0 47,13-13-47,13-1 16,-13 1-16,13 13 0,-13-13 15,27 0-15,-14-1 16,13 14-16,-12-13 16,-1 13-16,0 0 0,0 0 15,1 0-15</inkml:trace>
  <inkml:trace contextRef="#ctx0" brushRef="#br0" timeOffset="-162304.48">18719 8890 0,'13'0'0,"-26"40"16,0-27-1,13 0-15,-13 0 0,0 27 16,-1-13-16,14-14 0,-13 0 15,13 0-15,0 14 0,-13-14 16,13 0-16,79-251 0,-158 489 16,79-237-16,0-1 15,-13-26 17,-1-1-32,1 14 15,0-13-15,0 13 16,0 0-16,-1 0 0,1 0 15,0 0-15,0 0 16,-1 13-16,1-13 16,13 14-1,0-1-15,0 0 16,13-13-16,1 13 0,-1-13 16,27 14-1,-27-14-15,0 0 0,0 13 0,14-13 16,-14 0-16,0 0 0,0 0 0,1 0 15,-1 0-15,0 0 0,0-13 16,0 13-16,14 0 0,-1-14 16,-12 14-1,-1-26-15,0 26 0,0-27 16,1 14-16,-14 0 16,0 0-16,0-1 31,-14 28 0,14-1-31,0 0 16,0 0-16,14 1 15,-1-1 1,0-13 0,0 0-1,0 0 1,14 0-16,-1-13 15,-12 13 1,-1 0-16,0 0 16,0 0-1,1 0-15,-14 13 16,0 0-16,0 0 16,0 1 15,0-1-31,13-13 31,13-13-15,-13-1-1,14 1-15,-1 0 16,-12 13-16,-1-13 0,0 13 0,0-14 16,27 1-16</inkml:trace>
  <inkml:trace contextRef="#ctx0" brushRef="#br0" timeOffset="-160880.45">21934 8453 0,'26'0'0,"-12"0"16,-1 0-16,13 0 0,-12 0 0,12 0 15,-13 0-15,14 0 0,26 0 16,-27 0-16,1 0 16,-14 0-16,13-13 0,-13 13 0,14 0 15,-14 0-15,0 0 0,1 0 0,-1 0 16,0 0-1,-13-13-15</inkml:trace>
  <inkml:trace contextRef="#ctx0" brushRef="#br0" timeOffset="-160604.89">22238 8387 0,'-13'14'0,"0"-14"0,0 26 32,-1-13-32,14 0 0,-13 1 15,13-1-15,-13 0 0,13 0 16,-13-13-16,13 14 0,0-1 0,-14 13 16,1-13-1,13 1-15,-13-1 0,13 0 16,-13 0-16,13 1 15,0-1 1,13-13-16</inkml:trace>
  <inkml:trace contextRef="#ctx0" brushRef="#br0" timeOffset="-159646.6">22371 8520 0,'13'0'16,"0"0"-16,-13 13 16,0 0-1,0 13 1,-13-12-16,13-1 15,-13-13 17,39-13-1,-13-1-15,0 14-16,-13-13 0,14 13 0,-1 0 15,-13-13-15,26 13 16,-12 0-16,-14-13 0,13 13 0,0 0 15</inkml:trace>
  <inkml:trace contextRef="#ctx0" brushRef="#br0" timeOffset="-159112.31">22675 8467 0,'-27'26'16,"14"-13"-1,13 1 1,-13 12 0,13-13-16,0 0 15,13 1 1,0-14 0,1 0-16,-1 0 0,13 0 15,-13-14 16,1 1-31,-1 13 16,-13 13 15,13 1-15,0-1 0,1-13-16,-14 13 0,26-13 15,-13 0-15,1 0 16,-1 0-16,0 0 0,0 0 15,0 0-15,-13-13 0,14 13 0,-1-13 16,0-1 0,-26 28 46,13-1-46,0 0-16,13 0 15,0 1-15,1-14 0,-1 13 16,13-13 0</inkml:trace>
  <inkml:trace contextRef="#ctx0" brushRef="#br0" timeOffset="-158520.73">23376 8453 0,'-13'0'0,"-1"0"0,1 14 16,0-14-16,13 13 15,-13 0-15,13 14 16,13-14-16,0 0 16,0-13-1,14 13 1,13-13 0,-40-13-16,13 13 0,-13-13 15,0-14 1,0 14 15,13 0-15,0 39 15,1-26-31,-14 14 16,13-14-16,-13 13 0,13-13 0,-13 13 15,13 0-15,-13 0 16,13 1 15,1-28 0,12 1-15,-13 0 0,1 0-16,-1 13 0,0-13 15,0-1-15,1 14 16,-14-13-16,13 13 0,0-13 0</inkml:trace>
  <inkml:trace contextRef="#ctx0" brushRef="#br0" timeOffset="-157949.53">24170 8361 0,'0'0'0,"0"53"31,0-40-31,-14 13 0,14-12 16,0 12-16,0-13 0,0 14 16,0-14-16,0 13 0,0-12 0,0 25 15,14-12-15,-14-14 0,0 0 16,0 1-16,0-1 0,0 0 15,0 0-15,0 0 16,-14-13 0,-12-13-1,13 13 1,13-13-16,-13 0 16,13 0-16,13-1 15,-13 1 1,26 0-16,14 0 15,26-1 1,-53 14 0,14 0-16,12-13 0,-12 13 15,-1 0-15,-12 0 0,12 0 0,-13 0 16,1 0-16</inkml:trace>
  <inkml:trace contextRef="#ctx0" brushRef="#br0" timeOffset="-157089.68">24567 8586 0,'26'-27'31,"-26"14"1,-13 13-32,0 0 0,-1 0 15,1 0-15,0 0 16,0 0-16,66 40 0,-106-67 0,39 27 16,1 0-16,0 13 0,13 1 15,0-1 16,13 0-15,0-13-16,1 0 0,-1 0 16,0 0-1,-13 13 17,0 1-32,13-1 15,1-13 1,-1 0-1,13 0 1,-26-13-16,13 13 16,1-14-16,-1 14 0,0-13 0,0 0 0,-13 0 15,14-1-15,12-12 0,-13 13 16,1 0-16,-1-1 0,0-12 16,0 13-16,0-1 0,-13 1 0,14 0 15,-14 39 16,-14 1-15,1-14 0,13 0-16,0 1 0,-13-1 15,13 0-15,0 0 16,0 0-16,0 1 16,13-14-16,-13 13 15,13-13-15,1 0 31,-1 0-15,0 0-16,0-13 16,1 13-1,-1 0 1,0-14-16,0 28 16,1-14-1,-14 13-15,0 0 16,0 0-1,-14 1-15,14-1 16,0 0 31,14-13-31,-1 0-1,0 0 1,-13-13-16,13 13 15,0 0 1</inkml:trace>
  <inkml:trace contextRef="#ctx0" brushRef="#br0" timeOffset="-156509.21">21497 8453 0,'0'106'16,"0"-79"-16,27-1 0,65 54 15,-39-54-15,66 14 16,-52-27-16,-1 0 0,13 0 15,0 1-15,14-14 0</inkml:trace>
  <inkml:trace contextRef="#ctx0" brushRef="#br0" timeOffset="-155937.64">25056 8321 0,'40'40'0,"-14"66"0,-171-93 0,158-26 0,-40-14 0,186 80 16,-172-26-16,-14-1 0,14 0 16,-13 1-16,-1-1 0,41-26 0,-67 14 15,79-213-15,-79 424 0,66-238 0,-105 66 0,184-331 0,-211 569 0,252-595 0,-160 291 0,-118 343 16,303-674-16,-356 701 0,145-343 0,13-1 16,1 0-16</inkml:trace>
  <inkml:trace contextRef="#ctx0" brushRef="#br0" timeOffset="-146338.14">10689 9948 0,'27'14'31,"-14"-14"-15,0 0-16,0 0 0,1 0 15,-1 0-15,13 0 0,-13 13 0,1-13 0,12 0 16,1 0-16,-14-13 16,0 13-16,0 0 0,1 0 15,-1 0-15</inkml:trace>
  <inkml:trace contextRef="#ctx0" brushRef="#br0" timeOffset="-146057.35">10941 9816 0,'52'26'31,"-38"-12"-31,-1-1 0,0 0 0,0 0 15,1 1-15,-1-1 16,-13 0-16,13 0 0,-13 1 0,0-1 16,0 0-16,-13-13 0,13 13 0,-13 14 15,-1-14-15,14 0 0,-13 0 16,0 1-16,0-1 0,-1-13 16,1 13-16,13 0 0,-13 1 0</inkml:trace>
  <inkml:trace contextRef="#ctx0" brushRef="#br0" timeOffset="-144707.71">11284 9856 0,'-13'53'16,"0"-40"-16,13 0 15,-13 0-15,13 1 0,-13-1 0,13 0 16,0 0-16,-14 0 0,14 1 0,-13-1 16,13 0-16,0 0 15,-13 1 1,26-1 0,0-13-1,1 0 1,12 0-1,0 0 1,-12 0-16,12 0 16,1 0-1,-14 0-15,-13-13 16</inkml:trace>
  <inkml:trace contextRef="#ctx0" brushRef="#br0" timeOffset="-144514.02">11284 9988 0,'0'0'0,"14"0"0,-1-13 15,13 13-15,-12 0 16,12 0-16,-13 0 0,1 0 15,-1 0-15</inkml:trace>
  <inkml:trace contextRef="#ctx0" brushRef="#br0" timeOffset="-144309.24">11324 9856 0,'13'0'0,"1"0"15,-41 0-15,67 0 0,-27 0 0,0 0 16,1 0-16,12 0 16,-13 0-16</inkml:trace>
  <inkml:trace contextRef="#ctx0" brushRef="#br0" timeOffset="-144025.09">11576 9829 0,'13'27'0,"-13"-14"0,0 0 16,0 0-16,0 1 0,0-1 15,0 0-15,0 0 0,13 1 16</inkml:trace>
  <inkml:trace contextRef="#ctx0" brushRef="#br0" timeOffset="-143779.14">11827 9869 0,'0'0'0,"-27"13"15,1 27 1,13-27-16,-14 0 16,14 1-16,0-1 0,0 13 15,-1-13-15,1 1 0,0-1 0,-14 0 16,14 14-16,0-14 0,0 0 16,0 0-16,13 1 0,-14-14 15,14 13-15,0 0 16</inkml:trace>
  <inkml:trace contextRef="#ctx0" brushRef="#br0" timeOffset="-143360.64">11893 10014 0,'13'-13'0,"-26"26"0,26-39 16,0 13-16,-13 0 15,0-1-15,-13 14 16,0-13 0,0 26-1,0-13-15,-1 0 0,1 14 0,0-1 16,0 0-16,13 0 0,-14-13 0,1 13 16,13 1-16,-13-1 0,13 0 15,0 0-15,0 1 0,0-1 16,13 0-16,0 0 15,1 1-15,-1-14 16,0 0-16,0 0 0,1 13 0,-1-13 16</inkml:trace>
  <inkml:trace contextRef="#ctx0" brushRef="#br0" timeOffset="-142380.25">12356 9882 0,'-40'40'0,"27"-27"16,0 0-16,13 1 0,-13-1 0,-1 0 15,14 0-15,-13 0 0,13 1 0,0-1 0,-13-13 16,13 13-16,0 0 16,0 1-16,13-14 0,-13 13 0,13-13 15,-13 13-15,14-13 0,-1 0 16,0 0-16,0 0 15,1-13-15,-1 13 0,0 0 0,0-13 16,0 13-16,1-14 0,-1 14 16,0-13-1,0 26 17,-13 1-17,14-14-15,-14 13 0,13 0 16,0-13-16,0 13 0,1-13 15,-1 0-15,0 0 16,0 0-16,0-13 0,1 13 16,-14-13-16,13 13 0,-13-27 31,0 14-31,-13-13 16,13 12-16,-14 1 15,1 13-15,0 0 0,0-13 16,0 26-16,-1-13 15,1 0-15</inkml:trace>
  <inkml:trace contextRef="#ctx0" brushRef="#br0" timeOffset="-142129.21">12753 9816 0,'13'13'31,"-13"0"-31,0 14 0,-13-14 16,13 0-16,-27 40 16,27-39-16,0-1 15,-13 0-15,13 0 0,0 0 0,0 1 16,0-1-16,0 0 0,0 0 15,13 1-15</inkml:trace>
  <inkml:trace contextRef="#ctx0" brushRef="#br0" timeOffset="-141815.85">12898 10001 0,'0'-13'0,"0"26"0,-13 0 31,0 14 1,26-1-17,-13-12-15,13-14 0,1 13 16,-1-13-16,0 0 0,0 0 16,14 0-1,-14-13-15,0-1 16,-13 1-1,0 0-15,0 0 0,-13 13 16,13-14-16,-26 1 16,12 0-1</inkml:trace>
  <inkml:trace contextRef="#ctx0" brushRef="#br0" timeOffset="-141576.59">13084 9988 0,'13'13'16,"-13"0"-16,-13-39 0,26 66 15,-13-27-15,0 13 16,0-12 0,13-28 30,0-12-30,1 26-16,-14-13 0,13 13 16,-13-14-16,13 14 0,0 0 15,0-13-15,1 13 0,-1 0 16</inkml:trace>
  <inkml:trace contextRef="#ctx0" brushRef="#br0" timeOffset="-140441.5">13361 9948 0,'-13'0'0,"53"0"16,-27 0 0,0 0-16,27 0 15,-27 0 1,14 0-16,-14 0 16</inkml:trace>
  <inkml:trace contextRef="#ctx0" brushRef="#br0" timeOffset="-140130.17">13533 9763 0,'27'27'31,"-27"-14"-15,13 0-16,0 0 0,1 0 15,-1 27 1,-13-27-16,13 1 0,-13-1 0,0 0 16,0 0-16,0 1 15,0-1-15,-13-13 0,13 13 0,0 0 16,-13 0-16,-1 1 0,1-1 15,13 0-15</inkml:trace>
  <inkml:trace contextRef="#ctx0" brushRef="#br0" timeOffset="-139699.95">14089 9816 0,'-13'-13'0,"13"52"16,0-12-16,-13-14 15,13 0-15,0 14 0,-14-14 16,14 0-16,0 1 0,0-1 0,-13 0 16,13 0-16,0 0 0,0 1 15,-13-14-15,13 13 16,0 0-16</inkml:trace>
  <inkml:trace contextRef="#ctx0" brushRef="#br0" timeOffset="-138957.04">14049 9829 0,'14'-13'15,"-1"13"-15,0-13 0,27 26 32,-27-13-32,0 13 15,0-13-15,-13 13 0,0 1 0,0 12 16,-13-26 0,13 13-16,-13 1 0,0-14 15,13 13-15,-13 0 0,-1 0 16,1-13-16,13 14 15,13-14 1,1 13 0,-1-13-16,0 13 0,0-13 15,0 13-15,1 0 16,-1 1-16,-13-1 16,0 0-1,0 0-15,-13-13 0,13 14 0,-14-14 16,1 13-16,0-13 0,0 13 15,0-13-15,-1 0 0,1 13 0,0-13 16,0 0-16,-1 0 0,1 0 16,0 0-16,0 0 0,-1 0 15</inkml:trace>
  <inkml:trace contextRef="#ctx0" brushRef="#br0" timeOffset="-138685.96">14327 9750 0,'13'0'0,"1"66"31,-28-53-31,14 0 0,-13 27 15,13-27 1,-13 27-16,13-27 0,-13 14 0,13-14 16,-13 0-16,13 0 0,0 1 15,-14-1-15,14 13 16,0-12-16,0-1 16</inkml:trace>
  <inkml:trace contextRef="#ctx0" brushRef="#br0" timeOffset="-138241">14512 9962 0,'14'-14'15,"-28"14"1,-12 14 0,13-1-1,-1-13 1,14 13-16,0 0 16,0 0-16,14 1 31,-1-28-31,0 14 15,0-13 1,1 13 0,-14-13-1,13 13-15,-13 13 32,0 0-17,0 1 1,0-1-16,13-13 15,-13 13-15,27-13 16</inkml:trace>
  <inkml:trace contextRef="#ctx0" brushRef="#br0" timeOffset="-137601.03">14777 9948 0,'-13'0'0,"0"0"15,-1 14 1,1-14-16,13 13 0,-13 0 16,13 0-16,-13 0 15,13 1-15,0-1 16,0 0-1,13-13-15,-13 13 0,13-13 16,14 0 0,-14 0-16,0 0 15,27-26 1,-27 26-16,0-27 16,0 14-1,-13 0-15,14 0 0,-14-14 0,0 14 0,13-13 16,-13 12-16,13 1 0,-13-13 15,0-14-15,13 27 0,-13 0 16,0-1-16,0 1 0,0 0 16,0 0-16,0-1 15,0 1 1,13 40 15,1-1-15,-14-13-16,0 1 0,0-1 15,0 0-15,0 0 16,-14 0-16,14 1 16,-13-1-16,0-13 0,0 13 15,13 0-15,-13-13 0,13 14 16,-14-1-16,14 0 16,0 0-1,14 1 1,-1-1-1,0-13-15,0 13 16,0-13 0,1 0-16</inkml:trace>
  <inkml:trace contextRef="#ctx0" brushRef="#br0" timeOffset="-137372.25">15121 9948 0,'13'14'15,"0"-1"1,-13 0-16,0 0 16,0 0-16,0 1 15,-13-1-15,13 0 0,-13 0 16,0 1-16,13-1 0,-14-13 0,1 13 0,0 0 15,-13 1-15,12-14 16,-25 26-16</inkml:trace>
  <inkml:trace contextRef="#ctx0" brushRef="#br0" timeOffset="-136489.15">12488 10398 0,'-13'27'32,"13"-14"-32,-13 0 15,13 0-15,0 1 0,0-1 16,-13 13-16,13-13 0,-14 14 15,14-14-15,0 14 16,-13-14-16</inkml:trace>
  <inkml:trace contextRef="#ctx0" brushRef="#br0" timeOffset="-135617.33">12435 10411 0,'27'-13'0,"-14"13"16,0 13 0,1-13-16,-14 14 0,0 12 15,-14-26 1,14 13-16,-13 1 16,0-14-16,13 13 15,0 0 16,26 0-15,-12-13-16,-1 13 0,13 1 16,-13-14-1,-13 13-15,14-13 0,-14 13 16,0 0-16,-14 1 16,14-1-16,-13-13 15,13 13-15,-13-13 0,-13 13 16,12-13-16,1 0 15,0 0-15</inkml:trace>
  <inkml:trace contextRef="#ctx0" brushRef="#br0" timeOffset="-135314.89">12687 10464 0,'13'0'0,"0"14"32,0-1-32,-13 0 15,-13 0-15,13 0 16,0 1-16,-13-14 0,13 13 0,0 0 16,0 0-1,13-39 16,0 13-15,1 13-16,-1-14 16,0 1-16,0 13 0,1 0 15,-14-13-15,13 13 0,0 0 0,0 0 16,1-13-16,-1 13 16</inkml:trace>
  <inkml:trace contextRef="#ctx0" brushRef="#br0" timeOffset="-135066.27">12938 10504 0,'-13'13'0,"26"-26"0,-26 39 16,13-12-1,13-1-15,-13 0 0,13-13 16,1 0-16,-1 13 16,0-13-16,0 0 15,27-13 1,-40 0-16,13 0 15,-26-1 1,13 1-16,-13 0 0,0 0 16,-1 13-1,1-13-15,0 13 16,13 13-16,-13-13 16</inkml:trace>
  <inkml:trace contextRef="#ctx0" brushRef="#br0" timeOffset="-134337.02">13110 10504 0,'0'13'62,"-13"0"-46,26-13-1,-13 14 1,13-28 0,1 14 15,-1 0-16,-13 14 1,13-14-16,0 13 31,0-13-15,1 0-16,-14-13 16,13 13-1,0 0 1,0 0 15,1 0-15,-1-14-1,0 14 1,0-13 0,1 13-1,-1-13 1,0 26-1,-13 0 17,13-13-32,-13 14 31,13-14 0,1 0-15,-1 0-16,-13-14 15,13 14-15,0 0 16,-13-13-16,14 26 16,12-13-1,-13 0-15</inkml:trace>
  <inkml:trace contextRef="#ctx0" brushRef="#br0" timeOffset="-134051.97">13652 10544 0,'-13'26'32,"13"-13"-32,-26 14 15,-1 12 1,14-25 0,13-1-16,-13 0 0,0-13 0,13 13 0</inkml:trace>
  <inkml:trace contextRef="#ctx0" brushRef="#br0" timeOffset="-133313.99">13930 10372 0,'-13'26'16,"13"-13"-1,-13 14-15,13-14 0,0 0 0,0 1 16,-13-1-16,13 0 0,0 0 16,0 0-16,-14 1 15,14-1-15,0 13 16</inkml:trace>
  <inkml:trace contextRef="#ctx0" brushRef="#br0" timeOffset="-133054.05">13957 10464 0,'26'-13'16,"1"0"0,-1 26-1,-13 0 1,1-13-16,-14 14 0,0-1 0,0 0 15,0 0-15,-14 0 16,1 14-16,0-27 16,0 13-16,-1-13 0,1 13 15,0-13-15,0 14 0,-27-14 32,40 13-32</inkml:trace>
  <inkml:trace contextRef="#ctx0" brushRef="#br0" timeOffset="-132824.22">14182 10372 0,'13'13'0,"-13"13"16,0-12-16,0-1 15,0 0-15,-13 0 0,13 1 0,0-1 0,-14 0 16,1 27 0,0-14-1,13-13-15,0 1 16</inkml:trace>
  <inkml:trace contextRef="#ctx0" brushRef="#br0" timeOffset="-132225.14">14314 10504 0,'13'-13'16,"-26"39"15,0 1-15,13-14-1,0 13 1,0-12-16,13-14 16,0 13-16,0-26 15,14 13 1,-14-14-16,0 14 16,-13-13-16,14 13 0,-14-13 15,13 13-15,0-13 16,-13 26 15,0 0-15,13 0-1,0 1 1,14-14 0,-14 0-16,14-14 15,-14 14 1,13-13-1,-12 0-15,-1 0 16,-26 26 31,-1 0-31,14 0-1,0 1-15,14-1 16,-1 0-1,13-13 1,1 0 0</inkml:trace>
  <inkml:trace contextRef="#ctx0" brushRef="#br0" timeOffset="-125554.3">11602 9935 0,'0'13'156,"0"1"-140,0-1 0,13 0-16,-13 0 15,13 14 1,-13-14-16,14 0 16,-1-13-16</inkml:trace>
  <inkml:trace contextRef="#ctx0" brushRef="#br0" timeOffset="-119234.17">10755 11258 0,'-39'0'15,"65"13"1,14-13 0,-14 0-16,-13 0 0,14 0 15,-14 13-15,14-13 16,-1 0-16,-13 0 0,14 0 0,-14 0 0,40 0 15,-40 0-15,0 0 16,14 0 0,-14 0-16</inkml:trace>
  <inkml:trace contextRef="#ctx0" brushRef="#br0" timeOffset="-118974.61">11033 11179 0,'27'13'16,"-1"13"-1,-13-12-15,0 12 0,-13-13 0,0 0 16,0 27-1,0-27-15,-13 1 0,13-1 0,-26 27 16,13-27 0,13 0-16,-14 0 15</inkml:trace>
  <inkml:trace contextRef="#ctx0" brushRef="#br0" timeOffset="-118561.95">11721 11112 0,'-13'27'31,"0"-14"-31,-1 40 16,14-40 0,-13 14-16,13-14 0,-13 0 0,0 14 15,13-14-15,0 0 0,-14 0 16,14 1-16,0-1 0,0 0 16</inkml:trace>
  <inkml:trace contextRef="#ctx0" brushRef="#br0" timeOffset="-118016.15">11668 11099 0,'0'0'0,"27"-13"0,-14 13 16,0 0-16,0 0 15,14 13 1,-14 0-16,-13 14 16,0-14-16,-13 0 0,0 1 15,-1-1-15,1 0 0,0 0 0,-14 14 16,14-14-16,0 0 16,13 0-1,13 1 1,0-14-1,14 13-15,-14 0 16,0 0-16,-13 1 0,14-14 16,-14 13-16,0 0 0,-14 0 15,14 1 1,-13-14-16,0 13 0,0-13 0,-27 26 16,13-26-1,14 0-15,0 0 0,0 0 16,13 13-16,-13-26 0</inkml:trace>
  <inkml:trace contextRef="#ctx0" brushRef="#br0" timeOffset="-117802.04">11959 11086 0,'0'26'16,"0"-12"-16,-13 12 16,13-13-16,-13 14 0,13-1 15,-27 27-15,14-40 16,13 14-16,-13 13 16,13-27-16,0 0 15</inkml:trace>
  <inkml:trace contextRef="#ctx0" brushRef="#br0" timeOffset="-117501.22">12065 11284 0,'0'-13'0,"-13"26"47,13 14-32,-13-14-15,13 0 0,0 1 16,13-1-16,-13 0 15,26 0 1,-13-13-16,1 0 0,-1 0 16,0-13-16,0 13 15,-13-26-15,0 12 32,0 1-32,-13 13 0,13-13 0,-13 13 15</inkml:trace>
  <inkml:trace contextRef="#ctx0" brushRef="#br0" timeOffset="-117249.27">12211 11271 0,'13'13'15,"-13"1"-15,0-1 16,0 0-16,0 14 15,13-27 1,-13 13-16,13-13 0,0 13 0,1-13 16,-1 0-16,0 0 0,14 0 15,-14-13 1,-13 0 0,-13-1-1,13 1-15,-14 13 0,-12-13 16,13 13-1,-14 0 1</inkml:trace>
  <inkml:trace contextRef="#ctx0" brushRef="#br0" timeOffset="-116844.58">12621 11086 0,'-14'26'16,"1"1"-16,13-14 0,-13 0 0,0 27 16,13-27-16,-14 14 15,14-14-15,0 0 0,0 0 0,0 1 16,0 12-1,0-13-15,-13-13 32,0 0-17,0 0-15,0 0 16,-1 0-16,1 14 0,0-14 16,-14 26-16,14-26 15,0 13-15,0 1 16,13-1-1,26 0 1,-13-13-16,27 13 16,-13-13-16,-14 0 0,13 0 15,-13 0-15</inkml:trace>
  <inkml:trace contextRef="#ctx0" brushRef="#br0" timeOffset="-116186.12">13044 11112 0,'0'-13'0,"-26"26"16,12 1-16,1-14 15,13 13-15,-26 13 16,12-12-16,1-1 0,13 0 16,0 0-16,-13 1 0,13-1 15,0 0-15,26 0 16,-12-13 0,-1 0-16,13 0 15,-12 0-15,-1 0 0,0 0 16,0 13-16,0 1 15,1-14 1,-14 26-16,13-13 16,-13 1-1,0-1-15,13 0 16</inkml:trace>
  <inkml:trace contextRef="#ctx0" brushRef="#br0" timeOffset="-115811.81">13203 11232 0,'13'13'0,"-13"0"15,0 0-15,0 0 16,-13 14 0,13-14-16,0 0 15,0 1 1,26-28 15,-13 1-15,-13 0-16,14 13 0,-1-13 0,0-1 15,0 1-15,27 0 16,-27 0 0,0 13-16</inkml:trace>
  <inkml:trace contextRef="#ctx0" brushRef="#br0" timeOffset="-115562.15">13428 11205 0,'0'0'0,"-14"13"0,14 1 0,-13-1 16,26 13-1,-13-13 1,14 1 0,-1-14-16,0 0 15,14 0-15,-27-14 16,13 14-16,-13-26 15,0 13 1,0 0-16,-13-1 16,-1 1-1,1 13 1,0 0-16,0 13 16</inkml:trace>
  <inkml:trace contextRef="#ctx0" brushRef="#br0" timeOffset="-114605.05">13560 11205 0,'-13'13'63,"13"1"-63,-14-1 31,28-13-15,-14 13-16,13-13 15,0 0 1,0 0 0,1 0 15,-1 0-31,0 0 15,-13-13 1,13 0-16,0 13 0,1-14 16,-1 1-16,0 0 15,0 13 1,1 0 15,-14 13-15,0 0-16,0 1 15,-14-1 1,14 0-16,0 0 16,0 0 15,0 1-31,0-1 16,-13 0-1,40-26 79,-14 0-78,13-14-1,-12 27 1,-14-13-16,13 13 15,-13 13 1,0 14 0,-13-14-16,13 0 0,0 0 0,-14 14 15,14-14-15,0 14 16,-13-14-16,13 0 0,0 0 16,-13 0-16,13 1 0,0-1 0,0 0 15,-13-13-15,13 13 0,0 1 16,13-28 15,13-12-15,-12 13-16,-1-14 0,0 14 15,0 0-15,0 0 0,27-14 16,-27 14-16,1 0 16,12-1-1,-26 28 1,-13 12-1,-14-26 1,14 13-16,0-13 0,0 14 16</inkml:trace>
  <inkml:trace contextRef="#ctx0" brushRef="#br0" timeOffset="-114001.9">14327 11073 0,'-13'26'0,"0"1"15,13-14-15,0 0 16,0 27-1,13-40-15,-13 13 0,13-13 0,0 13 16,1-13-16,-1 14 16,0-14-16,14-14 15,-14 14-15,0-13 16,-13 0-16,0 0 16,0-14-16,0 14 15,-13 0 1,13-1-1,-13 14-15</inkml:trace>
  <inkml:trace contextRef="#ctx0" brushRef="#br0" timeOffset="-113798.04">14605 10967 0,'13'13'16,"-13"0"0,0 1-16,0 12 15,0-13-15,0 1 0,0-1 0,0 0 16,-13 27 0,13-27-16,0 0 0,13 0 15</inkml:trace>
  <inkml:trace contextRef="#ctx0" brushRef="#br0" timeOffset="-113610.1">14539 11086 0,'26'0'16,"-12"0"-16,-1 0 0,0 0 15,13 0 1,-12 0-16,-1 0 0,0 0 16,0 0-16</inkml:trace>
  <inkml:trace contextRef="#ctx0" brushRef="#br0" timeOffset="-113170.99">14856 11046 0,'14'-13'0,"-14"0"16,0 39 15,0-12-15,0-1-16,-14 0 15,28 0 1,-14 0-1,13-13 1,0-13-16,0 13 16,0 0-16,1 0 15,-1-13 1,0 13-16,14-13 16,-14 13-1,-13-13-15,13 13 0,0-14 16,1 14-1,-14-13-15,-14 26 47,14 1-31,0-1-16,14-13 16,12 13-1,-13-13-15</inkml:trace>
  <inkml:trace contextRef="#ctx0" brushRef="#br0" timeOffset="-112444.64">14221 11404 0,'0'-14'16,"0"54"0,-13-14-1,0 1-15,0 13 16,13-27-16,0 0 16,-14 0-16,14 1 0,0-1 0,0 0 15,-13 0 1,26-26 15,1-27-15,-1 14-16,0 13 0,0-14 15,1 14-15,-14-14 0,13 14 16,0 0-16,0 0 0,1 0 0,-1-1 16,0 1-16,0 13 0,0 0 15,14 0 1,-14 13-16,-13 1 0,13-14 15,-13 13-15,14 26 16,-14-25-16,13-14 0,-13 13 16,0 0-16,0 0 0,0 14 15,0-14 1,0 0-16</inkml:trace>
  <inkml:trace contextRef="#ctx0" brushRef="#br0" timeOffset="-112225.58">14248 11549 0,'53'-13'0,"-27"13"15,-13-13 1,1 13-16,-1 0 0,13 0 16,-12 0-16,-1 0 0,0 0 0</inkml:trace>
  <inkml:trace contextRef="#ctx0" brushRef="#br0" timeOffset="-112010.4">14658 11377 0,'0'-13'0,"-13"39"16,-1 1-1,14-1 1,-13-13-16,13 1 0,-13-1 0,13 0 0,0 0 15</inkml:trace>
  <inkml:trace contextRef="#ctx0" brushRef="#br0" timeOffset="-111844.86">14526 11483 0,'66'-13'0,"-53"13"0,0 0 15,0 0-15</inkml:trace>
  <inkml:trace contextRef="#ctx0" brushRef="#br0" timeOffset="-111349.99">14790 11417 0,'13'0'16,"-13"13"31,0 0-47,0 0 15,0 1 1,0-1 0,0 0-1,14-13 1,-1 0-1,0 0-15,0 0 16,14-13 0,-14 13-16,-13-13 0,13 13 0,0-14 15,1 1 1,-1 13 46,0 0-46,0 0 0,1 13-16,-1-13 0,0 0 0,0 0 0</inkml:trace>
  <inkml:trace contextRef="#ctx0" brushRef="#br0" timeOffset="-110158.11">14248 11761 0,'-13'26'32,"-1"1"-17,14-14-15,-13 0 0,13 0 16,-13 1-16,13-1 0,0 0 16,0 0-16,-13 0 15,13 1 1</inkml:trace>
  <inkml:trace contextRef="#ctx0" brushRef="#br0" timeOffset="-109781.24">14261 11761 0,'40'-13'16,"-27"13"-16,-13 13 16,0 0-1,0 0 1,0 0-16,0 1 15,0 12-15,0-13 16,0 1 0,0-1-16,0 0 15,0 13 1,-13-26-16,0 14 16,13-1-1,-14-13 1</inkml:trace>
  <inkml:trace contextRef="#ctx0" brushRef="#br0" timeOffset="-109593.29">14552 11840 0,'40'-13'16</inkml:trace>
  <inkml:trace contextRef="#ctx0" brushRef="#br0" timeOffset="-109271.28">14843 11734 0,'13'14'16,"-26"-28"-16,26 41 16,-13-14-16,0 0 15,0 0 1,0 1-16,14-14 31,-1-14 0,13 1-15,-26 0-16,13 13 16,1-13-1,-1 13-15,0 0 16</inkml:trace>
  <inkml:trace contextRef="#ctx0" brushRef="#br0" timeOffset="-109043.1">15214 11748 0,'0'-14'16,"0"1"-1,-40 26 1,13 1 0,14-1-1,13 0 1,13 0 0,14 0-1,-14-13-15,0 0 0,1 0 0</inkml:trace>
  <inkml:trace contextRef="#ctx0" brushRef="#br0" timeOffset="-108246.25">15214 10901 0,'26'-13'0,"14"13"15,-14 0-15,-13 0 0,14 0 0,-14 0 16,0 0-16,14-14 0,-14 14 16,27 0-16,-27 0 15,0 0-15,14 0 16,-27 14-16,13-14 0,-13 39 15,0-12 1,0-14-16,0 13 0,0 1 16,13-1-16,-13 1 0,0-1 0,0 80 15,13-66 1,-13-14-16,0 14 0,0-14 0,0 14 16,14 0-16,-1 66 15,-13-80-15,0 1 0,13 12 16,-13-12-16,0-1 0,0 1 0,13-1 15,-13 1-15,13 25 16,-13-25-16,0-14 0,0 0 16,0 1-16,0-1 0,0 13 15,0-13-15,-13 1 0,13-1 16,-13 13 0,13-12-16,-13-1 0,0-13 15,-14 13 1,14 0-16,0-13 0,-14 0 0,14 14 15,-14-14-15,-25 0 16,25 0-16,-13 0 0</inkml:trace>
  <inkml:trace contextRef="#ctx0" brushRef="#br0" timeOffset="-105026.22">10649 12726 0,'27'0'16,"-1"0"0,-12 0-16,25 14 15,-12-14-15,-14 13 16,0-13-16,14 0 0,-1 13 16,1-13-16,-14 0 15,0 0-15,0 0 16,1 0-16</inkml:trace>
  <inkml:trace contextRef="#ctx0" brushRef="#br0" timeOffset="-104765.8">10914 12528 0,'27'0'15,"12"13"1,-12-13-16,-14 13 0,0 1 0,14-1 16,-14 0-16,0 0 0,0 1 15,0 12-15,1-13 0,-14 27 16,0-14-16,0-12 16,0-1-16,-14 13 0,1-12 0,0-1 15,-27 27 1,27-27-16,-13 0 0,26 0 15,-14-13-15</inkml:trace>
  <inkml:trace contextRef="#ctx0" brushRef="#br0" timeOffset="-103230.2">11919 12607 0,'-52'-26'16,"25"26"-16,14 13 0,0-13 16,-1 0-16,14 13 15,-13-13-15,13 14 16,0 12-16,13-26 0,1 27 15,12-1 1,-13-13-16,1 0 16,-1 1-16,0-1 0,0-13 0,0 26 15,-13-12-15,14-1 16,-28 13 0,14-12-16,-13-1 0,0 0 15,0-13-15,-27 26 16,27-12-16,0-14 0,-1 0 15,-12 13-15,13-13 16,0-13 0</inkml:trace>
  <inkml:trace contextRef="#ctx0" brushRef="#br0" timeOffset="-103008.17">12171 12502 0,'13'0'16,"0"13"-16,-13 40 15,0-40 1,0 27 0,0-14-16,0 1 0,0-1 0,0-13 0,0 14 15,0-1-15,0-13 0,0 14 0,0-14 16,0 0-16,0 1 0,-13 12 15</inkml:trace>
  <inkml:trace contextRef="#ctx0" brushRef="#br0" timeOffset="-102552.05">12105 12766 0,'26'-26'16,"-13"26"-16,1 0 0,-1 0 0,0-14 16,40 14-1,-40 0-15,14 0 0,-14 0 0,13-13 16,-12 13-16,12 0 0,-13-13 16,27 0-1,-14 13-15,-26-13 16,14 13-16,-41 0 47,27 13-47,-13 0 15,0-13-15,13 13 16,-14 0-16,14 1 16,0-1-1,14 0-15,-1-13 16,0 0-1,0 0 1,1 0-16,-1 0 0,0 0 31,-13 13-15,13 1-16,1-1 16</inkml:trace>
  <inkml:trace contextRef="#ctx0" brushRef="#br0" timeOffset="-102018.27">12740 12475 0,'0'-13'16,"0"53"-1,-14-27-15,14 40 16,-13-40-16,13 0 16,0 14-16,0-14 0,-13 13 0,13-12 15,0-1-15,0 0 0,0 0 0,0 0 16,0 1-16,0-1 0,-13 0 16,13 0-16,-13 1 15,-1-14 16,1-14-15,0 14-16,0 0 16,26-13 15,13 0-15,-12 13-16,-1-13 15,13 13-15,-13-14 0,1 14 0,-1 0 16,0 0-16,14-13 0,-14 13 0</inkml:trace>
  <inkml:trace contextRef="#ctx0" brushRef="#br0" timeOffset="-101736.41">12951 12726 0,'14'-26'16,"-1"13"0,-13 0-16,-13-1 0,-14 28 31,1-1-15,26 0-16,-14-13 0,1 13 15,13 0-15,0 1 16,0-1-16,13-13 15,1 13-15,-1-13 0,0 0 16,40 0 0</inkml:trace>
  <inkml:trace contextRef="#ctx0" brushRef="#br0" timeOffset="-91832.74">13044 9432 0,'26'-13'15,"41"13"1,-41 0-16,27 0 16,0 0-16,0 0 0,0 0 15,66 0-15,-53 13 16,93-13-16,-80 0 0,-13 14 15,0-14-15,0 0 0,-13 13 0,0-13 16,66 13-16,-92-13 16,-14 0-16,0 0 0,14 13 15,-14-13 1</inkml:trace>
  <inkml:trace contextRef="#ctx0" brushRef="#br0" timeOffset="-91571.55">13560 9525 0,'26'0'0,"14"0"15,0 0 1,-1 0-16,14 0 0,0 13 0,0-13 0,0 0 15,93 0 1,-107 0-16,14 13 0,-13-13 16,-14 0-16,67 0 15,-67 0-15,1 0 0,-14 0 0,0 14 16,1-14-16</inkml:trace>
  <inkml:trace contextRef="#ctx0" brushRef="#br0" timeOffset="-88901.89">10425 13772 0,'39'-14'15,"-25"14"-15,12 0 0,27 0 16,-40 0-16,27 0 16,-27 0-16,13 0 15,-12 0-15,12 0 0,-13-13 0,27 0 16</inkml:trace>
  <inkml:trace contextRef="#ctx0" brushRef="#br0" timeOffset="-88664.42">10808 13573 0,'0'-13'16,"27"26"-1,-1 14 1,-13-14-16,14 40 16,-27-40-16,0 0 0,0 0 15,0 14-15,0-14 0,-27 53 16,14-39-16,0-1 16,-14 1-16,14-1 0,0-13 15,0 14-15,0-14 0,-1 0 0</inkml:trace>
  <inkml:trace contextRef="#ctx0" brushRef="#br0" timeOffset="-86981.02">11470 13441 0,'-66'66'0,"52"-53"0,1 0 0,0 14 16,0-14-16,-1 14 0,1-14 16,0 13-16,0-13 0,13 1 0,-27 39 15,27-40-15,0 0 16,0 0-16,0 1 16,13 12-1,14-26 1,-14 13-16,0-13 0,1 0 15,12 0-15,-13 0 0,1 0 0,12-13 16,0 13-16,-12 0 0,52-26 16</inkml:trace>
  <inkml:trace contextRef="#ctx0" brushRef="#br0" timeOffset="-86349.19">11695 13666 0,'-27'-27'0,"14"27"16,0 0-16,-14 13 0,14 1 16,0-14-1,13 13-15,-13-13 0,13 13 16,0 0-16,0 1 16,0-1-16,13 0 15,0 0 1,0-13-16,0 0 0,-13 14 15,14-14-15,12 0 16,-13 13 0,1 0-16,-1-13 15,0 0 1,0 0-16,14-13 16,-14 0-16,0-1 0,14-12 15,-14 13-15,0-1 16,0-12-16,14-1 0,-14 1 0,0 0 15,0-1-15,1 1 0,25-27 16,-39 26-16,14 14 16,-1 0-16,-13 0 15,13-1-15,-13 41 32,-13-1-17,13 1-15,0-14 0,0 0 16,0 0-16,13 14 15,0-14-15,14 0 16,-14 1 0,0-14-16,0-14 0,1 14 0,12 0 15,-13 0 1,1-13 0,-14 26-1,13-13 1,-13 14-16,0-1 0,0 0 15,13 0 1,0-13-16,-13 13 0,14-13 16</inkml:trace>
  <inkml:trace contextRef="#ctx0" brushRef="#br0" timeOffset="-86242.24">12330 13481 0,'0'-14'0,"0"1"16</inkml:trace>
  <inkml:trace contextRef="#ctx0" brushRef="#br0" timeOffset="-86056.06">11893 13467 0,'-13'-13'16,"26"13"-16,0-13 16,40 13-1,-40-13-15,14 13 0,-1 0 0,1 0 16,-14 13-16,13-13 0,1 0 16,13 13-16</inkml:trace>
  <inkml:trace contextRef="#ctx0" brushRef="#br0" timeOffset="-85505.3">12396 13560 0,'-27'13'16,"27"0"0,0 1-1,0-1 1,13-13-1,1 0 1,25-13-16,-25 13 16,-1-14-16,0 14 0,14-13 15,-14 0-15,0 13 16,0-13-16,0 13 16,1-14-1,-1 28 32,-13-1-31,0 0-1,0 0 17,0 1-32,13-14 31,0 13-16,14-13 1</inkml:trace>
  <inkml:trace contextRef="#ctx0" brushRef="#br0" timeOffset="-85342.9">12912 13586 0,'0'0'0,"0"14"0,0-1 16,0 0-1,-14 13-15,-12 14 16,26-27-16,-26 14 16,12-14-16,14 0 15,-13 1-15</inkml:trace>
  <inkml:trace contextRef="#ctx0" brushRef="#br0" timeOffset="-84610.19">13163 13441 0,'0'-13'0,"0"-1"16,-13 41 15,13-1-15,0-12 0,0-1-16,13 0 0,-13 0 15,13 0 1,0 1-16,1-14 15,-1 0-15,0 0 16,0 0-16,1 0 16,-1 0-16,0 0 15,0 0-15,1 0 32,-1 13-17,0 0-15,0-13 31,0 0-31,1 0 16,-1 0-16,0-13 16,0 13-16,1 0 0,-14-13 15,13 13-15,0-14 0,0 1 16,1 13 0,-14-13-1,13 13 1,-13-13 31</inkml:trace>
  <inkml:trace contextRef="#ctx0" brushRef="#br0" timeOffset="-84201.14">13626 13242 0,'-13'27'16,"-14"13"-1,27-27-15,0 13 16,-13-13-16,13 14 0,-13-14 0,13 0 16,0 1-16,-13-1 0,13 0 15,0 0-15,0 1 16,13-1-1,0-13-15,0 13 16,1-13 0,-1 13-16,0-13 15,0 13 1,0-13-16,1 0 0,-14 14 16,26-28-1,-13 14-15,1 0 16,-1 0-1,0 14-15,0-14 16,-13 13 0,0 0-16,14 0 15</inkml:trace>
  <inkml:trace contextRef="#ctx0" brushRef="#br0" timeOffset="-84069.02">13864 13414 0,'0'-13'0,"0"-13"16,13 26-1</inkml:trace>
  <inkml:trace contextRef="#ctx0" brushRef="#br0" timeOffset="-83669.98">14036 13282 0,'0'27'0,"-13"12"15,0-26-15,13 14 16,-14-14-16,14 0 0,-13 1 15,13-1-15,-13 27 16,13-27-16,-13 0 0,13 0 16,0 0-1,0 1-15,0-1 16,13 0 0,0-13-1,0 0-15</inkml:trace>
  <inkml:trace contextRef="#ctx0" brushRef="#br0" timeOffset="-83504.33">13917 13507 0,'13'-13'16,"1"0"-1,-1-1-15,0 14 0,0-13 0,0 13 0,1 0 16,-1 0-16,0 0 15,0-13-15,14 13 16</inkml:trace>
  <inkml:trace contextRef="#ctx0" brushRef="#br0" timeOffset="-83282.1">14168 13428 0,'14'-14'16,"-14"1"-1,-27 26 17,14 14-17,13-14-15,0 0 32,0 14-32,13-27 15,-13 13-15,13-13 0,1 0 16</inkml:trace>
  <inkml:trace contextRef="#ctx0" brushRef="#br0" timeOffset="-83076.11">14433 13454 0,'13'27'15,"-13"-1"-15,0-13 16,-13 0-16,13 1 0,-13-1 16,0 0-16,-1 14 0,1-14 0,-13 26 15,12-25-15,1-1 16</inkml:trace>
  <inkml:trace contextRef="#ctx0" brushRef="#br0" timeOffset="-81595.06">14751 13375 0,'13'-14'0,"-26"41"16,-1 13-1,1-27-15,13 13 16,0-12-16,-26 25 16,26-26-16,0 1 0,0-1 15</inkml:trace>
  <inkml:trace contextRef="#ctx0" brushRef="#br0" timeOffset="-81194.09">14751 13335 0,'26'-26'15,"-52"52"-15,65-66 0,-26 27 16,14 13-16,-14 0 16,0 0-16,-13 13 0,14 1 15,-14-1-15,0 26 16,0-25-16,-14 12 15,1-13-15,13 1 16,-13 12 0,0-13-16,13 1 0,0-1 15,13-13 1,-13 13-16,13 0 16,0 0-16,1 14 15,-1-27 1,-13 13-16,-13 0 15,-1 1-15,1-1 16,0-13-16,-14 26 16,14-26-16,0 0 15,13 13-15,-13-13 0,0 0 0,-1 0 16</inkml:trace>
  <inkml:trace contextRef="#ctx0" brushRef="#br0" timeOffset="-81000.09">14989 13295 0,'0'0'15,"13"27"1,-13-1 0,0-13-16,-13 14 15,-1 26 1,1-27-16,0 14 0,13-27 15,0 0-15,-13 1 0,26 12 16</inkml:trace>
  <inkml:trace contextRef="#ctx0" brushRef="#br0" timeOffset="-80362.06">15055 13547 0,'13'-14'0,"-13"1"16,-53 79-16,93-105 0,-27-1 15,-26 66 16,26-12 1,0-1-17,0-13 1,1 0 15,-1 13-15,0-13-1,0 0-15,14 0 16,13-13 0,-27 0-16,0-1 15,13-12 1,-12 26-16,-14-13 0,13 13 0,-26 13 62,13 0-62,0 0 0,13 1 32,13-28-17,14-25 1,-13 12 0,-1 1-1,-26 13-15,13 13 0,-13 13 31,0 13-15,-13-12-16,0-1 0,13 0 16,-27 27-16,14-27 15,13 0-15,-13-13 0,13 13 0,0 1 16,13-1 15,0-13-15,1 0-1,-1 0-15,0 0 16</inkml:trace>
  <inkml:trace contextRef="#ctx0" brushRef="#br0" timeOffset="-80058.39">13097 13732 0,'0'0'0,"53"-13"0,-27 13 0,27-14 0,66 14 16,-26 0-16,-1 14 0,1-14 15,264 39 1,-238-25-16,0-1 0,-26 0 0,172 27 16,-186-27-1,0-13-15,-26 13 0,0 0 0,-26-13 16,-1 0-16,-13 14 0,0-14 0</inkml:trace>
  <inkml:trace contextRef="#ctx0" brushRef="#br0" timeOffset="-79834.03">13256 13891 0,'317'0'0,"14"0"16,-186 0-1,-26 13-15,14-13 0,-27 0 0,-14 13 16,1-13-16,-1 0 0,107 27 16,-160-27-16,1 13 15,-13-13-15,-14 0 0,0 0 16</inkml:trace>
  <inkml:trace contextRef="#ctx0" brushRef="#br0" timeOffset="-79235.58">13428 12938 0,'145'0'16,"-92"0"-16,106 0 15,-80 0-15,14 0 0,-14 13 16,1-13-16,12 0 0,-12 0 0,12 14 15,-13-14-15,120 13 16,-146-13-16,-13 13 0,-14-13 16</inkml:trace>
  <inkml:trace contextRef="#ctx0" brushRef="#br0" timeOffset="-79034.36">13785 13004 0,'-13'0'0,"26"0"16,13 0-1,1 0-15,26 0 0,0 14 0,-1-14 16,28 13-16,-1-13 0,1 0 0,92 26 16,-80-26-16,-12 0 15,92 27-15,-93-27 0,0 0 16</inkml:trace>
  <inkml:trace contextRef="#ctx0" brushRef="#br0" timeOffset="-74519.15">16285 9948 0,'-13'0'0,"39"-13"47,-12 13-47,-1 0 16,0 0-16,0 0 0,27 0 15,-27 0-15,14 0 16,-14 0-16,13 0 0,-12 0 0,-1 0 0,13 0 16,-13 0-16,14 0 15,-14 0-15,14-13 16</inkml:trace>
  <inkml:trace contextRef="#ctx0" brushRef="#br0" timeOffset="-74065.58">16457 9776 0,'40'14'47,"-27"-14"-47,0 13 16,0-13-16,1 0 0,-1 13 0,0-13 15,0 13-15,1 0 0,-1-13 16,13 14-16,1-1 0,-27 0 15,13-13-15,0 13 0,0 1 16,-13-1-16,0 0 0,0 0 16,-13 14-16,-13-14 0,-80 80 15,79-67 1,-12-13-16,-14 27 16</inkml:trace>
  <inkml:trace contextRef="#ctx0" brushRef="#br0" timeOffset="-64097.29">17066 9962 0,'13'-27'16,"0"14"-16,0-14 0,-13 14 15,27-40 1,-14 40-16,-13 0 15,13 0-15,0-1 0,-13 1 0,14 0 0,-1 0 16,-13-1 0,13 1-1,0 26 1,1 1 0,-14 12-1,0-13-15,13 1 0,-13-1 0,0 0 16,0 13-16,13-26 15,-13 14-15,0-1 0,0 0 16,0 0-16,13-13 16,-26 14-1,0-14 1,0 0-16,-1 0 16,1-14-16,0 14 15,0 0-15,-14 0 0,14-13 0,0 13 16,-14 0-16,14 0 0,-13-13 31,12 13-31,28-13 31,12-1-15,-13 1-16,1 13 16,-1 0-16,26-13 0,-25 0 15,-1 13-15,0 0 0,0-13 16,1 13-16,-1 0 0,0 0 15,0-14-15,1 14 0,-1 0 16,0 0 0,-39 14-1,26-1 1,-14-13-16,-25 26 16,25-13-16,-12 1 15,13-1-15,-1 0 0,-12 0 0,0 14 16,12-14-16,1-13 15,13 13-15,-13 1 0,0-14 0,13 13 16,-14-13-16,1 13 0,13 0 16</inkml:trace>
  <inkml:trace contextRef="#ctx0" brushRef="#br0" timeOffset="-63716.39">17489 9962 0,'0'26'16,"0"-13"-1,-13 0-15,13 1 0,-14-14 0,14 13 16,-13 0-16,0-13 0,0 13 16,0 1-16,-1-1 0</inkml:trace>
  <inkml:trace contextRef="#ctx0" brushRef="#br0" timeOffset="-62796.6">17793 10014 0,'0'-13'0,"13"-13"16,-13 13-1,0-1-15,14-25 0,-14 25 16,0-12-16,13 13 0,-13-14 0,13 14 16,-13 0-16,13-14 0,-13 14 15,14 0-15,-14 0 0,13-1 16,-13 1-16,13 13 15,0 13 1,-13 1-16,14-1 16,-14 0-16,13 14 0,-13-14 15,13 0-15,-13 13 16,13-26-16,-13 14 0,0-1 16,13 0-16,-13 0 15,0 1 1,-13-14-1,0 0 1,0 0 0,-14 0-16,14 0 15,0 0-15,0 0 16,-1 0-16,1-14 16,0 14-1,26-26 1,0 26-1,1-13-15,-1-1 0,13 1 16,1 0-16,-1 0 16,1 0-16,-1-1 15,-13 14-15,1-13 0,-1 13 16,0-13 0,-26 26 15,0 0-31,-1 1 0,-12-1 15,-14 26 1,27-25-16,-13-1 0,-1 13 16,14-26-16,0 14 15,-14-1-15,14 0 0,0 0 16,-1 1-16,14-1 16</inkml:trace>
  <inkml:trace contextRef="#ctx0" brushRef="#br0" timeOffset="-62075.2">18124 9988 0,'0'-26'0,"0"12"15,13 1-15,-13 0 0,0 0 16,13-1-16,-13 1 0,14 0 16,-14 0-16,13-1 0,0 1 15,-13 0-15,13 0 16,1 13-16,-1 0 31,-13 26-31,0-13 16,0 1-16,13-1 15,-13 0-15,0 0 0,0 1 16,13-1-16,-13 0 16,0 0-1,0 1 1,-13-14 15,0-14 0,13 1-15,13 0-16,-13-14 16,13 14-16,0 0 0,1 0 0,-1-1 15,13-25-15,1 12 16,-14 14-16,0 13 0,1-26 15,-1 26-15,-13-14 0,13 14 16,-13-13 0,-26 26-1,12 1 1,1-14-16,0 13 16,0 0-16,-1 0 0,-12 1 0,13-1 15,-14 0-15,-26 13 0,27 1 16,-1-14-16,1 14 15,0-14-15,-1 13 16,14-12 0,0-1-16,-1-13 15,14 13-15,14 0 16</inkml:trace>
  <inkml:trace contextRef="#ctx0" brushRef="#br0" timeOffset="-61687.35">18666 9922 0,'0'26'15,"-13"-12"-15,0 12 16,13-13-16,-27 14 16,14-14-16,-13 0 15,13 0-15,13 1 16,-14-14-16,14 13 0</inkml:trace>
  <inkml:trace contextRef="#ctx0" brushRef="#br0" timeOffset="-60942.28">18944 9988 0,'13'-40'0,"-13"14"16,14-14-16,-1 14 16,0-14-16,-13 14 15,27-1-15,-27 1 16,13 12-16,-13-12 15,13 26-15,0-13 16,-13 26 0,0 0-16,0 0 0,13 1 15,1 39 1,-14-40 0,0 0-16,0 0 15,0 14 1,-27-27-16,14 13 15,-13-13-15,12 0 16,-25-13-16,25 13 0,1 0 16,0 0-16,-14-14 0,14 14 15,0-13-15,13 0 32,13 0-32,0 0 15,1 13-15,12-14 16,14 1-16,-27 0 15,27 0-15,-27 13 16,0 0-16,27-14 0,-27 1 16,0 13-16,1 0 15,-28 13 1,1 1 0,0-1-16,0 0 15,-27 0-15,27 1 16,-27 12-16,27-13 0,0 0 15,-14 1-15,1 12 16,12-13-16,-12 1 0,26-1 16,-13 0-16,0 0 15,13 1 1,13-14-16</inkml:trace>
  <inkml:trace contextRef="#ctx0" brushRef="#br0" timeOffset="-60241.2">19262 9988 0,'0'-40'16,"0"14"-16,0 13 15,13-40-15,0 39 0,-13-12 16,0 13-16,13 0 16,-13-14-16,14 27 15,-14-13-15,13 13 16,0 13-1,-13 0-15,13-13 16,14 53 0,-27-40-16,13 1 15,0-1-15,-13 0 16,13-13 0,-13 13-16,-158 80 15,303-186 16,-158 93-31,0-13 16,0 0-16,-1-14 16,14 14-16,14 0 15,-14 0-15,13-14 0,-13 14 16,13 0-16,0 0 0,-13-1 16,13 1-16,14-13 15,-14 13-15,0 13 16,-13-14-1,-26 41 1,-1-1 0,1-13-1,13 1-15,0 12 0,-14-13 0,-13 27 16,14-27-16,13 14 16,-1-14-16,-12 0 0,13 0 0,-14 14 15,1-14-15,13 0 16,-14 1-16,14-1 15,13 0 1</inkml:trace>
  <inkml:trace contextRef="#ctx0" brushRef="#br0" timeOffset="-59350.81">19526 9948 0,'0'-26'16,"0"13"-16,0-1 16,0-39-1,0 27 1,13 0-16,-13 12 15,14 1-15,-14-13 0,13 12 0,-13 1 16,13 0-16,-13 0 16,13 0-16,1 26 31,-14 13-15,0-13-16,13 1 15,-13-1-15,0 0 16,0 0-1,0 1 1,-13-14-16,-1-14 31,14-12-15,14 26-16,-14-13 16,0-1-16,13 1 15,0 0-15,0 0 16,1 0-16,-1-1 15,0 14 17,-26 14-17,0-1 1,-1 0-16,1 0 0,0 0 16,0 1-16,-1-14 0,1 13 15,-13 27-15,-1-27 0,14 0 16,0 0-16,-14 14 15,14-1 1,13-13-16</inkml:trace>
  <inkml:trace contextRef="#ctx0" brushRef="#br0" timeOffset="-59081.11">19897 9869 0,'0'26'15,"-14"1"1,1-14-1,0 14-15,-13-14 16,12 0-16,14 0 16,-13 0-16,0 14 15,13-14-15</inkml:trace>
  <inkml:trace contextRef="#ctx0" brushRef="#br0" timeOffset="-56824.57">20280 9737 0,'27'-14'16,"-14"14"0,0-13-1,0 13 16,1 0 16,-28 13 360,1 1-392,13-1 1,-13 0-16,13 0 15,-13 1-15,13-1 16,-13 0-16,13 0 0,0 0 16,-14 1-16,14-1 15,0 0 1,0 0-16,-13-52 47,13 12-16,0 14-31,0 0 0,0-27 0,0 27 16,0 0-16,13-1 15,-13-12-15,0 13 0,14 0 0,-14-1 16,13 1-16,0 0 16,0 0-16,0 13 15,1 0-15,-1 0 0,0 0 16,0 0-16,1 0 15,-1 0-15,0 0 16,0 13 0,-26 13-1,0-26 1,13 14-16,-13-14 0,-1 13 0,1 0 16,0-13-16,0 13 0,-1 0 15,-12 14-15,0-27 0,12 13 16,1 0-16,0 1 0,0-14 15,-1 13-15,1-13 0,0 13 0,0 0 16,-1-13 0,1 13-16,13 1 15</inkml:trace>
  <inkml:trace contextRef="#ctx0" brushRef="#br0" timeOffset="-56383.68">20466 9671 0,'-40'13'15,"27"-13"1,-14 13-16,-26 13 16,27 1-16,-14-14 0,14 14 15,-27-1-15,39 0 0,-12-12 16,0-1-16,12 0 15,1 0-15,13 1 0,-13-1 16,26 0 0,0 0-16,1-13 15,-1 0-15,26 14 0,1-1 16,13-13-16,-13 0 16,-14 13-16,14-13 15,0 0-15,-27 0 16,13 0-16,-12 0 0,-1-13 15,0 13-15,-13-13 0</inkml:trace>
  <inkml:trace contextRef="#ctx0" brushRef="#br0" timeOffset="-56133.26">20413 9671 0,'-93'158'47,"67"-131"-32,12-1-15,1 14 0,-13-14 16,12 1-16,1-14 0,0 13 0,13-12 16,-13-1-16,-1 13 0,1 1 15,0-27-15,13 13 0,0 0 16,0 1-1,0-1-15</inkml:trace>
  <inkml:trace contextRef="#ctx0" brushRef="#br0" timeOffset="-55621.81">20611 10014 0,'-13'-79'15,"13"66"-15,-13-27 0,13 14 16,0-14-16,0 14 15,0-1-15,0-13 0,13 14 16,-13 13-16,0 0 16,13-1-16,14 14 31,-14 14-31,0-1 16,0-13-16,0 13 15,14 0-15,-1 0 16,-12-13-16,-1 14 15,0-14-15,0 0 16,0 0-16,-52 13 31,26-13-31,-27 0 16,27 13-16,-40 0 16,13 225-16,53-476 0,-66 265 15,14-14-15,12 0 0,-12 14 16,12-14-16,14 0 15,0 0-15,13 1 16</inkml:trace>
  <inkml:trace contextRef="#ctx0" brushRef="#br0" timeOffset="-55057.09">20651 9816 0,'39'26'16,"-25"-12"-1,12 12 1,-13-13-16,1 1 0,-1-1 16,0 0-16</inkml:trace>
  <inkml:trace contextRef="#ctx0" brushRef="#br0" timeOffset="-48922.2">16298 11218 0,'40'-13'16,"-27"13"-16,0-13 0,1 13 16,-1 0-16,13 0 0,-12 0 15,12 0-15,1 0 0,12 0 16,-12 0 0,-14 0-16,0 0 0,0 0 0</inkml:trace>
  <inkml:trace contextRef="#ctx0" brushRef="#br0" timeOffset="-48634.18">16536 11060 0,'146'158'79,"-146"-131"-79,-13-14 0,-106 93 46,79-93-46</inkml:trace>
  <inkml:trace contextRef="#ctx0" brushRef="#br0" timeOffset="-40216.15">14314 10755 0,'106'40'0,"-80"-27"16,-13-13-16,14 0 0,26 13 15,0-13-15,-27 0 16,27 0-16,27-13 16,-14 13-1,-40-13-15,14 0 0,-14 13 16,1-13-16,-1 13 0,-13-14 16,14 1-16,-14 13 0,0-13 15,27-27-15,-27 27 16,0 0-16,-13-14 15,0 1-15,-13-1 16,13 14-16,-13 0 0,0-14 0,0 14 16,-1 0-16,1-13 0,-13 12 15,12-12-15,-12 13 0,13-1 0,-14 1 16,-12-13-16,-1-1 16,27 14-16,-14 0 0,14 13 15,-53-40-15,13 27 16,0 0-16,40-1 15,-40 1-15,0 13 16,26 0-16,1 0 16,13-13-16,0 13 0,-14 13 0,14-13 15</inkml:trace>
  <inkml:trace contextRef="#ctx0" brushRef="#br0" timeOffset="-38532.96">14433 10266 0,'0'-13'16,"-13"13"-1,0 0 1,13-14-16,-14 14 15,1 0-15,0-13 16,-14 13-16,14 0 16,0 0-16,0 0 15,-14-13-15,14 13 16,0 0-16,-14 0 0,1 0 16,13 0-16,-1 0 15,1 0-15,0 0 0,-13 0 16,-1 0-16,1 0 15,-1 0-15,14 0 16,0 0-16,-1 0 16,1 0-16,-13 0 0,13 0 15,-1 0-15,1 13 16,0-13-16,0 0 16,-1 0-1,1 0-15,0 13 0,0-13 16,-1 14-1,1-14-15,13 13 0,-13-13 16,0 13 0,0 0-16,-1 1 0,1-14 15,0 13-15,13 0 16,-13 0-16,-1 0 16,14 14-16,0-14 15,0 14-15,0-14 16,14 0-16,-1 14 15,0-14-15,14 13 16,-1 1-16,14-1 16,-1-13-16,28 14 15,-28-14 1,-12 0-16,-14-13 16,13 13-16,27 1 15,-39-14-15,12 13 0,0 0 16</inkml:trace>
  <inkml:trace contextRef="#ctx0" brushRef="#br0" timeOffset="-36325.31">16907 11046 0,'-13'14'16,"13"-1"-16,-14 13 15,1 14 1,0-14-16,0 1 16,13-1-16,-13-12 0,13-1 0,0 0 15,-14 13 1,14-12-16</inkml:trace>
  <inkml:trace contextRef="#ctx0" brushRef="#br0" timeOffset="-35944.72">16973 10967 0,'79'-40'15,"1"80"32,-93-27-47,-27 14 16,13-1-16,1-13 0,-27 14 15,13-1-15,14-13 16,13-13-16,-1 14 16,1-1-16,0-13 15,13 13-15,0 0 16,119-211-16,-225 410 15,119-199-15,27 0 16,-13 0-16,-14-13 16,13 14-16,1-1 15,-14-13-15,0 0 0,27 13 16</inkml:trace>
  <inkml:trace contextRef="#ctx0" brushRef="#br0" timeOffset="-35476.76">17304 11126 0,'-27'-14'0,"-105"67"62,132-26-46,13-14-16,0 0 15,14-13 1,-14 0-16,0 0 0,14-13 16,-14 0-16,0 13 15,1-13 1,-1 13-16,0-14 16,0 28-1,-39-67-15,52 119 16,-26-53-16,0 14 15,13-14 1,-13 0 0,14 0-16</inkml:trace>
  <inkml:trace contextRef="#ctx0" brushRef="#br0" timeOffset="-35077.45">17515 11152 0,'-53'80'78,"80"-80"-47,-14-14-15,0 14-16,-13-13 15,14 13-15,-1 0 16,0 0-16,0 0 15,1 13 1,-14 1-16,0-1 16,0 0-16,0 0 15,0 0-15</inkml:trace>
  <inkml:trace contextRef="#ctx0" brushRef="#br0" timeOffset="-34679.1">17833 10914 0,'-66'225'62,"53"-199"-62,-14 41 0,14-28 16,0-12-1,-1-1-15,14-13 16,0 1-16,14-1 16</inkml:trace>
  <inkml:trace contextRef="#ctx0" brushRef="#br0" timeOffset="-34417.88">18045 11139 0,'-239'79'78,"253"14"-31,-1-93-31,27 0-16,-27 0 0,0 0 0,0 0 16,27 0-1,-27-13-15</inkml:trace>
  <inkml:trace contextRef="#ctx0" brushRef="#br0" timeOffset="-33065.31">18521 11020 0,'-13'26'31,"-1"-26"-31,14 14 0,0 12 16,0-13-16,0 0 15,0 14-15,14-1 16,-14-12-16,13-14 0,13 13 16,-12 0-16,12-13 15,0 0-15,1-13 16,-1 0-16,-12-14 16,-1 14-16,-13-27 15,0 27-15,-13-27 16,-14 14-1,14 13-15,-27-1 16,1 14-16,25 0 16,1 0-16,0 0 15,39 14 1,-12-14 0,-1 0-16,0 13 15,13 0-15,-12 0 16,12 27-1,-26-14-15,0-12 0,0 39 16,0-27-16,-13 40 16,-14 14-16,1-54 15,13 14-15,-53 39 16,52-52-16,-25-1 0,12 1 16,1-14-1,39-26 16,27-27-31,13 0 16,-14 14-16,41-27 16,-1 0-16,-26 26 15,53-26-15,-40 27 16,-40 13-16,27-14 16</inkml:trace>
  <inkml:trace contextRef="#ctx0" brushRef="#br0" timeOffset="-32211.72">19487 10927 0,'-53'0'0,"39"14"16,1-14-16,13 26 15,13-13 1,-13 0-16,14 1 0,-14-1 16,13 0-16,0 0 15,0 1-15,14 12 0,-14-13 0,0 0 16,-13 1-16,0-1 0,13 0 16,-13 0-16,0 1 0,-13-1 15,13 0-15,-13 0 16,0-13-16,0 14 15,-1-1-15,-12-13 16,26 13-16,-13-13 16,-1-13-16,14 0 15</inkml:trace>
  <inkml:trace contextRef="#ctx0" brushRef="#br0" timeOffset="-31998.47">19698 10874 0,'0'67'63,"-13"104"-32,13-144-15,0-14-16,0 0 0,0 1 15,0-1-15,0 0 0,13 0 16</inkml:trace>
  <inkml:trace contextRef="#ctx0" brushRef="#br0" timeOffset="-31773.3">19553 11126 0,'39'-14'16,"-25"1"-16,-1 13 16,13 0-16,-12 0 0,12 0 15,-13 0-15,0 0 16,-26-225-16,66 450 0</inkml:trace>
  <inkml:trace contextRef="#ctx0" brushRef="#br0" timeOffset="-31386.99">20016 11020 0,'-27'26'47,"14"-12"-32,0 12-15,13 0 16,0-12-16,0-1 16,13-13-16,-13 13 15,13-13-15,0 13 16,1-26-16,12 13 15,-13-13-15,1 13 16,-14-13-16,13 13 0,-542 0 0,1071-27 16,-529 27-16,1-13 15,-1 13 1,0 13 0,-13 0-1,-132-105-15,251 198 16,-119-93-16,13-13 15,-13 13-15</inkml:trace>
  <inkml:trace contextRef="#ctx0" brushRef="#br0" timeOffset="-30965.15">20505 10795 0,'-13'26'31,"0"14"-31,0 0 16,-1-14-16,1-12 0,0 12 16,13 0-16,-13-12 0,-1 12 15,14 1-15,0-14 16,0 0-16,0 0 0,-13 0 15,0-13 17,0-13-17,-1 13 1,1 0-16,-13 13 0,13-13 16,-1 0-16,-12 14 0,13-1 15,13 0 16,13 0-31,0 1 16,14-14 0,-1 13-16,0-13 15,-12 0-15</inkml:trace>
  <inkml:trace contextRef="#ctx0" brushRef="#br0" timeOffset="-30271.31">20598 11139 0,'0'-13'16,"13"-1"-16,-13 1 31,0 0-15,-13 13-1,0 13 17,13 0-17,0 1 1,0-1 0,0 0-1,13 0-15,0-13 16</inkml:trace>
  <inkml:trace contextRef="#ctx0" brushRef="#br0" timeOffset="-29799.81">20717 11073 0,'-13'39'31,"-1"-12"-31,1-14 32,13 0-32,13 1 15,1-14 1,-1-14-1,0 14 1,0 0 0,1 0-1,-1 0 1,-13 14-16</inkml:trace>
  <inkml:trace contextRef="#ctx0" brushRef="#br0" timeOffset="-29550.32">20995 10821 0,'-14'53'16,"1"-13"0,40-133-16,-67 213 0,40-94 15,-13-13-15,13 0 0,-27 27 16,27-27-16,-13 14 16,0-14-16,13 0 0</inkml:trace>
  <inkml:trace contextRef="#ctx0" brushRef="#br0" timeOffset="-29123.42">20809 11073 0,'14'-13'0,"-1"13"16,0 0-16,0 0 0,1-14 16,-1 14-16,27 0 0,-27 0 15,0 0-15,13-13 0,-12 13 16,25-13-16,-25 13 0,-1 0 16,0-13-16,0 13 0,1 0 15,-14-14-15,13 14 16,-13-13-16,-305 106 15,623-159 17,-318 79-32,0 0 15,0 0-15,0 1 16,0-1-16,-13 13 16,13-13-1,-13-13-15,-1 14 0,1-1 16,-13-13-16,-14 13 15,0-13-15,27 0 0,-13 0 16,-1-13-16</inkml:trace>
  <inkml:trace contextRef="#ctx0" brushRef="#br0" timeOffset="-16186.03">21669 9948 0</inkml:trace>
  <inkml:trace contextRef="#ctx0" brushRef="#br0" timeOffset="-15913.08">21669 9975 0,'14'13'0,"-1"-13"16,0 0-16,0 0 0,1 0 0,-1 0 16,13 0-16,-13 0 0,27 0 15,-13-13-15,-1 13 16,1 0-16,-14 0 0,0 0 16,0 0-16,0 0 15,1 0-15</inkml:trace>
  <inkml:trace contextRef="#ctx0" brushRef="#br0" timeOffset="-15510.45">21921 9829 0,'13'13'31,"0"-13"-16,0 14-15,1-1 0,-1 0 16,0 0 0,0 1-16,1-1 0,-1 13 15,-13-12 1,0-1 0,0 13-16,-13-13 0,-1 1 15,1-1-15,-13 13 16,12-12-16,1-14 15</inkml:trace>
  <inkml:trace contextRef="#ctx0" brushRef="#br0" timeOffset="-9993.59">22371 9750 0,'-80'79'0,"67"-66"16,0 1-16,-14 12 16,27-13-16,-13 1 0,13-1 0,0 0 15,0 0-15,0 1 16,0-1-16,13 0 15,0 0-15,1-13 0,-1 0 16,0 13-16,0-13 0</inkml:trace>
  <inkml:trace contextRef="#ctx0" brushRef="#br0" timeOffset="-9677.6">22622 9909 0,'-13'-27'31,"26"54"-31,-40-41 16,14 28-1,13-1-15,0 0 0,0 0 16,13 1 0,-13-1-16,14-13 0,-1 0 15,0 13-15,0-13 16,1-13-16,-1 13 15,-13-13 1,0-1-16,0 1 16,0-13-16,-13 12 15,13 1 1,-14 13-16,14-13 16,-13 13-16</inkml:trace>
  <inkml:trace contextRef="#ctx0" brushRef="#br0" timeOffset="-9285.4">22767 9803 0,'14'0'16,"-41"13"-16,40-26 0,1 26 0,-1-13 15,-13 13-15,0 0 16,13 1-16,-13-1 15,13 0 1,1 0-16,-1-13 16,0 0-1,0-13-15,0 13 16,1-13-16,-1 13 16,0-13-16,0-1 15,1 14-15,-14-13 0,13 13 16,0-13-1,0 13-15,1 0 16,-1 0 0,0 13-1,0 0 1,-13 1-16,0-1 0,0 0 16,0 0-16,0 1 15,0-1-15,0 0 0</inkml:trace>
  <inkml:trace contextRef="#ctx0" brushRef="#br0" timeOffset="-8776.47">23429 9671 0,'-13'39'16,"13"-26"-16,0 1 0,0 12 15,0-13-15,0 14 16,0-14 0,0 0-16,-14-13 15,14 13-15,-13-13 16,-13 0-1,26 14-15,-14-14 16,-12 13-16,13 0 0,0-13 0,-14 13 31,27 1-31,-13-1 16,26 0-16,-13 0 16,13-13-16,1 0 15,-1 0-15,13 14 16,-13-14-16</inkml:trace>
  <inkml:trace contextRef="#ctx0" brushRef="#br0" timeOffset="-8144.16">23905 9671 0,'0'-14'0,"0"28"0,-26 25 31,12-26-31,14 14 0,-13-14 16,0 40-16,0-40 0,-1 14 16,14-1-16,-13-13 0,13 1 15,-13 12-15,13-13 0,0 1 0,-13 12 16,13-13-16,0 0 15,-13-13-15,13 14 16,0-1-16,13-53 31,-13 27-15,13-13-16,13-27 0,1 0 16,-1 26-16,-12-12 0,25-1 15,-25 27-15,-1-1 16,0 1-16,0 0 0,0 13 15,1-13-15,12 26 16,-26 0 0,0 14-16,-13-14 15,13 0-15,-13 14 16,-1-27-16,1 13 0,0 0 16,-13 13-16,12-12 15,1-14 1,13 13-16,-13-13 0</inkml:trace>
  <inkml:trace contextRef="#ctx0" brushRef="#br0" timeOffset="-7647.7">24117 9776 0,'-53'14'31,"40"-1"-15,-1 0 0,14 0-16,14 0 15,-1 1 1,0-14-1,0 0-15,-13 13 16,14-13-16,-1 0 0,-13 13 16,13-13-16,0 0 15,0 13-15,1-13 16,-1 0-16,0 0 16,0-13-16,1 13 15,-1-13-15,0 0 0,0-1 16,1 1-16,12-26 0,-13 25 15,0 1-15,1 0 0,-1 0 16,0-1-16,0 1 16,1 0-16,-1 13 0,-13-13 15,13 26 1,-13 0-16,0 0 0,0 1 16,-13 25-16,0-25 15,-1 25-15,14-26 0,-13 1 16,13-1-16,-13-13 0</inkml:trace>
  <inkml:trace contextRef="#ctx0" brushRef="#br0" timeOffset="-7219.12">24474 9856 0,'13'-14'16,"0"1"-1,1 13 32,-14 13 0,0 14-16,0-14-31,0 0 16,0 1 0</inkml:trace>
  <inkml:trace contextRef="#ctx0" brushRef="#br0" timeOffset="-6581.25">24633 9869 0,'-14'13'31,"14"0"-31,-13 1 16,13-1-1,0 0 1,13-13-1,1 0 1,-1-13-16,0 13 16,14-13-16,-14-14 15,0 27-15,14-26 16,-1 12-16,-13 1 16,0 0-16,1 0 0,-1 0 15,0 13 1,-13 26-1,-13 0 1,0-12 0,13-1-16,0 0 15,0 14-15,0-14 16</inkml:trace>
  <inkml:trace contextRef="#ctx0" brushRef="#br0" timeOffset="-6213.13">24421 9790 0,'66'0'0,"-53"0"16,-92 0-16,185 0 0,-80 0 0</inkml:trace>
  <inkml:trace contextRef="#ctx0" brushRef="#br0" timeOffset="-5423.8">23244 10358 0,'-40'0'0,"27"0"16,0 14-16,-1-14 0,1 13 16,13 0-1,-13-13-15,13 13 16,13-13-16,0 0 16,1 0-16,-1 0 15,0 0-15,0-13 0,0 13 16,1-13-16,-1 13 15,0-13-15,0 26 32,-13 0-32,0 0 15,-13 14 1,26-14-16,-13 0 16,14-13-1</inkml:trace>
  <inkml:trace contextRef="#ctx0" brushRef="#br0" timeOffset="-5016.71">23680 10160 0,'-13'40'31,"13"-27"-31,-13 0 16,13 0-16,-13 14 0,13-1 16,0-12-16,-14-1 15,14 13-15,53-211 0,-106 383 16,53-184 0,-13-14-1,0-14 1,0 14-16,-1 0 15,1 14 1,0-14-16,0 0 0,-1 0 0,14 13 16,-13-13-16,0 0 15,13 13-15,13 0 16,0-13-16,1 14 16,12-14-16,-13 0 15,14 13 1,-1-13-16,1 0 15,-14 0-15</inkml:trace>
  <inkml:trace contextRef="#ctx0" brushRef="#br0" timeOffset="-3507.41">22847 10980 0,'0'27'16,"0"-14"-16,-13 0 0,13 0 0,-14 27 31,1-14-31,13-12 0,-13 12 0,13 1 15,0-14-15,0 0 0</inkml:trace>
  <inkml:trace contextRef="#ctx0" brushRef="#br0" timeOffset="-2872.97">22781 11602 0,'-14'-13'0,"1"26"16,0 0-16,0 0 0,-1 1 15,14-1-15,-13 0 0,13 0 0,0 1 16,0-1-16,13 0 15,-13 0-15,14 1 0,-14-1 0,26 0 16,-13 0-16,1-13 0,-1 0 16,0 0-16,0 0 15,1-13-15,-1 13 0,-13-13 16,0 0-16,13-1 0,-26 1 16,13 0-16,0 0 15,0-1-15,-13 1 0,13-13 16,-14 12-16,1 14 0,13-13 15,-13 0 1</inkml:trace>
  <inkml:trace contextRef="#ctx0" brushRef="#br0" timeOffset="1611.07">22834 11086 0,'-14'-13'31,"28"0"-15,-14-1-16,13 1 15,0 0-15,0 0 16,-13-1-16,13 14 16,1-13-16,-1 0 15,0 13-15,14 0 16,-14 13-16,0 0 16,-13 1-16,13-1 0,-13 13 15,14 14-15,-14-27 16,0 0-16,0 14 15,0-14-15</inkml:trace>
  <inkml:trace contextRef="#ctx0" brushRef="#br0" timeOffset="1874.96">22926 11126 0,'40'-14'0,"0"14"15,-120 14-15,199-28 0,-92 14 16,-14 0-16</inkml:trace>
  <inkml:trace contextRef="#ctx0" brushRef="#br0" timeOffset="2394.33">21921 12316 0,'119'0'15,"-80"14"-15,-25-14 16,-1 0-16,27 0 0,-27 0 16</inkml:trace>
  <inkml:trace contextRef="#ctx0" brushRef="#br0" timeOffset="2611.8">22212 12158 0,'66'53'31,"-53"-40"-31,-13 0 0,13 0 16,-13 0-16,0 1 0,0 25 16,0-25-16,-26 25 0,26-26 15,-27 1-15,27-1 16,-52-251-16,91 489 0,-65-224 0,-1-1 15,54-343-15</inkml:trace>
  <inkml:trace contextRef="#ctx0" brushRef="#br0" timeOffset="4042.61">22728 12105 0,'-27'66'15,"14"-26"-15,0-27 0,13 0 16,-13 13-16,13-12 0,-14-1 15,14 0-15,0 0 0,-13 1 0,13-1 16,0 0-16,-13 0 16,39-26 15,1-13-15,-14 26-16,0-14 15,0 14-15,1 0 16,12 0-1,-26 14-15,13-14 16,-13 13-16,14-13 0,-14 13 0,13-13 16,-13 13-16,13-13 0,-13 13 15,13-13-15,-13 14 0,14-14 0</inkml:trace>
  <inkml:trace contextRef="#ctx0" brushRef="#br0" timeOffset="4354.5">22966 12369 0,'13'-26'15,"0"13"-15,-13-1 16,14 1-1,-14 0-15,-14 13 32,1 13-17,0 14 1,13-14-16,13 0 16,14 13-1,-14-26 1,13 0-16,-13 14 15</inkml:trace>
  <inkml:trace contextRef="#ctx0" brushRef="#br0" timeOffset="4865.59">23310 12277 0,'-13'-14'0,"-1"28"16,41-14-16,-67 0 0,27 0 16,0 13-16,-1 0 15,1-13 1,13 13-16,-13 1 0,26-1 31,14-13-15,-14-13-16,0 13 15,0 0 17,-13 13-17,0 0 1,0 0-16,0 0 15,14-13-15</inkml:trace>
  <inkml:trace contextRef="#ctx0" brushRef="#br0" timeOffset="5252.88">23641 12065 0,'-14'26'0,"14"-12"15,-13-14-15,13 13 0,0 0 0,-13-13 16,13 13-16,0 1 0,0-1 16,0 0-16,0 0 15,0 1-15,-13-1 16,-1-13 15,1 13-31,-13 0 16,-1 0-1,14-13-15,13 14 0,-13-14 0,0 13 16,-1 0-16,14 0 16,-13-13-16,13 14 0,0-1 15,13 0 1,1-13-1,-1 0-15,13-13 16</inkml:trace>
  <inkml:trace contextRef="#ctx0" brushRef="#br0" timeOffset="6103.22">23958 12171 0,'0'-13'0,"-13"39"31,0 1-16,-1-14-15,14 0 0,0 13 16,0-12-16,0-1 16,0 0-16,14 0 15,-1-13-15,0 14 0,0-14 16,14-14 0,-14 14-16,-13-13 15,13 13-15,-13-13 0,13 0 0,-13-1 16,0 1-16,0 0 0,0 0 15,0 0-15,0-1 16,0 1-16,0 0 0,0 0 16,-13 13-16,26-14 15,1 28 17,-1-1-32,0 0 15,-13 0-15,0 1 16,0 12-16,0-13 0,0 14 31,0-14-31,0 0 16,13-13-1,1-13 1,-1 13-16,0-13 16,27-14-16,-27 14 0,0 0 15,40 0-15,-40-1 16,1 1-16,12 13 0,-13-13 15</inkml:trace>
  <inkml:trace contextRef="#ctx0" brushRef="#br0" timeOffset="6545.53">23151 12700 0,'-13'40'31,"0"-27"-31,13 0 15,0 0-15,0 14 0,0-14 0,-14 14 16,14 12-16,0-26 0,0 27 16,0-27-16,0 1 15,0-1-15,-13 0 0,13 14 16</inkml:trace>
  <inkml:trace contextRef="#ctx0" brushRef="#br0" timeOffset="7048.98">22939 12991 0,'27'-40'31,"-14"40"-31,159-13 47,-145 13-47,25-13 0,-38 13 0,12 0 15,1-13-15,-14 13 0,13 0 16,-13-14-16,1 14 0,-1 0 16,-13-13-16,13 13 15,-463 106-15,860-212 32,-423 119-17,0-13-15,0 14 16,0-14-16,13 13 0,-14-13 0,14 13 15,-13 0 1,26 1 0,1-14-16,-1 0 15,0 0-15,0 0 16,0-14-16,1 14 16,-1 0-16,0-13 0,0 13 15,1 13 1,-14 1-1,0-1 1,0 0 0,13-13-16,-13 13 0,13-13 15,0 0 1,1 0-16</inkml:trace>
  <inkml:trace contextRef="#ctx0" brushRef="#br0" timeOffset="7233.61">23654 12938 0,'-27'80'79,"14"-67"-64</inkml:trace>
  <inkml:trace contextRef="#ctx0" brushRef="#br0" timeOffset="7398.64">23720 12766 0,'0'-13'31</inkml:trace>
  <inkml:trace contextRef="#ctx0" brushRef="#br0" timeOffset="7622.85">24064 12594 0,'-13'40'31,"-133"291"16,133-318-32,13 0-15,-13 14 16</inkml:trace>
  <inkml:trace contextRef="#ctx0" brushRef="#br0" timeOffset="8051.62">22794 13269 0,'92'-27'15,"14"14"1,-66 13-16,13 0 0,0-13 0,13 13 15,-13 0-15,53 0 0,-53 0 16,0 0-16,-14 0 0,1 0 16,-14 0-16,27 13 0,-26-13 15,-14 0-15</inkml:trace>
  <inkml:trace contextRef="#ctx0" brushRef="#br0" timeOffset="8278.27">22609 13348 0,'317'13'32,"-449"-105"-32,330 198 0,318-53 46,-436-27-46,-27-13 16,-14 1-16,-26-14 16,1 13-16,-1 0 15</inkml:trace>
  <inkml:trace contextRef="#ctx0" brushRef="#br0" timeOffset="63305.61">9379 6773 0,'67'-26'0,"-54"26"0,0 0 0,0-13 16,14 13-16,-14-14 0,0 1 0,14 13 15,-1-13-15,-13 0 0,14 13 16,-1-13-16,1-1 0,-14 14 0,13-13 16,1 13-16,-14-13 0,0 13 0,14-13 15,-14 13-15,0 0 16,0 0-16,1 0 0</inkml:trace>
  <inkml:trace contextRef="#ctx0" brushRef="#br0" timeOffset="63543.89">9551 6853 0,'40'-27'15,"-13"14"-15,-14 13 0,0-13 16,14 13-16,-1-13 0,0-1 0,41-12 16,-41 26-16,80-27 15,-93 14 1</inkml:trace>
  <inkml:trace contextRef="#ctx0" brushRef="#br0" timeOffset="66185.54">12449 8969 0,'39'0'16,"-25"0"-16,-1 0 0,13-13 0,27 13 15,-26 0 1,-1 0-16,14-13 0,-14 13 0,1 0 15,52-13-15,-52 13 16,39-14 0,-13 14-1,-40 0-15,27 0 16,-27 0-16,0 0 0</inkml:trace>
  <inkml:trace contextRef="#ctx0" brushRef="#br0" timeOffset="66421.45">12859 8996 0,'26'-13'31,"-13"13"-31,14 0 16,-27-14-16,13 14 0,0 0 15,14 0 1</inkml:trace>
  <inkml:trace contextRef="#ctx0" brushRef="#br0" timeOffset="69529.69">17542 8864 0,'26'-27'0,"-12"27"16,12-13-1,0 13-15,-12 0 0,12-13 0,-13 13 16,14 0-16,26-14 15,-40 14-15,13 0 0,27-13 16,-39 13-16,-1 0 16,0 0-16,0 0 0,1 0 15</inkml:trace>
  <inkml:trace contextRef="#ctx0" brushRef="#br0" timeOffset="69775.22">17674 8916 0,'27'0'31,"-1"0"-31,14 0 15,-27-13-15,0 13 16,0 0-16,1 0 0,12 0 16</inkml:trace>
  <inkml:trace contextRef="#ctx0" brushRef="#br0" timeOffset="70417.7">18428 9446 0,'40'-14'16,"-27"14"-1,14-13-15,-14 13 16,0 0-16,0 0 0,1-13 0,38 13 15,-38 0 1,12-13-16,-13 13 16,1 0-16,-1 0 0,13 0 15</inkml:trace>
  <inkml:trace contextRef="#ctx0" brushRef="#br0" timeOffset="70738.85">18534 9525 0,'40'0'0,"-27"0"0,-13-13 16,13 13-16,0 0 0,14 0 15,-14 0-15,0 0 0,14 0 16,-14 0 0,0 0-1,0-13 1,1 13-16,-1 0 47</inkml:trace>
  <inkml:trace contextRef="#ctx0" brushRef="#br0" timeOffset="72213.85">22900 8983 0,'53'-14'0,"-40"14"0,13 0 0,-12 0 0,12-13 15,133 0 1,-120 13-16,1-13 0,0 13 15,-1-14-15,1 14 0,0 0 0,0-13 16,39 0 0,-66 13-16,14 0 0,-14 0 0,0 0 15,14-13-15,-14 13 16,13 0 0</inkml:trace>
  <inkml:trace contextRef="#ctx0" brushRef="#br0" timeOffset="72569.36">23178 9128 0,'39'0'0,"-12"-13"0,-93 26 0,145-26 0,-53 13 16,-12-13-16,12 13 0,0 0 16,1-14-16,-1 14 0,1-13 0,-1 13 15,1 0-15,39-26 16,-40 26-16,1 0 0,-14-13 0,14 13 15,-14 0-15,0-14 0,0 14 16,0 0-16,1 0 0,-1 0 16,-13-13-16,13 13 0,0 0 15,1 0 1</inkml:trace>
  <inkml:trace contextRef="#ctx0" brushRef="#br0" timeOffset="94045.53">17846 10226 0,'13'0'0,"1"0"16,12 0-16,-13 0 16,1 0-16,-1 0 0,79-13 15,1 0 1,-40 13-16,0 0 0,0 0 15,13-14-15,-13 14 0,119 0 16,-106 0-16,-13 0 0,0 0 16,0-13-16,0 13 0,-14 0 15,-12 0-15,12 0 0,-25 0 0,12 0 16</inkml:trace>
  <inkml:trace contextRef="#ctx0" brushRef="#br0" timeOffset="95489.65">17939 11986 0,'13'0'15,"0"-14"-15,27 14 16,-14-13-16,14 0 0,0 0 0,158-27 15,-132 27-15,14 0 0,-14-1 16,13 1-16,1 0 16,12-14-16,-12 14 0,-1 0 0,146-13 15,-159 12-15,0 1 16,-13 13-16,0-13 0,79 0 16,-92-1-16,39 14 15,-52-13 1,-14 13-16,13 0 15</inkml:trace>
  <inkml:trace contextRef="#ctx0" brushRef="#br0" timeOffset="101405.43">24315 11853 0,'53'-13'15,"-40"13"-15,14-13 16,-14 26-16,0-13 16,1 13-1,-1 1-15,0 38 16,-13-38-16,0 12 15,0 1-15,0 12 0,0-12 16,0 92-16,13-79 16,-13 52-16,0-52 15,0-14-15,0 14 0,13 39 16,-13-52 0,-13-1-16,13 1 0,0-1 0,0 1 0,0-14 15,-13 53 1,0-53-16,13 14 0,0-14 15,-13 0-15,13 14 0,-14-1 16,1-13 0,13 1-1</inkml:trace>
  <inkml:trace contextRef="#ctx0" brushRef="#br0" timeOffset="102718.28">24765 9618 0,'26'13'16,"-12"0"-1,-14 0 1,0 1-16,-14-1 0,14 0 15,0 13-15,0-12 0,-13 65 16,13-39-16,0-1 16,0 1-16,0 0 0,0-1 0,0 1 15,13 0-15,-13 13 0,14-14 0,-14 1 16,13 13-16,0 26 16,-13 1-16,0-40 15,0-1-15,0-12 0,0 12 0,0-12 16,-13 12-16,0-12 0,-1 26 15,-12 13 1,13-53-16,0 0 0,13 1 0,-27 25 16,27-25-1,-13-14-15,0 13 0,13 0 0,-14 0 16,1-13-16,0 14 0,0-1 0,-1-13 0,-25 26 16,12-26-1,1 13-15,-14 1 0,-39 12 16,26-13-16</inkml:trace>
</inkml:ink>
</file>

<file path=ppt/ink/ink9.xml><?xml version="1.0" encoding="utf-8"?>
<inkml:ink xmlns:inkml="http://www.w3.org/2003/InkML">
  <inkml:definitions>
    <inkml:context xml:id="ctx0">
      <inkml:inkSource xml:id="inkSrc0">
        <inkml:traceFormat>
          <inkml:channel name="X" type="integer" max="5760" units="cm"/>
          <inkml:channel name="Y" type="integer" min="-72" max="1080" units="cm"/>
          <inkml:channel name="T" type="integer" max="2.14748E9" units="dev"/>
        </inkml:traceFormat>
        <inkml:channelProperties>
          <inkml:channelProperty channel="X" name="resolution" value="186.40776" units="1/cm"/>
          <inkml:channelProperty channel="Y" name="resolution" value="66.20689" units="1/cm"/>
          <inkml:channelProperty channel="T" name="resolution" value="1" units="1/dev"/>
        </inkml:channelProperties>
      </inkml:inkSource>
      <inkml:timestamp xml:id="ts0" timeString="2022-01-29T14:58:27.882"/>
    </inkml:context>
    <inkml:brush xml:id="br0">
      <inkml:brushProperty name="width" value="0.05292" units="cm"/>
      <inkml:brushProperty name="height" value="0.05292" units="cm"/>
      <inkml:brushProperty name="color" value="#0070C0"/>
    </inkml:brush>
  </inkml:definitions>
  <inkml:trace contextRef="#ctx0" brushRef="#br0">3228 2487 0,'0'27'16,"0"-1"0,0-13-16,0 14 15,0-14-15,0 0 0,0 14 0,0-14 16,0 0-16,13 14 15</inkml:trace>
  <inkml:trace contextRef="#ctx0" brushRef="#br0" timeOffset="633.82">6165 2394 0,'26'0'0,"1"14"16,-14 25 0,-26-12-1,-1-14-15,1 14 0,0-1 16,-13-13-16,26 14 0,-14-14 0,1 0 15,0 0-15,0 1 16,13-1 0,13-13-1,0 0-15,53-13 16,-39 13 0,-1-14-16,14 14 0,-14-13 0,14 0 15,26 13-15,-39-13 16,-1 13-16,14 0 0,-14-14 0,1 14 15</inkml:trace>
  <inkml:trace contextRef="#ctx0" brushRef="#br0" timeOffset="1365.27">9644 2461 0,'13'-14'0,"14"14"16,-14 0 15,0 14-31,-26 12 16,13-13 0,-13 1-1,0-1-15,26 0 16,0 0-1,0 0 1,0 14 0,1-27-16,-1 26 15,-13-12-15,0-1 16,-27 27-16,14-40 16,0 13-16,-13 0 0,-1 0 0,-13 14 15,27-14-15,0-13 16,0 13-16</inkml:trace>
  <inkml:trace contextRef="#ctx0" brushRef="#br0" timeOffset="2032.52">13348 2514 0,'-26'13'0,"13"0"0,-27 40 16,0-13 0,27-27-16,0-13 0,-1 26 15,1-12 1,13-1-16,0 0 0,13 13 16,1-26-1,39 14-15,-40-14 16,13 0-16,1 0 0,-1 0 0,1 0 15,-1 0-15,1 0 16,-1-14-16,1 14 0,-1 0 0,-13-13 16,0 13-16</inkml:trace>
  <inkml:trace contextRef="#ctx0" brushRef="#br0" timeOffset="2253.09">13586 2421 0,'-13'13'15,"26"-26"-15,-39 26 0,13 0 0,13 14 0,-14-1 16,-12 40-16,13-26 16,-27 66-1,27-80-15,13 14 0,-13-13 0,13-1 0,-14 1 16,14 12-1,0-26-15</inkml:trace>
  <inkml:trace contextRef="#ctx0" brushRef="#br0" timeOffset="3160.1">17211 2394 0,'13'0'0,"-39"0"15,13 0 1,-14 14-16,1-14 0,13 0 0,-14 13 16,-26 0-1,27 0-15,12-13 0,1 14 16,0-14-16,13 13 0,-13-13 15,13 26-15,13-26 16,-13 14-16,13-14 0,-13 13 0,13 0 16,14 0-1,-14 0-15,0 1 0,1-1 0,12 13 16,-26-12-16,0-1 16,0 0-1,-13 0-15,0 1 0,-1-14 0,1 13 16,-13 0-16,-1 0 0,1-13 0,-1 13 15,-26 1-15,27-1 16,0 0-16,-14-13 0,27 13 16,-1-13-16</inkml:trace>
  <inkml:trace contextRef="#ctx0" brushRef="#br0" timeOffset="4005.34">21180 2143 0,'-146'146'16,"107"-107"-16,12 1 0,-12 53 15,25-54 1,14-12-16,-13-14 0,13 13 0,13-12 0,-13 12 15,0-13-15,14 1 0,12 25 16,-13-25 0,0-14-16,1 13 0,-1-13 0,0 0 15,0 0-15,1 0 0,-1-13 0,0-1 16,0-25 0,-26 25-16,0 1 15,0 0-15,-1 13 0,1-13 0,-13 13 16,-80-14-1,53 14-15</inkml:trace>
  <inkml:trace contextRef="#ctx0" brushRef="#br0" timeOffset="12182.09">20823 5384 0,'0'-13'16,"-27"26"-1,14 27 1,0-14-16,13-12 0,-13 12 16,-1 40-16,14-39 15,0 12-15,0-25 0,0 39 16,14-53-1,-14 13-15,13 0 0,-13 0 16,13-13-16,0 0 0,27 0 16,-27 0-16,0 0 0,1 0 15,-1-13-15,-13 0 0,13 0 16,0-1-16,1 1 0,-14 0 0,13 0 16,-13-40-16,0 0 31,-13 40-31,13-1 0,-27-25 15,27 25-15,-26 1 16,12 13-16,14-13 0,-13 13 16,0 0-1,-14 13-15</inkml:trace>
  <inkml:trace contextRef="#ctx0" brushRef="#br0" timeOffset="12550.21">20942 5358 0,'53'26'0,"-40"-12"15,13 25 1,-26-26-16,14 40 15,-14-39-15,0 12 0,0-13 16,0 0-16,0 1 0,0 12 16,0-13-16,0 1 15,0-41 32,13 1-31,0 26-16,-13-14 0,13 1 15,1 0-15,-14 0 0,13 13 0,0-27 16,0 14 0,14-13-1,-14 12-15</inkml:trace>
  <inkml:trace contextRef="#ctx0" brushRef="#br0" timeOffset="13085.47">21405 5159 0,'0'40'31,"0"0"-31,0-14 0,-27 80 16,14-27 0,13-26-1,0-39-15,13-1 0,-13 0 16,0 0-16,0 14 15,14-1 1,-28-52 15,-12 12-15,13 1-16,-1 13 16,1 0-16,0 0 0,0 0 15,-1 13-15,-25 1 16,39-1-16,-13-13 0,13 13 0,-14-13 15,14 27 1,0-14-16,14-13 0,-1 0 16,0 0-16,0 0 0,14 0 15,39-13 1,-13-1-16,13-25 16,-53 25-16,14 1 0,-14 13 15,0-13-15,0 0 0,1 13 16,-1-13-16,0 13 15,0 0 1,-13 26 0,0-13-1,0 0-15,0 1 16,13-1-16,-13 0 16,14-13-16</inkml:trace>
  <inkml:trace contextRef="#ctx0" brushRef="#br0" timeOffset="13251.34">21709 5384 0,'-13'-13'16,"0"13"-1,-1 13 1</inkml:trace>
  <inkml:trace contextRef="#ctx0" brushRef="#br0" timeOffset="13593.43">21815 5411 0,'0'13'15,"0"0"1,0 14 0,-13-14-16,13 0 15,0 0-15,0 1 16,0-1 0,26-26 15,-26-1-31,27 14 15,-14-13-15,0 13 0,0 0 16,1-13-16,12 13 16,-13 0-16,-13 13 0,27-13 15,-14 0 1,-13 13-16,13 1 16,0-14-16,1 0 0</inkml:trace>
  <inkml:trace contextRef="#ctx0" brushRef="#br0" timeOffset="14350.72">22318 5384 0,'-14'-13'15,"1"13"-15,0 0 16,-27 0 0,27 13-16,0-13 0,0 14 15,-1-1-15,1 0 16,0-13-16,13 13 15,0 0 1,13-13 0,-13 14-1,13-14-15,1 0 16,-1 0-16,0 13 16,0 0-1,0-13-15,1 0 0,-1 13 16,0-13-16,0 0 15,1-13-15,25 0 16,-25 13-16,-1-13 0,0-1 0,13 1 16,14-53-1,-13 40-15,-14-1 0,40-79 16,-40 67-16,0 12 16,0 1-16,14-27 15,-27 40-15,13-1 0,-39 54 31,12 13-15,14-27-16,0 1 16,0-1-16,0 1 0,0-1 0,14-13 15,-1 54 1,0-41-16,14 1 16,-14-14-16,0-13 0,-13 13 0,13-13 15,0 13-15</inkml:trace>
  <inkml:trace contextRef="#ctx0" brushRef="#br0" timeOffset="25661.33">17171 5437 0,'27'-13'0,"-27"0"16,-27 26 15,1 0-16,13 0-15,0 1 0,-1-1 0,1 0 16,-53 66 0,53-65-16,-1 12 0,1-13 0,-13 40 15,26-26 1,0-14-16,-13 0 0,26 27 16,-13-27-1,26 14-15,1-27 16,-14 13-16,0-13 0,0 0 15,1 0-15,39 0 16,-40 0-16,0 0 16,0-13-16</inkml:trace>
  <inkml:trace contextRef="#ctx0" brushRef="#br0" timeOffset="26090.46">17343 5609 0,'0'0'15,"-13"13"1,0 1-16,0-14 15,13 13-15,0 0 0,-13 0 16,13 1-16,0-1 16,0 0-16,13 13 15,0-26-15,0 0 0,0 14 16,14-14 0,-14-14-16,0 14 0,14-13 15,-14-13 1,0 26-16,-13-27 15,0 14-15,-13 0 16,13 0-16,-13-1 0,0 1 16,-1 13-1,-12 0 1,13 13 0</inkml:trace>
  <inkml:trace contextRef="#ctx0" brushRef="#br0" timeOffset="26419.29">17502 5569 0,'0'0'0,"13"14"16,-13-1-1,0 13 1,0-12-16,14 12 15,-14-13 1,26-13 15,-13-13-15,1 0-16,-1 13 0,0 0 0,-13-13 16,13 13-16,0 0 0,1 0 15,12 0 1,-26 13-16,13-13 15,1 0-15,-14 13 16,13-13-16,0 0 0,14 13 16</inkml:trace>
  <inkml:trace contextRef="#ctx0" brushRef="#br0" timeOffset="26649.01">17965 5358 0,'0'-40'0,"0"80"31,-13-14-15,13 1 0,0-14-16,0 0 0,0 14 0,0-14 15,0 13-15,0-12 0,0-1 0,0 13 16,0-13-16,13 1 0,-13-1 15,0 0-15,0 0 0,0 1 0,0-1 16</inkml:trace>
  <inkml:trace contextRef="#ctx0" brushRef="#br0" timeOffset="27006.31">17793 5583 0,'13'-14'0,"1"14"0,-1 0 15,0-13-15,14 13 16,12-13-16,1 0 16,-14 0-1,-12 13-15,-1-14 0,13 14 0,-12-13 16,-1 13-16,0 0 0,0-13 0,1 13 15,-1 0-15,-13-13 0,13 13 16,0 0-16,0 0 16,1 13-1,-14 0 1,13 0-16,-13 1 0,13 12 16,-13-13-16,0 0 15,0 14 1,13-14-16</inkml:trace>
  <inkml:trace contextRef="#ctx0" brushRef="#br0" timeOffset="27183.23">18269 5384 0,'0'-13'0,"0"26"0</inkml:trace>
  <inkml:trace contextRef="#ctx0" brushRef="#br0" timeOffset="27653.37">18455 5424 0,'-14'13'15,"14"0"-15,0 1 16,0-1-16,0 0 16,0 0-16,0 1 15,0 12 1,14-26-1,-1-13 1,-13 0-16,13 13 0,0-14 16,1 1-16,-1 0 0,0 13 15,0-13-15,1 13 16,-1 0-16,-13-14 0,26 28 16,-13-14-16,1 13 0,-1-13 15,-13 13-15,26 14 31,-26-14-31,14-13 0,-1 13 16</inkml:trace>
  <inkml:trace contextRef="#ctx0" brushRef="#br0" timeOffset="27991.09">18785 5411 0,'0'-13'0,"-13"13"16,0 13 0,0-13-16,13 13 15,0 0-15,-14 0 16,28 1 0,-14-1-16,13-13 0,13 0 15,-12 0 1,-1 0-16,-13-13 0,13 13 0,14-14 31,-14 1-15,0 13-16,0 0 15,-13 13 1,0 1-16,0-1 16,13 0-1,1 0 1</inkml:trace>
  <inkml:trace contextRef="#ctx0" brushRef="#br0" timeOffset="28317.7">19116 5384 0,'-13'0'16,"26"0"-16,-39 0 0,-1 0 15,14 14-15,13-1 0,-13 0 16,0 0-16,13 0 0,-14-13 16,14 27-1,14-1-15,-1-12 16,0-14-16,0 0 16,0 0-1,1 0-15,-1 0 0,-13-14 16,13 14-1,-13-13-15,0 0 0,13 0 16,-13-1 15,-13 14-15,0 0-16</inkml:trace>
  <inkml:trace contextRef="#ctx0" brushRef="#br0" timeOffset="28914.19">19209 5371 0,'0'-13'0,"0"39"31,-13 1-16,13-14-15,0 0 0,13 0 16,0 1 0,0-14-16,14 13 15,12-26 1,-12-1 15,-14 14-31,-13-13 0,13 13 0,-13-13 16,14 0-1,-1 13 64,0 0-64,0-13 1,0 13-16,1 0 15,-1-14 1,0 14-16,0-13 16,1 13-1,-1 0 1,0 13-16,0 1 16,-13-1-1,0 0 1,0 13-1,-13-26-15,0 14 0,13-1 16,-13-13-16,-1 13 0,1 0 16,0-13-16</inkml:trace>
  <inkml:trace contextRef="#ctx0" brushRef="#br0" timeOffset="29067.3">19566 5450 0,'0'0'0,"0"-13"15,-13 13 1</inkml:trace>
  <inkml:trace contextRef="#ctx0" brushRef="#br0" timeOffset="40430.51">13084 5503 0,'0'-13'0,"13"40"32,-13-14-32,0 0 15,0 0-15,0 0 0,0 27 16,0-13-16,0-14 0,0 0 15,0 14-15,0-14 0,0 13 16,0-13-16,0 1 0,0-1 0,13 0 16,-13 0-16,0 1 15</inkml:trace>
  <inkml:trace contextRef="#ctx0" brushRef="#br0" timeOffset="40890.31">13004 5517 0,'27'-67'0,"-14"67"15,0 0-15,53-13 16,-52 13-16,12 0 15,-13 13-15,14 1 0,12-1 16,-25 0-16,-1 0 0,13 40 16,-12-26-1,-14-14-15,0 0 0,0 0 0,0 1 16,-14 25 0,1-12-16,0-14 15,13 0-15,-13 0 0,-1 1 16,1-1-16,0-13 0,0 13 15</inkml:trace>
  <inkml:trace contextRef="#ctx0" brushRef="#br0" timeOffset="41085.73">13414 5609 0,'14'-13'16,"-14"26"-16,0 0 0,0 1 16,13-1-1,-13 27 1,0-27-16,0 0 0,0 0 16</inkml:trace>
  <inkml:trace contextRef="#ctx0" brushRef="#br0" timeOffset="41554.35">13533 5503 0,'0'14'15,"14"12"1,-1-13-16,-13 0 0,13 1 16,-13-1-16,13-13 0,-13 13 0,0 0 15,14 1-15,-14-1 16,-14 13-1,1-26 1,13 14-16,-13-14 0,0 0 16,-14 13-1</inkml:trace>
  <inkml:trace contextRef="#ctx0" brushRef="#br0" timeOffset="42149.55">13772 5437 0,'-14'0'15,"1"13"-15,13 1 0,-13 12 16,13-13-16,0 1 16,0-1-16,0 0 0,0 0 15,0 0-15,13 14 16,0-14-16,1-13 16,-14 13-16,13-13 0,0 0 15,0 0 1,0 0-1,1-13-15,-14 0 16,0 0-16,13 13 16,-13-14-16,13 1 0,-13 0 15,13 13-15,1-13 16,12 13 0,-13 13-1,1-13-15,-14 13 0,13-13 16,-13 13-16,13-13 0,-13 14 15,13-1 1,-13 0 0,13-13-1,1-13 17,-1 0-17,-13-1-15,13 1 0,-13 0 0,13 0 16,1 0-16,-1-1 0,0 1 15,0 0-15,1 13 0,-14-13 16</inkml:trace>
  <inkml:trace contextRef="#ctx0" brushRef="#br0" timeOffset="42962.08">14195 5649 0,'26'-27'31,"-12"14"-31,-1 0 16,0 0-16,0-1 15,-13 1-15,14 13 0,-14-13 16,13 0-16,-13 39 62,0-13-62,13 14 16,-13-14 0,13-13-16,14 0 15,-14 0-15,27 0 16,-27 0-16,0-13 15,13 0-15,-26-1 16,14 1-16,-1 0 0,0 0 16,0 0-16,1-27 0,-14 13 15,26-25 1,-26 25-16,0 14 0,13 0 0,-13-1 16,0 1-16,0 0 0,0 0 15,-13 26 32,13 0-47,-13 27 16,13-27-16,13 0 15,-13 1-15,0-1 0,0 0 0,13-13 16,-13 13-16,14 0 0,-1-13 16,0 0-16,-13 14 0,13-14 15,14-14 1,-14 14-16,0 0 15,0 0 1,-13 14 0,14-14-1,-1 13-15,0-13 16,0 0-16,1 0 16,-1 0-16</inkml:trace>
  <inkml:trace contextRef="#ctx0" brushRef="#br0" timeOffset="43161.99">14420 5358 0,'39'-13'0,"-12"-1"0,-14 14 15,14 0-15,-1-13 0,-13 13 0,14 0 16,-14-13-16,13 13 0,-12 0 16,-1 0-16,0 0 0</inkml:trace>
  <inkml:trace contextRef="#ctx0" brushRef="#br0" timeOffset="43683.25">13639 4961 0,'-13'-13'0,"13"39"31,0-13-31,0 1 0,0-1 0,0 0 16,0 40 0,0-40-16,0 14 0,0-1 15,0-13-15,0 1 0</inkml:trace>
  <inkml:trace contextRef="#ctx0" brushRef="#br0" timeOffset="44008.38">13533 5159 0,'-13'14'15,"13"-1"1,13 0-16,1 0 15,-14 1-15,13-14 0,-13 13 16,13-13-16,0 13 16,1-13-16,-1 0 15,0 0 1,0-13-16,0 0 16,-13-1-1,14 14-15,-1-13 16,0 0-16,0 13 15</inkml:trace>
  <inkml:trace contextRef="#ctx0" brushRef="#br0" timeOffset="44718.72">18349 4895 0,'-13'-27'16,"13"54"0,0-14-16,0 0 15,0 14-15,0-14 0,-14 13 16,14-12-16,0-1 16,0 0-16,0 0 0,0 1 15</inkml:trace>
  <inkml:trace contextRef="#ctx0" brushRef="#br0" timeOffset="45018">18243 4974 0,'0'27'31,"0"-14"-31,0 0 16,13 0-16,0 14 16,1-14-1,-1-13-15,13 0 16,-12 0 0,-1 0-16,0-13 0,0 13 15,1-13-15,-1 13 0,0-14 16,0 14-16,27-26 0,-14 13 15,1-1-15,13 1 0,-1 0 16</inkml:trace>
  <inkml:trace contextRef="#ctx0" brushRef="#br0" timeOffset="45529.74">20862 4749 0,'-26'80'32,"26"-67"-32,0 0 15,0 0-15,-13 1 0,13-1 0,-14 13 16,14-13-16,0 14 15,-13-14-15,13 0 16,-13 1-16</inkml:trace>
  <inkml:trace contextRef="#ctx0" brushRef="#br0" timeOffset="45838.14">20730 4895 0,'-13'0'15,"0"13"-15,13 0 16,13 14 0,-13-14-16,13-13 15,-13 13-15,13-13 16,1 0-16,12 0 15,0 0 1,-12-13-16,-1 13 16,0-13-16,0 13 15,1-14-15,-1 1 16,0 0 0</inkml:trace>
  <inkml:trace contextRef="#ctx0" brushRef="#br0" timeOffset="53646.42">10663 2950 0,'39'0'16,"-25"-13"-16,12 13 15,-13 0-15,14 0 0,-14 0 0,0-13 16,27 13-16,-27 0 0,14 0 16,-14 0-16,0 0 0,0 0 15,1 13-15,-1-13 0,0 13 16,0 0-1,-13 1-15,13-1 0,-13 0 16,0 13-16,14 1 0,-14-14 0,0 14 16,0-1-16,13 1 0,-13 52 15,13-39-15,-13-1 0,0 14 16,13-13-16,1 0 0,-14-1 0,13 14 16,0 0-16,0-13 0,14 13 15,-14-14-15,0 14 0,0-13 16,1 0-16,-1-1 0,0 41 15,0-41-15,-13-12 0,0 13 16,0-14-16,0 1 0,0-1 0,0 0 16,-13 41-16,13-41 15,0 0-15,-13 41 0,0-41 16,13-13-16,-14 14 0,14-1 16,0-13-16,0 14 0,0-14 0,0 0 15,0 14-15,0-14 0,0 0 0,0 1 16,0-1-16,0 0 0,0 0 15,0 0 1,0 1 0,0-1-16,0 0 31,-13-13-31,0 13 0,0-13 16,-1 0-16,-25 14 15,26-14-15,-1 0 0,-12 0 16,-1 13-16,14-13 0,-26 0 0,-1 13 15,0-13-15,-13 0 0,14 0 16,-14 0-16</inkml:trace>
  <inkml:trace contextRef="#ctx0" brushRef="#br0" timeOffset="54715.18">8943 2937 0,'-93'13'0,"80"-13"0,-27 0 15,14 13-15,-1-13 16,14 0-16,0 0 0,0 14 16,-14-1-16,14-13 15,0 13-15,0 0 0,13 0 16,-14 1-16,14-1 16,0 0-16,0 0 0,-13 14 15,13-14-15,0 14 0,0-14 0,0 13 0,0 1 16,0 26-16,0-14 15,0 1-15,13 0 0,-13 13 0,0-14 16,14 14-16,-14-13 0,0 13 0,13 0 16,-13 13-16,0-13 0,13 66 15,-13-79-15,0 12 0,0 1 16,0 93-16,0-106 16,0-1-16,0 1 0,0-14 15,0 1-15,0-1 0,0 1 0,-13-1 16,13 14-16,0-27 15,0 14-15,0-14 0,0 0 0,0 0 16,0 1-16,0-1 0,0 0 16,13 0-1,-13 0-15,0 1 16,13-14-16,-13 13 0,14 0 16,-1-13-1,-13 13-15,26-13 0,-13 0 16,1 0-16,-1 0 0,0 0 15,0 14-15,1-14 0,-1 0 16,27 0-16,-27 0 0,0 0 0,0-14 16,14 14-16,-14 0 0,0 0 15,0 0-15,1 0 0,-1 0 16,0 14-16,0-14 0,1 0 16,-1 0-16</inkml:trace>
  <inkml:trace contextRef="#ctx0" brushRef="#br0" timeOffset="102064.2">10028 4855 0,'13'79'16,"-13"-65"-16,0-1 0,0 13 0,0-12 15,0-1-15,0 0 16,0 14-16</inkml:trace>
  <inkml:trace contextRef="#ctx0" brushRef="#br0" timeOffset="102458.48">9882 5067 0,'40'26'0,"-27"-13"0,0-13 0,14 40 15,-14-40 1,0 13-16,0-13 0,1 14 15,-1-14-15,0 0 0,0 0 16,1-14-16,-1 14 0,0-13 0,0 0 16,14 0-16,-14-1 0,-13 1 15,13 0-15,0 0 0,1 0 0,-1-1 16,0 1-16,-13 0 0</inkml:trace>
  <inkml:trace contextRef="#ctx0" brushRef="#br0" timeOffset="104150.26">9366 5689 0,'0'26'47,"0"-13"-47,0 0 0,0 40 16,0-39-16,0-1 0,0 0 15,0 0-15,0 1 0,0 12 16,0 0-16,0-12 15,0-1-15,0 0 16</inkml:trace>
  <inkml:trace contextRef="#ctx0" brushRef="#br0" timeOffset="104558.05">9379 5755 0,'0'-14'15,"27"28"1,-1 25-1,-12-25-15,-1-1 16,-13 0-16,13 0 0,0 1 16,-13-1-16,14 0 0,-1 0 15,0 0-15,0 1 16,0-28 0,1 14-1,-14-13-15,0 0 0,0 0 16,13 0-16,-13-1 0,0 1 15,0 0-15,0-14 0,0 14 0,0 0 0,0 0 16,0-1-16,0 1 16,13 13-16,-13-13 0,0 0 15</inkml:trace>
  <inkml:trace contextRef="#ctx0" brushRef="#br0" timeOffset="104853.45">9644 5662 0,'27'79'0,"-14"-65"16,0-1-16,-13 0 0,13 0 16,0 1-16,1-1 15,-1-13-15,0 13 0,0-13 0,1 0 16,-1 0-16,0 0 0,0 0 15,0-13-15,1 0 16,-14-1-16,0 1 16,-14 0-1,14 0-15,-13 13 0,13-14 0,-13 1 0,0 13 16,13-13-16,-13 13 0,-1 0 16,-12 0-1,-1 0-15</inkml:trace>
  <inkml:trace contextRef="#ctx0" brushRef="#br0" timeOffset="105385.74">9988 5596 0,'13'13'0,"-13"0"16,0 1 0,0-1-16,0 0 0,13 0 15,-13 1-15,0-1 0,0 0 16,0 0 0,0 0-16,0 1 15,14-14 1,-1-14-1,-13 1-15,13 13 16,0-13 0,-13 0-16,14 13 0,-1 0 15,0 0-15,0 0 16,1 0 0,-14 13-1,13-13-15,-13 13 16,13-13-16,0-13 31,0-13-15,1 12-16,-1 1 15,-13 0-15,13 13 16,0 0-16,14 0 16,-27 13 15,13 0-31,0 1 15</inkml:trace>
  <inkml:trace contextRef="#ctx0" brushRef="#br0" timeOffset="105558.38">10411 5569 0,'14'14'31,"-14"-1"-15,0 0-16,0 0 0,0 1 0,0 12 31,13-13-31,-13 1 0</inkml:trace>
  <inkml:trace contextRef="#ctx0" brushRef="#br0" timeOffset="105714.29">10438 5398 0</inkml:trace>
  <inkml:trace contextRef="#ctx0" brushRef="#br0" timeOffset="106219.23">10742 5530 0,'0'13'16,"0"27"15,0-27-31,0 0 0,0 0 0,0 1 16,0-1-1,0 0 1,13-39 15,-13 12-31,27-12 16,-14-1-1,0 27-15,-13-13 0,13 13 0,14-13 32,-14 13-17,0 13-15,1-13 0,-1 13 16,-13 1-16,13-1 16</inkml:trace>
  <inkml:trace contextRef="#ctx0" brushRef="#br0" timeOffset="106833.61">11099 5490 0,'-13'-13'16,"0"13"-16,0 13 15,-1-13-15,1 13 0,0-13 16,13 14-16,-13-1 16,-1 0-16,14 0 15,0 0-15,-13-13 0,13 14 16,13-1-1,1-13 1,-1 0 0,13 0-1,-12 13 1,-1-13 0,13 0-1,-13 0-15,1 0 16,-1-13-16,0 0 0,0 13 15,-13-14-15,14 1 0,-1 0 16,-13 0-16,13-14 0,-13 14 0,13-13 16,-13-1-16,0-12 0,0 12 15,14-13-15,-14 14 0,0-1 0,0 1 16,0 13-16,13 0 0,-13-1 0,0 1 16,0 0-16,-13 39 31,13 1-31,0-1 0,-14 1 0,14-1 15,14 1-15,-14-1 0,13 40 16,0-39-16,0-1 16,0-13-16,-13 1 0,14-1 15,-1 0-15,0 0 16,0-13-16,1 13 0,-1-13 16</inkml:trace>
  <inkml:trace contextRef="#ctx0" brushRef="#br0" timeOffset="110394.74">6324 4882 0,'0'-27'0,"13"40"47,-13 1-47,0-1 16,0 26 0,13-25-16,-13 12 0,0-13 0,0 14 15,0 13-15,0-27 0,0 0 16,13 0-16,-13 0 0,0 1 15,0-1-15,0 0 0,0 0 16</inkml:trace>
  <inkml:trace contextRef="#ctx0" brushRef="#br0" timeOffset="110974.54">6231 5080 0,'13'0'0,"0"13"15,1-13 1,12 27 0,-26-14-16,13 0 0,14 14 15,-14-14-15,-13 0 0,13 0 16,0-13-16,1 14 0,-1-1 15,0-13-15,0 0 0,1 0 16,12 0-16,-26-13 16,13 13-16,1-14 0,-1 1 15,0 0-15,0 0 0,0-1 0,1 1 16,-1 0-16,13-14 16,-12 14-16,-1 0 0</inkml:trace>
  <inkml:trace contextRef="#ctx0" brushRef="#br0" timeOffset="123245.08">4802 3850 0,'-13'0'16,"0"0"-16,-1 0 31,54 0 0,-27-14-31,1 14 16,25-13-1,-25 13-15,-1-13 0,0 13 16,0-13-16,0 0 16,1 13-16,-14-14 15,13 1 1,-26 40 15,13-14-31,0 0 16,13 0-16,-13 0 0,0 14 15,0-1-15,0-12 0,13-1 16,-13 0-16,0 0 16,0 1-16,0-1 15,13-13-15,-13 13 0,14 0 16</inkml:trace>
  <inkml:trace contextRef="#ctx0" brushRef="#br0" timeOffset="124050.15">4855 4379 0,'0'-13'0,"0"39"16,0-13 0,0 1-16,0 25 15,0-26-15,0 1 0,0-1 16,13 0-16,-13 0 0,0 14 15,0-14-15,0 0 16,0 1-16</inkml:trace>
  <inkml:trace contextRef="#ctx0" brushRef="#br0" timeOffset="124842.44">4802 4392 0,'27'-40'15,"-14"40"-15,0 0 0,0-13 0,1 0 16,-1 13-16,13-13 0,-13 13 16,27-14-16,-27 1 15,14 13-15,-14-13 0,0 13 16,1 0-16,-14 13 16</inkml:trace>
  <inkml:trace contextRef="#ctx0" brushRef="#br0" timeOffset="125006.79">4855 4498 0,'27'0'0,"25"-13"16,-38 13-1,-1-14-15,40 1 0,-40 13 16,14-13-16,-1 0 15,-13 13-15,14-13 0</inkml:trace>
  <inkml:trace contextRef="#ctx0" brushRef="#br0" timeOffset="134097.35">5689 5953 0,'0'-13'16,"-14"13"-16,14-13 15,0 52 16,0-12-31,0-14 16,0 13-16,0-12 0,0 12 16,0-13-16,0 14 0,0-14 0,0 0 0,14 14 15,-14-14-15,0 0 0,0 0 16,0 1-16,0-1 0,13 0 0,-13 0 16,0 1-1</inkml:trace>
  <inkml:trace contextRef="#ctx0" brushRef="#br0" timeOffset="134501.29">5675 5980 0,'14'26'31,"-1"14"-15,0-27-16,0 0 0,-13 0 15,13 1-15,1-1 0,-1 0 16,0 0-16,0 1 15,1-1-15,12-26 16,-13-14 0,-13 1-1,14-14-15,-14 27 0,0-14 16,0 1-16,0 13 0,0-14 16,-14 14-16,14-14 0,0 14 0,0-26 15,0 25-15,0 1 16,-13 0-16</inkml:trace>
  <inkml:trace contextRef="#ctx0" brushRef="#br0" timeOffset="134777.6">5874 5940 0,'26'79'0,"-13"-66"15,1 1-15,-1-14 0,0 13 0,0 0 16,1-13-16,-1 13 0,0-13 16,0 0-16,0 0 0,14 0 15,-14-13-15,0 13 0,-13-13 16,0 0 0,0-1-16,-13 1 0,13 0 15,-13 13-15,13-13 0,-13 13 16,-1-13-16,1 13 0,0 0 0,0 0 15,0 0-15,-1 0 0,1 0 16,0 0-16,0 0 0,-1 13 0</inkml:trace>
  <inkml:trace contextRef="#ctx0" brushRef="#br0" timeOffset="135267.29">6085 5900 0,'14'0'0,"25"13"15,-39 1 1,0-1-16,14-13 0,-14 13 16,13 14-1,0-14-15,-13 0 0,13 0 16,-13 0-16,13-26 47,-13 0-47,14 13 15,-1-13 1,-13 0-16,13 13 0,0 0 16,1 0-1,12 0 1,-13 13-1,1-13-15,-1 0 32,0 0-17,0-13-15,0 13 16,1 0-16,12 0 31,-13 0-31,1 0 16,-14-14-16,13 14 15,0 0-15</inkml:trace>
  <inkml:trace contextRef="#ctx0" brushRef="#br0" timeOffset="135406.91">6535 5913 0,'0'-13'0,"13"0"16,1 26 15,-14 0-16,13 1-15,-13-1 0,0 0 16,0 0-16,0 1 16</inkml:trace>
  <inkml:trace contextRef="#ctx0" brushRef="#br0" timeOffset="135577.95">6562 5689 0,'-14'0'0,"1"13"16,13 0 0</inkml:trace>
  <inkml:trace contextRef="#ctx0" brushRef="#br0" timeOffset="135923.25">6668 5821 0,'0'13'0,"13"14"31,-13-14-31,0 0 0,0 0 15,0 0-15,0 1 16,0-1-16,13-26 47,0-1-47,0-12 16,1 13-1,-1 0-15,13-1 16,1 14-1,-14 0 1,-13 14-16,13-14 0,0 0 16,1 13-1</inkml:trace>
  <inkml:trace contextRef="#ctx0" brushRef="#br0" timeOffset="136562.43">7064 5794 0,'-13'0'16,"26"0"-16,-26-13 15,0 13-15,0 0 16,-1 0-1,1 13-15,0-13 16,0 14 0,0-1-1,-1 0 1,28 0 15,-1-13 0,13 0-31,-13 0 32,1 0-17,-1 0-15,-13 14 0,13-14 16,0 0 0,1 0-1,-14-14-15,13 14 0,0-13 16,0 0-16,-13 0 0,14 13 15,-1-14-15,-13-12 0,13 13 16,-13-1-16,13 1 0,-13-13 16,0 13-16,13-1 0,-13-12 0,0 13 15,0-1-15,0 1 0,14 13 0,-14-13 16,0 0-16,-14 26 31,1 27-15,13-27-16,0 0 0,0 0 15,13 1-15,-13-1 0,14 0 16,-14 0-16,13-13 0,-13 13 0,13-13 16,0 14-16,1-14 15,-1 13-15,0-13 16</inkml:trace>
  <inkml:trace contextRef="#ctx0" brushRef="#br0" timeOffset="137204.1">6429 6324 0,'40'-40'0,"-27"40"0,14-13 16,65-40-1,-65 26-15,13 14 0,-1 0 0,-12-14 16,12 14-16,1 0 0,-14 0 0,1-1 16,-1 1-16,14 0 15,-27 13-15,1 0 0,-1 0 16</inkml:trace>
  <inkml:trace contextRef="#ctx0" brushRef="#br0" timeOffset="137389.1">6469 6390 0,'27'0'0,"-1"-14"0,-13 1 16,27 0-16,-14 0 0,14-14 15,0 14-15,-1-13 0,-12 12 0,13 1 16,-1-13-16,1 12 0,0 1 15,-14-13-15,1 26 0,-1-13 16</inkml:trace>
  <inkml:trace contextRef="#ctx0" brushRef="#br0" timeOffset="138171.18">9790 5980 0,'79'-40'0,"-53"27"15,14-1-15,0 1 0,-1 0 0,14 13 16,-13-13-16,53-14 0,-54 14 15,1 0-15,0 13 0,-1-13 16,-12 13-16,-1 0 0,-12 0 0,-1 0 16,0 0-16</inkml:trace>
  <inkml:trace contextRef="#ctx0" brushRef="#br0" timeOffset="138382.18">10054 6019 0,'53'-26'16,"-40"26"-16,1-13 0,-1 13 16,13-14-16,1 14 15,-14-13-15,0 13 0,0 0 0,14-13 16,-14 13-16,14-13 15</inkml:trace>
  <inkml:trace contextRef="#ctx0" brushRef="#br0" timeOffset="155664.96">1588 3850 0,'13'-14'0,"-13"41"47,13-1-32,-13-12-15,0-1 0,0 0 16,0 27-1,0-27-15,0 0 0,0 0 0,0 1 16,0-1 0,0 0-16</inkml:trace>
  <inkml:trace contextRef="#ctx0" brushRef="#br0" timeOffset="156444.76">1654 4405 0,'-14'14'31,"14"25"-15,0-26 0,14 14-16,-14-14 15,0 0-15,13 14 0,0-14 16,0 0 0,1-13-16,-1 0 15,13-13-15,-13 0 16,1 0-16,-1-14 15,0 14-15,-13 0 16,0-1-16,0 1 0,-13-13 16,13 13-16,-13-1 0,-1 1 15,-38 13 1,38 0-16,-12 0 0</inkml:trace>
  <inkml:trace contextRef="#ctx0" brushRef="#br0" timeOffset="158540.4">1654 3678 0,'66'0'0,"-53"0"0,0 0 15,0 0-15,-13 13 0,14-13 16,-14 13-16,13-13 0,0 40 16,-13-14-16,0-12 0,13 12 15,-13 14-15,14-1 16,-1-12-16,13 92 15,-12-79-15,-1-14 0,13 53 16,1-39-16,-14 0 0,0-14 16,14 14-16,-14 0 0,0-14 0,14 40 15,-14-39-15,-13-1 16,13 27 0,0-26-16,-13-14 0,0 0 0,13 0 15,-13 0 1,0 1-16,-13-1 0,0 0 15,-27 14 1,27-27 0,-13 13-16,12-13 0</inkml:trace>
  <inkml:trace contextRef="#ctx0" brushRef="#br0" timeOffset="159270.34">1230 3770 0,'0'14'16,"0"12"0,0-13-16,14-13 0,-14 13 15,0 1-15,13-1 0,-13 0 16,13 14-16,-13-1 0,13 1 16,-13-1-16,27 80 15,-14-66-15,-13-14 0,13 14 16,0 52-16,-13-52 15,0-14-15,0 1 0,0 13 0,0 12 16,0-25-16,0 13 16,0 26-16,0-53 15,0 0-15,0 14 0,0-14 0,14 0 16,-1 14 0,0-27-16,0 13 15,1-13-15,-1 0 0,0 0 0,0 0 16,53 0-1,-52-13-15,12 13 0,-13 0 0,1 0 16,-1 0-16</inkml:trace>
  <inkml:trace contextRef="#ctx0" brushRef="#br0" timeOffset="160309.89">1336 3717 0,'80'-39'0,"-67"25"0,0 14 0</inkml:trace>
  <inkml:trace contextRef="#ctx0" brushRef="#br0" timeOffset="164204.95">3387 3770 0,'39'0'0,"-25"0"0,-1-13 15,0 13-15,0 0 16,0 0 0,1 0 15,-14 27-15,0-14-16,13 26 15,-13-12-15,0-1 16,0 1-16,13-1 0,-13 1 0,13-1 15,-13 14-15,14 0 0,-14-1 16,13 1-16,-13-14 0,13 14 0,0 26 16,1-39-16,-1-1 15,13 40 1,-13-39-16,-13-14 0,14 0 0,-1 14 0,-13-14 16,13 0-16,14 14 15,-27-14-15,13 0 16,-13 0-1,-13 1 1,-14-1 0,14 0-16,-14-13 0,14 13 0,-40 0 15,27-13 1,-14 14-16,14-1 0,-1-13 0,1 13 0,13-13 16</inkml:trace>
  <inkml:trace contextRef="#ctx0" brushRef="#br0" timeOffset="165114.18">2553 3664 0,'-66'-13'15,"53"13"-15,-14 13 16,14-13-16,0 0 16,0 14-16,-1-1 15,1-13-15,13 13 0,-13 0 16,13 1-16,-13-1 0,13 0 0,0 0 15,-13 14-15,13-14 0,0 53 16,0-39-16,-14-1 16,14 1-16,0-1 15,0 0-15,0 1 0,0 13 0,0-1 16,0-12-16,0-1 0,0 14 0,0 0 16,14-1-16,-14 1 0,13 53 15,-13-67-15,0 14 16,0 39-16,13-52 15,-13-1-15,0 0 0,0-12 0,0 12 16,13 27 0,0-27-16,-13-12 0,14-1 15,-1 0-15,0 0 0,14-13 16,-14 0-16,13 14 0,1-14 16,-1 0-16,-13 0 0,14 0 0,-1 0 15,1 0-15,-1 0 0,1 0 16</inkml:trace>
  <inkml:trace contextRef="#ctx0" brushRef="#br0" timeOffset="177537.81">17846 6032 0,'318'-66'16,"-265"66"-16,-1-13 0,1 0 0,-13 13 15,13-13-15,0-1 0,-13 14 0,-14-13 16,1 13-16,-1 0 0,-13 0 16,0-13-16</inkml:trace>
  <inkml:trace contextRef="#ctx0" brushRef="#br0" timeOffset="177709.88">18177 6085 0,'66'-13'15,"93"-13"1,-120 12-16,120-12 16</inkml:trace>
  <inkml:trace contextRef="#ctx0" brushRef="#br0" timeOffset="182562.3">1865 9565 0,'0'-27'0,"0"54"47,-13-1-31,13-13-16,0 14 15,0-14-15,0 0 0,0 1 0,-13 12 16,13-13-16,0 14 16,0-14-16,0 0 15,0 0-15,0 1 16,-13-54 15,13 27-31,13-14 16,-13 1-16,0-27 15,0 40-15,0-1 0,0-12 16,0 13 0,0-1-16,13 1 15,-13 0 1,13 13 15,1 0 0,-1-13 1,-13 0-32,13-1 15,-13 1 1,0 0-16,0 0 15,13 13-15,-13-27 16,0 14 0,0 0-1,13 13-15,1 13 32,-14 0-32,13 0 15,0 1-15,0 39 16,1-40-16,-1 0 0,-13 0 15,13 0-15,-13 1 0,27 12 16,-27-13-16,13 1 16,0-14-1,0 0 1,-13-14-16,13-12 16,-13 13-16,0-1 15,0 1-15,0 0 0,0-13 16,0 12-16,0-25 15,0 25-15,0 1 16,0 0-16,0 0 0,0-1 16,14 1-1</inkml:trace>
  <inkml:trace contextRef="#ctx0" brushRef="#br0" timeOffset="182853.01">2249 9313 0,'0'27'32,"0"-14"-32,0 40 15,0-40-15,13 0 16,-13 14-16,27 13 16,-27-27-16,13-13 0,0 13 0,0-13 15,1 13 1,-1-26-16,0 0 15,-13-14 1,-13 14-16,13 0 16,-27-27-16,14 40 15,13-13-15,-13 13 0,13-13 0,-13 13 16,-1 0-16,1 13 16,13 0-1,0 0-15</inkml:trace>
  <inkml:trace contextRef="#ctx0" brushRef="#br0" timeOffset="183817.53">2858 9141 0,'-27'14'0,"27"-1"0,-13-13 16,13 26-16,0-12 16,0-1-16,0 0 0,0 0 0,0 0 15,13 27-15,0-40 16,-13 13-16,14-13 0,-1 0 15,13 0-15,-13-13 16,-13 0 0,0-14-16,0 14 15,-26-26 1,13 25-16,13 1 0,-13 0 16,13 0-1,-14 13-15,41 13 16,-1 13-1,-13-12-15,1-1 16,12 53-16,-13-40 16,-13 1-16,14-1 0,-14-13 0,0 14 15,0 39 1,0-39-16,-14-1 16,14-13-16,0 0 0,-13 1 0,13-1 15,-13-13 1,13-27-1,13 1 1,-13 13-16,13 0 0,1-1 0,12-25 16,-13 25-16,14-12 0,-14 13 15,13-1-15,-12 1 0,12-13 16</inkml:trace>
  <inkml:trace contextRef="#ctx0" brushRef="#br0" timeOffset="184252.75">3334 8916 0,'0'-13'0,"0"40"31,0-14-31,0 0 0,0 14 0,-13 26 16,13-27-16,0 0 15,-14 1-15,14-1 0,-13 27 16,0-39-16,13-1 16,0 13-1,-13-13-15,39-39 32,14 0-17,-27 12-15,27-12 0,-27 26 16,0-13-16,14 13 0,12 0 15,-26 0 1,14 13-16,-27 0 16,0 0-1,-13 14 1,-1-14-16,1-13 0,13 13 0,-13 0 16,0-13-16,0 14 0,-1-14 0,14 13 15,-13-13-15,0 13 16</inkml:trace>
  <inkml:trace contextRef="#ctx0" brushRef="#br0" timeOffset="184412.78">3638 9102 0,'0'0'0,"0"13"16,0 13-1,0-12-15,0-1 0,-13 0 0,0 27 16,13-14 0,-14-13-16</inkml:trace>
  <inkml:trace contextRef="#ctx0" brushRef="#br0" timeOffset="184604.96">3704 8916 0</inkml:trace>
  <inkml:trace contextRef="#ctx0" brushRef="#br0" timeOffset="184875.97">3995 8731 0,'0'27'16,"0"-14"-16,-13 13 0,13 1 0,-53 145 31,13-80-31,27-52 0,0 0 16,-14-14-16,-12 67 15,39-80-15,-13 27 16,13-27-16,0 0 0</inkml:trace>
  <inkml:trace contextRef="#ctx0" brushRef="#br0" timeOffset="185133.85">4194 8758 0,'0'0'0,"0"26"16,0-13-1,-14 14-15,14-1 0,-13 1 16,-13 39-16,13-26 16,-1-14-16,1 14 0,0-14 0,0 40 15,13-52-15,-14-1 16,14 0-16,14 0 15,-1-13-15</inkml:trace>
  <inkml:trace contextRef="#ctx0" brushRef="#br0" timeOffset="185402.45">4326 9022 0,'0'0'0,"0"-13"0,0 40 31,0-1-15,0-13-16,0 0 16,13 14-1,-13-14-15,0 0 0,0 1 16,13-1-16,-26 13 16,13-12-1,-26-1 1,12 0-16,1 0 0</inkml:trace>
  <inkml:trace contextRef="#ctx0" brushRef="#br0" timeOffset="185611">4789 8956 0,'93'-26'0,"-54"26"16,-12-14 0,-1 14-16,-13 0 15,14-13 1</inkml:trace>
  <inkml:trace contextRef="#ctx0" brushRef="#br0" timeOffset="185866.3">4961 8744 0,'26'-13'0,"-12"26"15,-1-13-15,13 14 0,-12-14 0,-1 13 16,26 13 0,-25-12-16,-1-1 0,0 0 0,-13 0 15,13 1-15,-13-1 0,0 13 16,0-13-16,0 14 0,-13-14 16,0 0-16,-14 14 0,-52 39 15,53-53-15,-1 0 0,1 1 16</inkml:trace>
  <inkml:trace contextRef="#ctx0" brushRef="#br0" timeOffset="186469.06">6204 8652 0,'0'-13'0,"14"39"31,-28 14-15,14-14-16,0-13 16,0 14-16,0-14 0,-13 14 0,13-14 15,0 13-15,0-12 16,0 12-16,-13-13 0,13 27 16,0-27-16</inkml:trace>
  <inkml:trace contextRef="#ctx0" brushRef="#br0" timeOffset="186825.22">6138 8599 0,'40'-40'0,"13"40"16,-40 0-16,14 13 0,-14 1 0,13-1 15,1 0-15,-1 14 0,-13-1 0,1 1 16,-1-1-16,0 0 0,-13 27 16,0-26-1,0-14-15,-13 14 0,0-14 16,-27 53-16,27-40 15,-14-12-15,14-1 0,0 0 0,-14 14 16,14-27-16,-27 13 16,27 0-16,0-13 15,0 13 1</inkml:trace>
  <inkml:trace contextRef="#ctx0" brushRef="#br0" timeOffset="187023.95">6535 8824 0,'13'13'15,"-13"0"1,0 1-16,0-1 0,0 13 15,-13-26-15,13 13 16,0 1-16,0-1 0</inkml:trace>
  <inkml:trace contextRef="#ctx0" brushRef="#br0" timeOffset="187377.01">6628 8625 0</inkml:trace>
  <inkml:trace contextRef="#ctx0" brushRef="#br0" timeOffset="187744.87">6813 8692 0,'-13'0'0,"0"0"0,-1 13 15,14 0 1,0 0 0,0 0-16,14 1 0,-14-1 15,0 0-15,13 0 0,0 27 16,0-27-16,0 1 15,-13-1-15,0 0 0,14 0 0,-14 0 16,0 14 0,-14-27-16,14 13 0,-13 0 15,0-13-15,13 14 0,-13-14 0,-14 13 16,14-13-16,0 0 16,0 13-16,-14-13 15</inkml:trace>
  <inkml:trace contextRef="#ctx0" brushRef="#br0" timeOffset="188501.18">7104 8678 0,'-26'0'16,"12"0"-16,14 14 0,-13-1 15,0-13-15,13 13 0,-13 0 16,-1 0-16,14 1 0,-13-1 0,0 0 15,13 0-15,0 1 0,0-1 0,0 0 16,0 0-16,0 1 0,0-1 16,13 0-16,-13 0 0,13-13 15,-13 13-15,14-13 0,-1 14 16,0-14 0,0 0-16,1 0 15,-1 0-15,0-27 16,0 27-16,1-13 0,12-13 15,-26 12-15,13 1 16,0 13-16,-13-13 0,14 0 0,-1-1 16,0 14-1,0-13-15,1 13 0,-1 13 16,0 1-16,-13-1 16,0 0-16,0 27 15,0-27-15,0 0 16,-13 0-1,13 1-15,0-1 16,13-26 15,0-14-15,0 14-16,1 0 0,-1 0 16,0 13-16,0-14 0,1 14 0,-1-13 15,0 13-15,0-13 16,1 13-1,-1 13-15</inkml:trace>
  <inkml:trace contextRef="#ctx0" brushRef="#br0" timeOffset="189012.51">7474 8943 0,'53'-40'0,"-39"27"16,-1 0-1,-13 0-15,13 13 0,-13-14 0,0 54 47,-13-27-31,13 0-16,13-13 15,-13 14-15,13-14 0,1 0 16,-1 0-16,13 0 16,-13-14-16,14 14 15,-14-13-15,0 0 0,40-27 16,-26 14-16,-14-1 0,13 1 16,14-40-1,-27 39-15,1 14 0,-14 0 16,13 0-16,-13-1 0,13 1 0,-13 0 15,13 0 1,-26 39 0,0-13-16,0 1 0,-1 12 15,1 1-15,13-14 0,-13 0 16,13 13-16,0 1 0,0-14 16,0 14-16,0-14 15,13 0-15,0 0 0,1-13 16,12 14-1,1-28-15</inkml:trace>
  <inkml:trace contextRef="#ctx0" brushRef="#br0" timeOffset="189225.01">7713 8705 0,'79'-13'0,"-66"13"16,40 0-16,-26 0 0,-1 0 15,14-14-15,39 14 16,-39-13-16,-14 13 0,-13 0 16,27-13-16,-27 13 15,1-13-15</inkml:trace>
  <inkml:trace contextRef="#ctx0" brushRef="#br0" timeOffset="194001.9">13930 8572 0,'0'27'15,"-26"26"1,26-40-16,-13 14 16,13-1-16,-14-13 0,14 14 0,-13 26 15,0-40-15,13 13 16,-13 14-16,-1-27 0,14 0 16,-13 1-16,13-1 0,0 0 0,0 0 15,-13-13-15,13 14 0,-13-1 16</inkml:trace>
  <inkml:trace contextRef="#ctx0" brushRef="#br0" timeOffset="194524.15">13864 8586 0,'0'-14'16,"0"28"-16,13-28 0,-13 1 0,14 26 16,-1 1-1,-13 12-15,13-13 0,0 40 16,1-26-16,-14-1 16,13 14-1,-13-14-15,13-12 0,-13-1 0,26 27 16,-26-27-16,0 0 15,14-13-15,-14 13 0,13-13 16,0 0-16,0 0 16,1-13-16,-1 0 15,0 0-15,0-14 0,1 14 16,-1-27-16,0 14 0,0-1 0,0-12 16,1-1-16,-14 0 0,13 14 15,0-1-15,0 1 0,-13-1 0,14 14 16,-1-27-16,-13 27 15</inkml:trace>
  <inkml:trace contextRef="#ctx0" brushRef="#br0" timeOffset="194918.82">14354 8599 0,'0'40'0,"0"-27"0,-14 0 0,14 0 0,0 1 15,0-1-15,0 0 0,0 13 16,0-12-16,0-1 15,14 0-15,-14 0 0,13 1 16,0-14-16,0 0 16,14 0-16,-14 0 15,0-14-15,0 1 16,-13 0 0,14 0-16,-14-1 0,0 1 0,0-13 15,0 13-15,0-1 0,-14 1 0,14 0 16,0 0-16,-13-1 0,0 1 15,-13 0 1,12 13-16,1 0 16</inkml:trace>
  <inkml:trace contextRef="#ctx0" brushRef="#br0" timeOffset="195694.22">14698 8586 0,'13'13'15,"-13"0"-15,0 14 16,0-14 0,-13 0-1,13 0-15,-14-13 0,14 14 0,-13-1 16,13 0-16,27-26 62,-1 0-62,-13-1 16,1 14-16,-1-13 0,0 13 16,0 0-1,0-13-15,1 13 0,-1 0 16,-13 13-16,13-13 16,0 13-1,-13 1 1,14-14-1,-14 13 1,26-26 15,-13-1-15,0 14-16,-13-13 16,14 13-1,-1 0-15,-13-13 0,13 13 16,0 0-16,1 0 15,-14 13 1,13-13-16,0 13 0,-13 1 16,0-1-1,13 0 1</inkml:trace>
  <inkml:trace contextRef="#ctx0" brushRef="#br0" timeOffset="195864.79">15147 8652 0,'0'-13'0,"0"39"16,-13-13 0,13 1-16,0-1 0,-13-13 15,13 13 1,0 0-16,-13-13 0</inkml:trace>
  <inkml:trace contextRef="#ctx0" brushRef="#br0" timeOffset="196057.85">15187 8506 0,'-13'0'31,"13"14"-31</inkml:trace>
  <inkml:trace contextRef="#ctx0" brushRef="#br0" timeOffset="196427.11">15280 8599 0,'13'13'16,"0"-13"-16,-13 13 15,0 1 1,-13-1-16,13 0 0,-13 0 31,13 1-31,26-14 47,-13-14-47,1 14 16,-14-13-1,13 13-15,0 0 0,0 0 16,1 0-16,-1 0 15,0 13 1,0-13 0,0 14-1</inkml:trace>
  <inkml:trace contextRef="#ctx0" brushRef="#br0" timeOffset="197565.91">15637 8652 0,'13'0'0,"-26"-13"47,0-1-31,-14 28 15,14-14-16,0 13 1,0-13-16,13 13 16,-14 0-1,28-13 17,-1 0-17,0 0 16,0 0-31,0 0 16,-13 14 0,14-1-1,-1-13 1,0 0-16,0 0 16,14-13-1,-14 13-15,0-14 0,0 1 16,1 13-16,-1-13 0,0 0 0,14-14 15,-14 1-15,13 12 0,-12-12 0,12 0 16,14-41 0,-40 54-16,13 0 0,-13 0 15,13 0-15,-26 26 32,-14 26-17,27-25-15,-13 12 0,13-13 0,-13 27 16,13-27-1,0 0-15,0 1 0,13-1 0,-13 0 16,13 0-16,1-13 0,25 27 16,-25-27-16,-1 0 15,0 13-15,0-13 0,1 0 16</inkml:trace>
  <inkml:trace contextRef="#ctx0" brushRef="#br0" timeOffset="198646.81">13348 8890 0,'27'0'16,"-14"-13"-16,0 13 15,0 0-15,1 0 0,-1 0 0,0 0 0,0-13 16,40 13-16,-40 0 15,14-14 1</inkml:trace>
  <inkml:trace contextRef="#ctx0" brushRef="#br0" timeOffset="198894.01">13507 8758 0,'13'0'16,"0"0"-16,1 0 0,-1 13 0,0-13 15,0 13-15,1 14 16,-1-14-16,-13 0 16,13-13-16,-13 27 15,0-14-15,0 26 16,0-25-16,0 12 0,0-13 0,0 1 15,0 52 1</inkml:trace>
  <inkml:trace contextRef="#ctx0" brushRef="#br0" timeOffset="199246.97">13573 9816 0,'-13'-13'0,"39"0"16,-12 13-1,-1 0-15,26 0 16,-12 0-16,-14 0 16,0 0-16,1 0 0,12 0 15,14 0 1,-27-14-16</inkml:trace>
  <inkml:trace contextRef="#ctx0" brushRef="#br0" timeOffset="199454.93">13758 9604 0,'27'-13'16,"-14"13"-16,0 13 15,0-13-15,1 14 0,-1-1 16,13 27 0,-26-27-16,-13 26 15,0-25-15,13-1 16,0 0-16,0 0 16</inkml:trace>
  <inkml:trace contextRef="#ctx0" brushRef="#br0" timeOffset="199995.01">14407 9512 0,'0'-13'0,"-14"26"0,1 0 16,0 0-16,13 0 0,-13 1 0,13-1 15,0 0-15,0 0 0,0 1 0,0 39 16,13-40 0,27 40-1,-27-40-15,0-13 0,0 13 16,0-13-16,14 0 15,-14 0-15,0-13 0,1 13 0,12-27 16,-13 14-16,-13 0 0,0 0 16,14 0-16,-14-1 15,0-25-15,-14 25 0,14 1 16,-13 0-16,13 0 0,-13-1 0,13 1 16,-13 13-16,13-13 0,-14 13 15,1 0 1,0 0-16</inkml:trace>
  <inkml:trace contextRef="#ctx0" brushRef="#br0" timeOffset="200287.01">14684 9499 0,'27'13'0,"-1"13"16,1 1-1,-27-14 1,13 13-16,-13-12 15,0 12-15,-13-13 0,13 1 16,-27 25-16,27-26 16,-13 1-1,26-28 17,1-25-17,-1 26-15,0-1 16,13-12-1,-26 13-15,14-1 0,-1 14 0,0-13 0,0 13 16,27-40 0</inkml:trace>
  <inkml:trace contextRef="#ctx0" brushRef="#br0" timeOffset="200803.85">15293 9274 0,'-13'53'16,"-1"-40"0,14 13-16,-39 67 15,39-67-15,-13 1 0,13-1 16,0-13-16,0 1 0,0 12 16,0-13-16,0 1 0,0-1 0,13-13 15,-13 13-15,0 0 0,13-13 0,0 0 31,-13-13-15,0 0-16,0 0 16,-13-1-1,-13 1-15,12 13 0,1 0 0,0-13 16,-14 13-16,14 13 16,-13-13-16,12 0 0,1 13 15,0 1-15,0-14 0,-14 39 16,27-25-1,0 12-15,14-26 16,-1 0-16,0 13 0,13-13 16,-12-13-16,12 13 0,14-13 15,-14 13-15,1-13 0,-1-1 16,1 1-16,-14 0 0,13 0 16,-12-1-16,-1 1 0,0 13 0,0-13 0,1 13 15,-1 0 1,0 0-16,0 13 15,-13 0 1,0 1 0,-13 12-1</inkml:trace>
  <inkml:trace contextRef="#ctx0" brushRef="#br0" timeOffset="200949.09">15518 9406 0,'0'-13'0,"-13"13"16</inkml:trace>
  <inkml:trace contextRef="#ctx0" brushRef="#br0" timeOffset="201450.88">15637 9432 0,'13'40'16,"-26"-13"-1,0-1 1,13-13-16,0 0 0,-14 1 15,14-1-15,-13 0 0,13 0 16,0 1 0,27-28 15,-1-12-15,-26 13-16,13 13 15,1-14-15,-1 14 0,0-13 16,0 13-16,0 0 15,14 0 1,-14 0-16,14 13 16,-14 1-1,0-14-15,-13 13 0,13-13 16,1 0 0</inkml:trace>
  <inkml:trace contextRef="#ctx0" brushRef="#br0" timeOffset="202304.79">16126 9512 0,'-13'-27'0,"0"27"15,-14 0-15,14 14 16,0-14-16,0 13 16,0-13-1,-1 0 1,14 13-16,-13-13 31,0 13 16,13 0-31,0 1 15,0-1-15,13-13-16,-13 13 0,13-13 15,1 0 1,-1 0-16,13 0 15,-13-13 1,14 0 0,-27-1-16,13 1 0,0 0 0,1 0 0,-1 0 15,0-1-15,-13 1 0,13-13 16,0 12-16,1 14 0,-14-13 16,13 0-16,-13 0 0,13 13 0,-13-14 15,-13 41 16,-14 13-15,14-14-16,13-13 0,-13 1 0,13-1 16,0 0-16,0 0 0,0 0 15,0 1-15,13-14 16,0 0 0,14 0-16,-27-14 0,13 14 15,0-13-15,1-13 0,12 13 0,-13-14 16,14 1-16,-14-1 0,13-13 15,1 14-15,26-53 0,13-14 16,-26 53-16,-27 14 0,13-1 16,-12 14-16,-1 0 0,0 0 15,-13 0-15,13 13 0,-26 26 16,-13 0 0,12 1-16,-12-1 15,13 1-15,-14 13 0,-26 65 16,40-78-16,13-1 0,-13-13 15,13 14-15,0-14 0,0 0 16,0 1-16,0-1 0,13 0 0,-13 0 16,27 1-16,-14-1 15,0-13-15</inkml:trace>
  <inkml:trace contextRef="#ctx0" brushRef="#br0" timeOffset="203145.05">16775 8758 0,'66'0'15,"-53"0"-15,-13 13 0,26 0 16,-12 0 0,-14 1-16,0-1 0,0 0 15,13 0-15,-13 1 0,0 12 16,0-13-16,0 14 0,0-1 0,0 1 16,0-1-16,0 14 0,13-14 0,-13 14 15,0-14-15,13 14 0,-13 0 16,14-1-16,-14-12 0,13 13 0,0 52 15,0-65-15,-13-14 16,13 13-16,-13 1 0,0-14 16,14 13-16,-14-12 0,0-1 0,0 13 15,0-12-15,0-1 16,0 0-16,-14 0 16,14 1-16,-13-14 0,0 13 0,0-13 15,0 13-15,-14-13 0,14 0 0,-14 13 16,-12-13-16,12 0 0,1 0 15,-14 0-15,14 0 0,-40-13 16,26 0-16</inkml:trace>
  <inkml:trace contextRef="#ctx0" brushRef="#br0" timeOffset="203849.21">16351 8043 0,'119'0'0,"-105"0"0,-1 0 0,13 0 32,-13 0-32,1 0 0,-1 0 15,0 0 1,0 0-16,-13 14 15,0-1-15,0 0 16,0 0-16,14 0 0,-14 1 0,0 12 16,0-13-16,0 14 0,13-1 15,-13 14-15,13 0 0,-13-14 0,13 14 16,-13-14-16,14 1 0,-14-1 0,0 1 16,13-1-16,-13 1 0,0-1 15,13-13-15,-13 14 0,0-1 16,0-13-16,0 1 0,0-1 15,0 0-15,0 0 0,-13 1 16,0-1-16,-1 0 0,-12-13 16,13 13-16,-14 0 0,1-13 0,-1 14 15,-12-14-15,-1 13 0,0 0 16,0-13-16,1 13 0,12-13 0,1 14 16,-1-14-16,1 13 0,-1-13 15,1 13-15,0-13 0</inkml:trace>
  <inkml:trace contextRef="#ctx0" brushRef="#br0" timeOffset="206697.93">17608 7977 0,'0'-13'62,"13"0"-46,0 13-16,-13-13 0,14 13 0,-1 0 16,0 0-16,0 0 0,1 0 15,-1 0-15,0 0 0,-13 13 16,13-13-16,-13 13 0,14 0 0,-14 0 15,0 1-15,0-1 16,0 0-16,0 0 0,0 1 0,0-1 16,0 0-16,0 0 0,-14 0 0,14 1 15,0 12-15,-13-13 16,13 14-16,-13-14 0</inkml:trace>
  <inkml:trace contextRef="#ctx0" brushRef="#br0" timeOffset="206837.23">17687 8387 0,'0'14'15</inkml:trace>
  <inkml:trace contextRef="#ctx0" brushRef="#br0" timeOffset="208124.76">17740 8916 0,'40'-39'0,"-27"39"0,0 0 16,-13-13-16,14 13 0,-1 0 0,0 0 16,0 0-16,1 0 0,-1 13 15,0-13-15,-13 13 0,0 0 16,0 0-16,0 1 0,0 12 15,-13 1-15,13-14 0,-13 27 16,-1-14-16,1-13 0,13 14 0,-13-1 16,0-13-16,13 1 0,0-1 0,-14 13 15,14-12-15,0-1 0,0 0 16,0 0-16,0 0 16,14 1-16,-14-1 0,13-13 15,0 13-15,27 0 16,-40 1-16</inkml:trace>
  <inkml:trace contextRef="#ctx0" brushRef="#br0" timeOffset="208256.72">17912 9472 0,'-13'13'0</inkml:trace>
  <inkml:trace contextRef="#ctx0" brushRef="#br0" timeOffset="212901.75">18944 9062 0,'27'13'0,"-14"-13"16,40 0-16,-27 0 15,1-13-15,-1 13 0,1 0 16,-14 0-16,13 0 0,40 0 15,-39-13-15,-14 13 0,14 0 16,-14 0-16,0 0 0</inkml:trace>
  <inkml:trace contextRef="#ctx0" brushRef="#br0" timeOffset="213153.61">19341 8890 0,'66'26'0,"-53"-12"16,1 12-16,-1 14 15,0-27-15,-13 14 0,0-14 16,0 0-16,-13 40 15,13-40-15,-13 14 0,-1-14 16,14 0-16,-13 0 0</inkml:trace>
  <inkml:trace contextRef="#ctx0" brushRef="#br0" timeOffset="-214536.52">20757 8797 0,'39'-26'16,"-26"26"-16,1 0 0,-1-13 15,-26 26 17,-1 0-17,1-13-15,0 0 0,0 13 16,0-13-16,13 14 0,-14-14 0,-12 13 15,13 0 1,-1 0 0,14 1-16,27-1 15,-27 0-15,13-13 16,0 13-16,27 14 16,-27-14-16,0 0 15,1-13-15,-14 13 0,13 1 16,-13-1-16,0 0 0,-13 0 15,-1 1-15,14-1 0,-13 0 16,0-13-16,0 13 16,0 0-16,-1 1 0,1-1 15,0-13-15</inkml:trace>
  <inkml:trace contextRef="#ctx0" brushRef="#br0" timeOffset="-214177.76">21220 8850 0,'0'0'31,"-27"14"-15,27-1-16,-13 0 0,0-13 0,-1 13 16,-25 27-1,26-27-15,-1 0 0,1 14 16,0-14-16,0 0 0,13 1 16,0-1-1,26 13 1,-13-26-16,14 0 15,26 0 1,-40 0-16,27-13 0,-27 13 16,13 0-16,-13 0 0,1 0 15,-1 0-15,0-13 0,0 13 16,1 0-16</inkml:trace>
  <inkml:trace contextRef="#ctx0" brushRef="#br0" timeOffset="-213955.47">21352 8877 0,'-27'13'15,"27"13"-15,-26 54 0,13-54 16,-40 93-1,40-92-15,-1-14 0,14 0 16,0 1-16,-13-1 0,13 0 16,13 0-16</inkml:trace>
  <inkml:trace contextRef="#ctx0" brushRef="#br0" timeOffset="-213625.84">21643 8811 0,'-27'13'16,"14"0"-16,0 0 0,13 1 16,-13 12-16,0-13 0,13 14 0,-14-14 15,14 13-15,0-12 0,0-1 16,0 0-16,14 14 0,-14-14 15,13-13-15,-13 13 0,13-13 16,0 0-16,-13 13 0,13-26 16,1 13-16,-14-13 15,0 0 1,-14 13-16,1-14 16,0 14-16,0 14 0,-14-14 15,1 13 1,13-13-16,-1 13 0</inkml:trace>
  <inkml:trace contextRef="#ctx0" brushRef="#br0" timeOffset="-212510.92">20929 9604 0,'39'-26'0,"-26"26"0,-39 13 31,13-13-15,0 13-16,-1-13 0,1 0 16,0 14-16,0-14 0,-1 13 0,1-13 15,0 13-15,13 0 16,-13-13-16,26 14 16,-13-1-1,13-13-15,0 13 0,1-13 0,-1 13 16,0 0-16,0 1 0,1-1 15,-1-13-15,-13 13 0,13 0 16,0 1-16,-13 12 16,-13-13-16,13 0 0,-13 1 15,0-1-15,-14 13 16,14-26-16,0 14 16,-14-1-16,-13 0 15</inkml:trace>
  <inkml:trace contextRef="#ctx0" brushRef="#br0" timeOffset="-212165.29">21339 9578 0,'-14'26'31,"-12"-12"-15,-1 12-16,14-13 15,0 1-15,0-1 0,0 0 16,-1 0-16,14 0 0,-26 27 16,26-27-16,0 1 15,13-1-15,-13 0 16,13-13-16,1 13 0,-1-13 15,26 13-15,-25-13 16,12 0-16,1 0 0,-1 0 0,-13 0 16,14-13-16,-1 13 0,-13 0 0,27 0 15,-27-13-15,1 13 16,-1-13 0</inkml:trace>
  <inkml:trace contextRef="#ctx0" brushRef="#br0" timeOffset="-211949.82">21444 9618 0,'0'-14'0,"-13"41"0,13-1 16,-13 14-1,13-14-15,-13 14 16,13-13-16,-13-1 0,13-13 15,0 14-15,0-14 0,0 0 0,0 27 16,0-27 0,13 0-16</inkml:trace>
  <inkml:trace contextRef="#ctx0" brushRef="#br0" timeOffset="-211658.24">21616 9472 0,'0'0'0,"27"-13"15,-14 13-15,-13 13 0,13-13 16,1 13-16,-1 1 15,0-1-15,0 0 0,-13 0 0,14 14 16,-14-14-16,13 0 0,-13 0 0,0 14 16,13-14-16,-13 0 0,0 1 15,13 12-15,-13-13 0,0 0 16,13 1-16,-13-1 16</inkml:trace>
  <inkml:trace contextRef="#ctx0" brushRef="#br0" timeOffset="-211491.79">21603 9723 0,'13'-13'16,"1"13"-16,-1-13 0,0 13 0,14-13 16,12 0-16,1 13 0,0-14 15,-1 1-15,1 0 0,0 0 0,-14 13 16,14-14-16,-14 14 0,1-13 0,-14 13 15</inkml:trace>
  <inkml:trace contextRef="#ctx0" brushRef="#br0" timeOffset="-203770.51">22053 8890 0,'13'-26'0,"-13"12"15,13 1-15,-13 0 16,0-14 0,0 14-16,0 0 0,-13 13 0,13-27 15,-13 14-15,0 0 0,-14-13 16,1 12-16,-1-12 0,-12 13 0,-41-27 16,41 27-16,-14-1 15,13 1-15,-13 0 0,0 13 0,14-13 16,-14 13-16,0 0 0,0 0 0,0 0 15,0 0-15,0 13 0,-13 0 16,13 14-16,0-14 0,-53 40 16,53-27-16,14 14 0,-14 0 0,13-1 15,-26 54-15,26-53 16,14 13-16,-1 0 0,1-1 0,-14 54 16,40-53-16,-13 13 15,0 40-15,13-53 16,0-13-16,13 26 0,0-13 0,0 0 15,1 0-15,12 0 0,1-14 0,-1 14 16,0-13-16,14 13 0,0-14 16,-1-12-16,1 13 0,40 26 15,-28-40-15,1-13 0,0 14 16,-13-14-16,0-13 0,13 13 0,-1-13 16,1 0-16,0 0 0,0 0 15,0 0-15,13-13 0,0 0 0,1 0 16,-14-1-16,13 1 0,-13-13 15,0 13-15,52-27 0,-52 13 0,-13 1 16,13-1-16,-13 1 0,12-14 16,-12 14-16,53-40 15,-54 39-15,1-12 0,0 12 0,-1-13 16,-12 1-16,39-54 16,-13 14-16,-13-1 15,-27 41-15,-13-1 0,13 0 0,-13 1 16,0-1-16,-13-13 15,13 13-15,-27 1 0,1-14 0,0 13 16,-14-13-16,0 27 0,-13-14 16,0 14-16,-39-27 0,39 26 15,0 1-15,0 12 0,13 1 0,-79 0 16,66 0-16,0 13 16,14 0-16,-14 0 0,0 0 0,13 0 15,1 0-15</inkml:trace>
  <inkml:trace contextRef="#ctx0" brushRef="#br0" timeOffset="-200270.8">23244 8864 0,'-27'-14'0,"14"14"16,0 0-16,13 14 16,-13-1-16,13 26 31,0-25-31,13 12 0,-13-13 0,13 14 16,-13-14-16,13 14 0,-13-14 15,13 26-15,1-25 0,-14-1 16,13 0-16,-13 0 15,0 1-15,-13-1 16,13 0-16,-14-13 0,1 13 16,0-13-16,0 0 0,0 14 0,-14-14 15,14 0-15,-27 0 0,27 0 16,0 0-16,-1 0 0,1 0 0,0 0 16,0 0-16</inkml:trace>
  <inkml:trace contextRef="#ctx0" brushRef="#br0" timeOffset="-199701.54">23376 9022 0,'-13'14'31,"-1"-1"-31,14 0 16,0 0-16,-13 14 16,13-14-16,0 0 15,0 14-15,0-14 16,13-13-16,-13 13 0,14-13 16,-1 13-16,0-13 15,0-13-15,1 13 16,-14-13-16,13 0 0,-13-1 15,-13-12 1,-1-1 0,14 14-16,0 0 0,-13 13 15,13-13-15,0 0 32,27 26-17,-14-13 1,-13 13-16,13 13 15,14 1 1,-14-27-16,0 13 16,-13 0-16,13-13 0,-13 14 15,13-1 1,1-13 0,-14-13 30,0-1-30,13 1 0,0 0-16</inkml:trace>
  <inkml:trace contextRef="#ctx0" brushRef="#br0" timeOffset="-199327.79">23720 8930 0,'0'13'16,"0"27"0,0-27-16,0 0 15,0 0-15,0 1 0,-13 12 0,13-13 16,0 14-16,-14-14 16,14 0-16,-13 0 0,13 1 0,-13-1 0,0 0 15,13 0-15,-13 1 16,39-41 46,14 14-62,13 0 32,-40 13-32,26 0 15,-25 13 1,-1 0-1,-13 0 1,0 1-16</inkml:trace>
  <inkml:trace contextRef="#ctx0" brushRef="#br0" timeOffset="-199189.82">23932 9009 0,'0'-13'0,"0"26"15</inkml:trace>
  <inkml:trace contextRef="#ctx0" brushRef="#br0" timeOffset="-198599.71">24011 9062 0,'0'13'0,"0"0"15,13 1 16,0-14-15,1 13 0,-1-13-1,0 0 1,0 0-16,14 0 31,-14-13-31,0 13 16,0-14-1,1 14-15,-1 0 16,-13-13 0,13 13-1,-13 13 17,0 1-32,0-1 31,0 0-31,-13 0 15,13 1-15,-13-1 16,13 0 0,26-26 31,-13 13-32,1 0-15,-14-13 0,13 13 0,0 0 16,0-14-16,1 14 15,-1-13-15,0 13 0,0-13 0,0 13 16</inkml:trace>
  <inkml:trace contextRef="#ctx0" brushRef="#br0" timeOffset="-185470.57">19672 10014 0,'-13'0'0,"39"-13"15,-13 13-15,14-13 0,-1 13 16,1-13-16,105-14 16,-53 1-16,14 13 15,-40-1-15,-14 14 0,-12-13 16,-1 13-16,1-13 0,-1 13 0,-12 0 15,12 0-15,-13-13 0,0 13 16</inkml:trace>
  <inkml:trace contextRef="#ctx0" brushRef="#br0" timeOffset="-185234.77">20002 9710 0,'14'-13'0,"-1"13"0,13 0 16,1 0 0,-1 0-16,1 13 0,12-13 0,-12 13 15,13 1-15,-14 12 0,1-13 16,-1 1-16,0 12 0,-12 0 0,-1-12 16,0 12-16,-13-13 0,0 14 15,-13-1-15,13 1 0,-27-1 0,14 14 16,-13-14-16,13 1 0,-14-1 15,1 1-15,12-1 0,1-13 0</inkml:trace>
  <inkml:trace contextRef="#ctx0" brushRef="#br0" timeOffset="-182031.72">21788 9036 0,'40'-14'0,"-27"14"0,1-13 16,12 13 0,1 0-16,-14 0 15,13-13 1,-13 13-16</inkml:trace>
  <inkml:trace contextRef="#ctx0" brushRef="#br0" timeOffset="-181762.68">21960 8877 0,'14'0'0,"-1"13"0,0-13 0,0 13 16,-13 0-16,14 1 15,-1-1-15,-13 0 0,0 0 16,0 1-16,0-1 0,0 0 16,0 0-16,0 1 0,0-1 0,0 0 15,0 0 1</inkml:trace>
  <inkml:trace contextRef="#ctx0" brushRef="#br0" timeOffset="-181510.68">22238 8943 0,'0'13'16,"0"14"-1,0-14-15,0 0 0,0 0 0,13-13 16</inkml:trace>
  <inkml:trace contextRef="#ctx0" brushRef="#br0" timeOffset="-180955.96">22119 9604 0,'53'-13'16,"-40"13"-16,1 0 0,-1 0 0,0 0 16</inkml:trace>
  <inkml:trace contextRef="#ctx0" brushRef="#br0" timeOffset="-180688.67">22251 9446 0,'0'0'0,"14"13"0,-1-13 15,-13 13-15,0 0 0,0 1 16,13-14-16,-13 26 15,0-13-15,-13-13 0,13 13 16,0 1-16,0-1 0,-13 13 16,13-12-16,-14-14 15</inkml:trace>
  <inkml:trace contextRef="#ctx0" brushRef="#br0" timeOffset="-180338.91">22437 9419 0,'0'0'16,"13"13"-16,-13 1 16,-27 25-1,14-25-15,13-1 0,-13 0 0,0 0 16,13 0-16,-13 1 0,13-1 16,0 0-16,0 0 0,0 1 15,13-14-15,0 0 16,0 0-16,0 0 15,1 0-15,25 0 0,-12-14 0,-14 14 16,13 0-16,1 0 0,-14 0 16</inkml:trace>
  <inkml:trace contextRef="#ctx0" brushRef="#br0" timeOffset="-178978.6">23720 9393 0,'132'13'15,"-105"0"-15,-1-13 0,1 0 16,12 0-16,-12-13 0,12 13 15,-12 0-15,13 0 0,-1 0 0,1 0 16,0-13-16,-14 13 0,14-14 16,-14 14-16,1-13 0,-1 13 0,14-13 15,-14 0-15,1 0 0,12-1 16,-12 1-16,-1 0 0,1-14 0,-1 14 16,1-13-16,-1 13 0,1-14 15,-14 1-15,0 12 0,0-12 0,1 13 16,-14-14-16,13 1 0,-13-1 15,0 1-15,-13-1 0,13 1 0,-14-14 16,-12 14-16,-1-1 0,1-12 0,-14 12 16,1-13-16,-1 14 15,-39-27-15,39 40 0,-13-14 16,0 1-16,0 13 0,0-14 0,-66 1 16,53 26-16,-13-13 15,12 13-15,-12 0 0,13 13 0,-13-13 16,12 13-16,-12 0 0,13 14 0,-14-14 15,14 13-15,0 1 0,13-1 16,-13 14-16,26-14 0,-12 14 0,25 0 16,1 0-16,-1-1 0,27 27 15,0-26-15,13-13 0,1 12 16,25 1-16,41 39 0,-41-39 16,14 0-16,0-14 0,13 14 15,40-1-15,-40-12 0,-13-14 16,-13 0-16,0 1 0,-1-14 15,-12 13-15,-14-13 0,13 0 16,-12 0-16</inkml:trace>
  <inkml:trace contextRef="#ctx0" brushRef="#br0" timeOffset="-178154.52">23310 9446 0,'-13'26'16,"-1"1"-16,1-1 0,0 14 16,0-1-16,-14 14 0,1 0 15,-1 0-15,1 0 0,-1 13 0,1-13 0,-14 0 16,14 13-16,-14-13 16,0 0-16,14 13 0,-14-13 0,-13 0 15,-39 79-15,26-79 16,-1 13-16,14-13 0,1-13 0,-67 53 15,66-54-15,-27 14 0,1 0 16,-1 0-16,-12-13 0,13 13 16,-27-14-16,13 14 0,-13-13 0,14 0 15,-14-14-15,13 14 0,-79-1 16,93-25-16,-93 12 16,79-26-16,1 13 0,-1-26 15,0 13-15,-105 0 0,66-13 16,-1 13-16,-105-27 0,119 14 15,0 0-15,-13 0 0,13-14 16,-119-12-16,119 12 0,0 14 16,-14-27-16,14 14 0,0-1 0,0-12 15,0-1-15,0 0 16,0 1-16,-93-41 0,14 1 16,-1-1-16,107 41 15,26-1-15,-14 14 0,14-14 16,0 13-16,13-12 0,-66-27 15,66 39-15,0-13 0,0 14 16,14 0-16,-1-14 0,13 27 0,-12-14 16,25 14-16,1 0 0,0-1 0,-13-12 15,26 13-15,-14 13 16,28-13 0,-1 13-16</inkml:trace>
  <inkml:trace contextRef="#ctx0" brushRef="#br0" timeOffset="-177794.76">16735 10266 0,'-93'-80'16,"54"41"-16,25 26 15,1-1-15,0 1 0,0 0 0,13 0 16,-14 13-16,14-14 0,14 1 15,12 13 1,27 27 0,-13-14-16,-14 0 0,27 0 15,-13 1-15,13-1 0,0 0 16,66 13-16,-66-12 16</inkml:trace>
  <inkml:trace contextRef="#ctx0" brushRef="#br0" timeOffset="-153223.7">14552 9260 0,'27'-26'0,"-27"13"31,0 0-15,-27-1 0,14 14-1,0 0-15,-1 0 0,-12 0 16,13 0-16,-67 14 15,14-1-15,27 0 0,-1 0 16,-66 40-16,66-26 16,1-1-16,-1 0 0,0 14 0,14-13 15,-1 12-15,1-12 0,13 12 16,-14 54 0,27-66-16,0-1 0,0 0 0,13 14 15,27 53 1,-13-54-16,-1-12 0,0-1 0,1 1 15,-1-1-15,41 27 16,-15-40-16,1 14 0,-13-14 0,0 0 16,145 40-1,-132-53-15,0 13 0,0-13 16,0 0-16,39 14 16,-39-14-16,53-14 0,-53 14 0,13-13 15,-26 13-15,66-13 16,-54 0-16,1 0 0,93-14 15,-93 14-15,-13 13 16,-1-13-16,1 13 0,79-40 16,-79 40-16,-1-13 15,54-27-15,-67 27 16,14 0-16,53-27 16,-67 27-16,40-27 15,-39 27-15,-1-1 0,1 1 0,-1 0 16,1 0-16,-1 13 0,53-40 15,-39 14 1,-13 26-16,-1-14 0,14 1 16,-27 0-16,0 0 15,14 13-15,12-27 16,1 1-16,-27 13 0,0-1 16,14 1-16,13-13 15,-27 12-15,27-12 16,-27 26-16,-13-13 0,13 0 15,13-1 1,-26 1-16,14 0 0,-1 0 16,-13-14-16,13 14 15,0 0-15,1-27 16,-14 27-16,0 0 16,0-1-16,13 1 0,-13 0 0,0 0 15,0-27 1,0 27-16,0 0 0,-13-1 0,13 1 15,0-13-15,-14-1 16,1 14-16,13 0 0,-26-27 16,12 27-16,1 0 0,13-1 15,-13 1-15,0 13 0,-27-40 16,27 40 0,0-13-16,-1 13 0,1-13 0,-27 0 15,14-1-15,-27 1 16,40 13-1,0 0-15,-1 0 0,-12 0 0,-1-13 16,14 13-16,0 0 16,0 0-16,0 0 0,-1-13 0,1 13 15,-40 0-15,40 0 16,-14 0-16,14 0 0,0 0 16,-13 0-16,-27 0 15,26 13-15,14-13 0,-14 0 16,14 0-16,-13 0 0,13 0 0,-14 0 15,1 13-15,-54 0 16,54-13-16,-1 0 0,1 14 16,-1-14-16,1 0 0,0 13 0,-1-13 15,1 13-15,-54 0 16,54-13-16,-1 14 0,1-14 16,13 13-16,-14-13 0,1 13 15,-1-13-15,1 13 0,-40 1 16,39-1-16,-39 13 15,40-26-15,-1 13 16,1-13-16,-1 0 0,14 14 0,-13-14 16,12 0-16,-12 13 0,13-13 15,-40 13 1,26 0-16,14-13 0,-27 14 16,27-14-16,-13 0 0,12 13 0,-39-13 15,27 13 1,13-13-16,-14 0 0,1 13 15,-1-13-15,14 0 0,-13 14 16,13-14-16,-14 0 0,14 13 0,0-13 16,-14 0-16,-26 13 15,27 0-15,13-13 0,-1 13 16,-39-13 0,40 14-16,0-14 0,0 0 0,-1 13 0,1-13 15,0 0-15,0 0 0,0 0 16,-1 13-16,1-13 0,0 13 15,0-13 1</inkml:trace>
  <inkml:trace contextRef="#ctx0" brushRef="#br0" timeOffset="-149666.37">22185 10186 0,'40'146'15,"-40"-106"-15,13-1 0,-13 14 16,13-13-16,-13 13 0,14-13 0,-14 12 15,13 28-15,0-1 16,-13-52-16,0-1 16,0-13-16,0 14 0,0-14 0,13 0 15,-13 1-15,0-1 0</inkml:trace>
  <inkml:trace contextRef="#ctx0" brushRef="#br0" timeOffset="-149117.58">22185 10213 0,'0'0'0,"-13"13"0,0 0 16,13 1-16,-13-1 0,-1 0 16,14 0-16,-26 14 0,13-1 15,-1-13-15,14 1 0,-13-1 0,0 13 16,13-12-16,0-1 15,-13-13-15</inkml:trace>
  <inkml:trace contextRef="#ctx0" brushRef="#br0" timeOffset="-148901.9">22146 10253 0,'66'0'16,"-40"13"0,-13 0-16,1-13 15,12 13-15,-13-13 0,1 14 16,-1-14-16,-13 13 0,13-13 16,0 0-16,-13 13 0,14-13 0,-1 0 15</inkml:trace>
  <inkml:trace contextRef="#ctx0" brushRef="#br0" timeOffset="-146584.39">6681 9155 0,'0'26'16,"13"-26"-16,0 13 15,67 27 1,-1 0-16,-39-27 0,13 0 15,13-13-15,13 13 0,133 1 16,-133-14-16,0 0 16,14 0-16,0-14 0,79 1 15,-93 0-15,14 0 16,-14-1-16,14-12 0,-27 13 0,79-40 16,-79 26-16,-13 1 0,0-1 15,-13-12-15,0 12 0,26-39 16,-40 26-16,-13 14 0,1-14 15,-1 14-15,-13-14 0,0 14 16,-13-27-16,-1 0 0,-38-53 16,12 53-16,0 0 0,-26-13 15,0 13-15,-13 0 0,12 0 0,-12 14 16,-14-1-16,14 13 0,-80-25 16,80 25-16,-14 14 0,1 0 15,-14 13-15,13-14 0,1 14 16,-107 0-16,93 14 0,-13 12 15,13-13-15,1 14 0,-1 12 0,-79 41 16,105-27-16,27-14 16,0 14-16,0 0 0,14 0 0,12 0 15,-26 66-15,40-66 0,0 13 16,13-26-16,13 26 0,0-13 16,14 0-16,-1 0 0,1-13 0,26 12 15,53 15-15,-54-28 16,1-12-16,14-1 0,-1 1 15,53-1-15,-66-13 0,39-13 16,-52 0-16,-14 0 0,1-13 16,-1 13-16</inkml:trace>
  <inkml:trace contextRef="#ctx0" brushRef="#br0" timeOffset="-145762.91">2924 4829 0,'0'13'31,"-14"0"-31,14 0 0,-13 14 0,-26 65 16,25-52 0,1 0-16,0-1 0,-14 28 15,14-41-15,0 14 0,-27 52 32,40-78-32,0-1 0,-13 0 0,13 0 15,0 1-15</inkml:trace>
  <inkml:trace contextRef="#ctx0" brushRef="#br0" timeOffset="-145518.73">2580 5040 0,'39'0'16,"-25"14"-16,12-1 16,-13-13-16,14 13 0,-1 0 15,14 0-15,-27 1 0,14-1 0,-1 0 16,-13 0-16,27 1 0,-27-1 16,14-13-16,-14 13 0,0-13 15,0 0-15,1 13 0</inkml:trace>
  <inkml:trace contextRef="#ctx0" brushRef="#br0" timeOffset="-145050.24">2725 4961 0,'13'40'31,"1"-27"-31,-1 66 16,0-39-16,0 0 0,1-1 0,-14 1 0,26 39 16,-13-52-1,1 13-15,-1-14 0,0 0 0,-13 1 16,13-14-16,-13 0 0</inkml:trace>
  <inkml:trace contextRef="#ctx0" brushRef="#br0" timeOffset="-144835.41">2408 5398 0,'145'-93'0,"-52"40"0,-40 13 15,53-13 1,-53 27-16,-1-1 0,1 1 0,0 13 16,0-14-16</inkml:trace>
  <inkml:trace contextRef="#ctx0" brushRef="#br0" timeOffset="-141832.03">1667 2381 0,'172'-66'0,"-119"40"16,13 12-16,-13-12 0,13 13 0,66-27 15,-66 14-15,1-1 16,-1 14-16,0-14 0,0 1 0,0 0 16,0-1-16,-13 14 0,-13 0 0,0-1 15,-1-12-15,-12 26 0,-1-13 16,-13 13-16,1-14 0,-1 14 0,0-13 15,0 13-15,1 0 0,-1 0 0,0 13 16,0-13-16,0 14 16,1-1-16,-1 0 0,-13 0 0,13 1 15,14 12-15,-14 14 0,13-14 16,-12 14-16,38 39 16,-25-39-16,13 13 0,-14 0 0,14-14 15,26 81-15,-26-54 16,-14-13-16,27 26 0,-13-13 0,-1 14 15,1-14-15,0 0 0,13 13 0,-27-13 16,27 0-16,-27 1 0,14-1 16,-13 0-16,12-13 0,-12 13 15,-1 0-15,14 0 0,-14-13 0,1 13 16,-1-13-16,1 13 0,-1-13 16,-13 0-16,14 0 0,-14 0 0,0 0 15,14 26-15,-14-39 0,-13 13 16,13-13-16,-13-1 0,13 1 15,-13 0-15,0-1 0,0-12 0,0 13 16,14-14-16,-14 0 0,-14 1 0,14-1 16,0 1-16,0-1 0,0 1 15,-13-1-15,13-13 0,0 14 0,-13-14 16,0 14-16,0-14 0,-1 0 16,1 0-16,-13 14 0,-1-14 15,1 0-15,-1 14 0,-12-14 0,-1 13 0,-13-12 16,13 12-16,-13 0 15,-13 1-15,13 13 0,-13-14 0,-13 1 16,13-1-16,-27 14 0,0-1 0,-105 41 16,105-54-16,1 14 15,-14 0-15,13-14 0,1 14 0,-1-1 16,1 1-16,-1-13 0,14-1 0,12 0 16,1 1-16,0-1 0,0-12 15,13-1-15,0 0 0,0 0 16,14-13-16,-1 0 0,0 0 0,-13-13 0,14 0 15,-14 0-15,0-14 16,0 1-16,-40-54 0,54 41 0,-1-14 16,0 0-16,0 0 0,-12-26 15,12-1-15,0 1 0,0-14 16,1 14-16,-1-14 0,-26-105 16,39 92-16,-12 13 0,12-13 0,1-13 15,13 14-15,-14 12 0,1-13 16,13 40-16,-14-13 0,-26-80 15,27 93-15,-1 13 0,1 0 0,-1 0 16,14 0-16,-13 13 0,12 14 16,1-14-16,0 14 0,0-1 15,-1 14-15,14-13 0,0 12 0,-13 1 0,13 0 16,13-14-16,-13 14 16,14 0-16,-1-27 0,13 27 0,1-13 15,-1-1-15,14 1 0,13-1 0,0 1 16,0 13-16,0-14 0,0 1 15,13 12-15,0-12 0,0 13 0,13-14 16,1 14-16,-14-13 0,13 12 0,-13-12 16,14 13-16</inkml:trace>
  <inkml:trace contextRef="#ctx0" brushRef="#br0" timeOffset="-136275.64">7131 9472 0,'13'-26'0,"-40"39"47,14 27-31,-13-14-16,12 14 0,-12-1 15,13 1-15,-14 13 0,1-13 0,-1 13 16,-12 26-16,12-39 16,1 26-16,-14 13 15,27-52-15,13-14 0,-13 13 16,13-12 0</inkml:trace>
  <inkml:trace contextRef="#ctx0" brushRef="#br0" timeOffset="-135424.9">7104 9485 0,'0'-13'0,"-13"13"15,0 0-15,-14 13 16,14 1 0,0-1-16,-1 0 0,1 0 15,0-13-15,0 13 0,0 1 16,-14 12-16,14-26 16,13 13-16,-27 1 15,14-1 1,26-26 15,14-14-15,-14 14-16,27-27 15,-27 40-15,13-13 0,-12 0 16,25 0 0,-12 13-16,-14 0 0,0 13 15,1-13-15,-1 13 0,0-13 16,27 40-1,-27-27-15,0-13 0,14 26 0,-14-12 16,0-1-16,13 0 16,-12 0-1,-1-13-15,-13 14 0,13-14 0,0 0 16,1 0-16</inkml:trace>
  <inkml:trace contextRef="#ctx0" brushRef="#br0" timeOffset="-131635.06">3413 3492 0,'13'-13'16,"1"0"0,-1 0-16,-13 0 15,13-1-15,0-12 16,-13 13-16,0-1 16,13 1-16,-13 0 15,0-13-15,0 12 0,-26-52 16,13 26-1,-14 27-15,-12-26 16,-54-1 0,27 13-16,26 14 15,1 0-15,-94 0 16,94-1-16,-54 1 0,53 13 16,-13 0-16,14-13 0,-14 13 0,-40-13 15,40 13 1,14 0-16,-14 0 0,0 0 0,0 0 15,-40 0-15,1 13 16,52-13-16,13 13 0,-12-13 16,-54 27-16,67-27 15,-1 13-15,-12 0 16,12 0-16,14 1 0,-14-1 16,14 0-16,0 14 0,-14-14 0,1 26 15,26-25-15,-40 39 16,40-27-16,-13-13 0,13 1 15,0 12-15,-13-13 0,13 14 0,13 12 16,-13-25 0,0-1-16,13 13 0,-13-13 0,40 27 15,-27-27-15,0 14 16,14-14-16,26 14 16,-27-14-16,14 13 15,13-13 1,-27 1-16,1-14 0,-1 13 0,1-13 0,12 0 15,14 13-15,-26-13 16,12 0-16,-12 0 0,66 0 16,-54 0-16,27-13 15,-26 0-15,-13 13 0,12 0 16,54-27 0,-67 27-16,14-13 0,0 13 0,39-26 15,-66 26 1,67-27-1,-54 27-15,14-13 0,-14 0 0,-13 13 16,14 0-16,13-27 16,-14 27-16,-13 0 15,1-13-15,-1 13 0,0-13 0,13 13 0,-12 0 16,25-27 0,1 27-16,-27-13 15,1 13-15,-1 0 0,0-13 0,0 13 16,40-13-1,-40 13-15,1-14 0,12 1 16,-13 13-16,0 0 0,1-13 16,-1 13-16,0-13 15,0 13-15,1-14 0,-1 1 16,-13 0 0,13 0-16,-13 0 15,0-1 1,-13 1-1,13 0-15,-13 0 16,13-1-16,-14 14 16,14-13-16,-13 13 15,0 0 17,13 13-1</inkml:trace>
  <inkml:trace contextRef="#ctx0" brushRef="#br0" timeOffset="-128012.91">2818 6919 0,'0'-13'0,"0"26"15,0 0-15,0 27 16,0-14-16,0 1 0,0-1 16,0 1-16,0-1 0,0 1 0,0 12 15,0-12-15,0 12 16,0-12-16,0 26 16,13-40-16,-13 0 0,0 0 15,13-13-15</inkml:trace>
  <inkml:trace contextRef="#ctx0" brushRef="#br0" timeOffset="-127680.87">2950 6998 0,'-26'27'0,"26"12"15,0-12-15,0 13 16,0-27-16,13 13 0,-13-13 16,26 40-1,-12-39-15,-1-14 0,0 13 0,27-13 16,-27 0-16,13-13 16,-12-1-16,-14 1 15,0 0-15,0 0 0,0-1 16,0-25-16,-14 26 15,14-1-15,-13-12 0,0-27 16,0 40-16,13-1 0,-14 1 16,1 0-16,0 13 15,0 0 1</inkml:trace>
  <inkml:trace contextRef="#ctx0" brushRef="#br0" timeOffset="-127228.11">3254 6866 0,'14'53'16,"-14"-40"-16,0 14 0,0-14 0,13 13 0,-13 1 16,0-1-16,0-13 0,0 14 15,13 13 1,-13-27-16,0 0 0,0 0 0,0 0 0,0-39 62,13 13-46,1 0 0,-14-1-16,13 14 0,0 0 15,0 0-15,0 14 16,-13-1 0,0 0-16,0 0 15,0 0-15,-13 1 16,13-1-16,-26 0 15,26 0-15,-13-13 16</inkml:trace>
  <inkml:trace contextRef="#ctx0" brushRef="#br0" timeOffset="-127034.86">3426 7078 0,'14'13'32,"-1"0"-32,-13 0 15,0 1-15,0 12 16,0-13-16,0 0 0,0 1 0,0-1 16</inkml:trace>
  <inkml:trace contextRef="#ctx0" brushRef="#br0" timeOffset="-126818.87">3492 6760 0,'-13'-13'0,"13"39"0,-13-12 15</inkml:trace>
  <inkml:trace contextRef="#ctx0" brushRef="#br0" timeOffset="-126607.58">3572 6800 0,'-13'26'31,"13"-13"-31,0 14 0,0 52 16,0-52-16,0-1 15,0 1-15,0-1 0,0 1 0,0-1 16,0 14-1,13-27-15,-13 0 0,0 0 0,0 1 0</inkml:trace>
  <inkml:trace contextRef="#ctx0" brushRef="#br0" timeOffset="-126371.77">3638 6747 0,'-13'26'16,"13"1"-1,0-14-15,0 13 16,0-12-16,0 39 0,0-27 16,0 1-16,13 12 15,-13-12-15,0 12 0,0-25 16,13-1-16,-13 0 0</inkml:trace>
  <inkml:trace contextRef="#ctx0" brushRef="#br0" timeOffset="-126143.21">3757 6998 0,'0'-13'15,"13"26"16,1 14-15,-14-14-16,13 0 0,0 27 16,0-27-16,-13 0 0,0 1 15,13-1-15,-13 13 16,0-13-16,0 14 16,0-14-1</inkml:trace>
  <inkml:trace contextRef="#ctx0" brushRef="#br0" timeOffset="-125799.5">4273 7263 0,'132'53'15,"-66"-40"-15,133 40 16,-40-13-16,26-14 16,-93-13-16,1 0 15,-14 1-15,14-14 0,-14 13 0,14 0 0,145 14 16,-172-27-1,93 26 1,-119-13-16,-1-13 0,-12 0 0,-1 14 16,-12-14-16,12 13 15,-13-13-15,0 0 0,1 0 0</inkml:trace>
  <inkml:trace contextRef="#ctx0" brushRef="#br0" timeOffset="-125439.2">5953 7263 0,'13'26'16,"27"14"-1,26 13-15,-39-27 16,65 54-16,-65-54 16,12 1-16,-12-1 0,39 53 15,-53-65-15,-13 12 16,13-13-16,-13 14 0,-13-14 0,13 14 15,-13-1-15,-13 0 0,-54 54 16,40-54-16,-12 1 16,-41 26-1,40-40-15,13 0 0,1 0 0</inkml:trace>
  <inkml:trace contextRef="#ctx0" brushRef="#br0" timeOffset="-123527.83">8136 9578 0,'13'79'0,"-13"-52"0,13 105 16,-13-53-16,0-39 16,0 0-16,14-14 0,-14 27 15,0-26-15,0-14 0,0 0 16,-14 27 0,14-27-16</inkml:trace>
  <inkml:trace contextRef="#ctx0" brushRef="#br0" timeOffset="-123284.31">8162 9657 0,'0'-13'0,"-26"26"15,26 1-15,-27 25 16,14-26-16,0 14 16,-13-1-16,12 1 0,-39 65 15,40-65-15,13-14 0,-13 14 16,0-14-16,0 13 16,13-13-16,-14-13 0</inkml:trace>
  <inkml:trace contextRef="#ctx0" brushRef="#br0" timeOffset="-123091.75">8057 9657 0,'66'14'15,"-53"-1"-15,13-13 0,1 13 0,-1 0 16,80 14-1,-66-14-15,0 0 0,26 0 16,-27-13-16,-12 0 0</inkml:trace>
  <inkml:trace contextRef="#ctx0" brushRef="#br0" timeOffset="-115712.34">16589 10134 0,'0'-14'0,"-26"41"31,26-14-31,-27 66 15,1 14 1,26-53-16,-13 13 16,0-40-16,13 13 0,-14 1 0,14-14 15,-13 40 1,13-40-16,0 0 0,0 14 16,13-40 15,-13-27-16,27 0-15,-27 14 16,13-14-16,-13 14 0,13-1 0,-13 1 16,13-1-16,-13-52 15,14 66-15,-14-27 16,0 0 0,0 14-16,0 13 15,13-1 1,-13 1-16,13 13 0,14-13 15,12 26 1,-25-13-16,-1 0 0,26 13 16,-25 1-16,12-14 0,-13 13 15,14-13-15,-14 0 0,40 26 16,-40-26-16,14 0 16,-14 0-16,0 13 0,0-13 15,1 0 1,-1 0-16,0 14 31</inkml:trace>
  <inkml:trace contextRef="#ctx0" brushRef="#br0" timeOffset="-111386.77">18640 7951 0,'-13'-13'0,"-1"13"16,14-14-1,0 1-15,-13 13 0,13-13 0,-13 13 16,13-13-16,-40-14 16,27 14-16,-40-14 15,27 14-15,-14-13 0,0 13 0,-79-27 16,66 27-1,-13-14-15,0 14 0,-159-53 16,159 53-16,-13-1 16,-1-12-16,-12-1 0,-14 1 0,-106-14 15,106 14-15,-224-54 16,224 54 0,-13-1-16,0 1 0,0 13 0,-14-14 15,-237-39-15,238 40 16,13-1-16,-14 14 0,1-13 0,0 12 15,-1-12-15,-131-14 16,145 27-16,-14 0 0,-131-27 16,132 27-16,-1 0 0,14-1 0,-13 1 15,0 0-15,-265-40 16,264 40-16,1 0 16,0-1-16,0 1 0,12 0 0,-12 13 15,-119-27 1,119 14-16,12 0 0,-12 0 0,13 0 0,0-1 15,0 14-15,13-13 0,0 0 0,-13 13 16,-13-13-16,0-1 0,39 14 16,-13-13-16,-119 0 0,106 0 15,13 13-15,14-14 0,-14 14 0,-92-13 16,79 0-16,-173 0 16,200 0-1,-14 13-15,13-14 0,-12 14 0,12-13 16,-185 0-1,186 0-15,-1 13 0,-172-14 16,173 14-16,12-13 16,-12 13-16,12-13 0,-184 0 15,184-1-15,-12 14 16,12-13-16,1 13 0,0-13 0,-159 0 16,171 0-16,-91-1 15,78 1-15,14 0 16,-13 13-16,13-13 0,-159-14 15,145 14-15,14 0 0,-119-27 16,119 40 0,0-13-16,-133-27 15,146 27-15,-13 13 0,0-13 16,-106-27-16,119 27 16,0 13-16,-13-14 0,-106-25 15,106 26 1,13-1-16,13 1 0,-26 0 0,27 0 0,-14-14 15,-106-12 1,119 12-16,-13 14 0,-79-40 16,92 40-16,-13-1 15,14 1-15,12-13 0,-12 13 16,-1-1-16,0 1 0,14 0 0,-1-14 16,-12 14-16,12 0 0,1 13 15,12-13-15,-12-1 0,0 1 0,-27-13 16,39 26-16,1-13 15,0 13-15,0-14 0,-1 14 16,-12-13 0,13 0-1,13 26 17,0 14-17</inkml:trace>
  <inkml:trace contextRef="#ctx0" brushRef="#br0" timeOffset="-110549.36">3479 5596 0,'0'-13'16,"-13"13"15,13-14 0,-13 1-15,0 0 15,13 0-15,-14 13-1,14-13 1,27 39 31,-14-13-31,0 14-1,-13-14-15,13 0 0,-13 0 0,14 1 0,-1 12 16,-13-13-16,13 1 15,0 12 1,-13-13-16,14 0 0,-14 1 16,0-41 31,-14 14-47,1-13 15,13 12-15,-13 1 0,13-13 16,0 12-16,-13 1 0,-1-13 15,14 12-15,-13-25 16,13 26-16,0-1 16,0 1-1,13 0 1,1 0-16,12 13 16,-13 0-1,1 0 1,-1-14-16,0 14 15,0 0 1,1 14 0,-1-14 15</inkml:trace>
  <inkml:trace contextRef="#ctx0" brushRef="#br0" timeOffset="-108363.89">18084 8374 0,'-13'27'16,"0"-27"0,13 13-1,0-53 16,13 14-15,-13 12 0,13 1-16,-13 0 0,0 0 15,0-1-15,14 14 16,-1 14 0,0 12-1,-13-13-15,26 27 16,-12-27-16,-14 1 15,13-14-15,0 13 16,0-13-16,1 0 16,12-13-16,-26-1 0,13 14 15,-13-13-15,0 0 0,13-27 16,-13 27-16,0 0 16,0-1-16,14 1 0,-14 0 15,0 0-15,0 0 16,13-1-1</inkml:trace>
  <inkml:trace contextRef="#ctx0" brushRef="#br0" timeOffset="-108107.99">18375 8242 0,'0'26'15,"0"-13"-15,0 1 16,14-14-16,-14 13 0,13 0 15,0 0-15,13 1 16,-12-14-16,-1 0 16,0 0-16,-13-14 15,13 14-15,-13-13 0,14 0 16,-14 0-16,0-1 16,0 1-16,-14 0 15,1 0-15,0 13 16,0-13-1,-1 13-15</inkml:trace>
  <inkml:trace contextRef="#ctx0" brushRef="#br0" timeOffset="-107686.14">18574 8215 0,'13'14'16,"-13"-1"-16,0 0 16,0 0-16,0 0 15,0 1 1,13-28 31,0 1-32,1 13 1,-1 13 0,0-13-1,0 14 1,1-14 0,-1 0-16,0 0 15,0 0 1,0-14-1,1 14-15,-1 0 16,0 0 0,0 0-16,1 0 15,-1 0-15,0 0 0,-13-13 0</inkml:trace>
  <inkml:trace contextRef="#ctx0" brushRef="#br0" timeOffset="-107554.36">18891 8255 0,'27'-13'16,"-14"13"-1,-53 13 1,80-13 15,-27 0-15,-13 13-16,0 0 15,0 1-15,0-1 16</inkml:trace>
  <inkml:trace contextRef="#ctx0" brushRef="#br0" timeOffset="-107426.83">18931 8109 0</inkml:trace>
  <inkml:trace contextRef="#ctx0" brushRef="#br0" timeOffset="-107127.78">19050 8202 0,'0'0'0,"0"13"15,0 1-15,0-1 16,0 0-1,26-26 48,-12 0-47,-1 13-16,13 0 15,-12 0-15,-1-14 16,0 14-16,0 0 0</inkml:trace>
  <inkml:trace contextRef="#ctx0" brushRef="#br0" timeOffset="-106730.7">19368 8123 0,'-14'-14'0,"1"14"16,0-13-1,0 13-15,-1 13 16,1 1-1,13-1 1,0 0 0,13-13-1,-13 13-15,14 1 0,-1-1 32,0-13-17,14-13-15,-14 13 16,-13-14-16,13 14 0,0-13 15,0 0-15,1 0 0,-1-14 0,0 14 16,40-66-16,-53 65 16,13 1-16,0-26 15,1 25-15,-14 28 32,0 25-17,13-26 1,0 27-16,-13-27 0,0 1 15,13 12-15,1 0 16</inkml:trace>
  <inkml:trace contextRef="#ctx0" brushRef="#br0" timeOffset="-106207.9">18918 8533 0,'39'0'16,"-25"0"-16,25-13 0,-12 13 0,12 0 16,14-14-16,0 14 0,119-39 15,-106 25-15,53-25 16,-52-1-16,-1 14 0,0-1 15,-13 1-15,66-54 16,-66 41-16,0-1 0,-14-13 0,1 13 16,0 1-16,-14-14 0,-13 13 0,1-79 15,-14 79 1,-93-66 0,40 67-16,-13 12 0,0 1 0,-225-27 15,172 53-15,-13 0 16,-411 40-1,398-14-15,12 14 0,1-1 16,0 1-16,13 0 0,13 13 0,0 0 16,-119 92-1,185-92-15,1 0 0,12 0 0,14 0 16,39 79-16,14-79 16,13-13-16,0-1 15,40 1-15,-1-13 0,27-1 0,0 0 0,14-12 16,-1-1-16,0-13 0,-26 0 15,26 0-15,-26-13 0,26 13 16,-12-27-16,-28 27 0,173-26 16,-199 13-16</inkml:trace>
  <inkml:trace contextRef="#ctx0" brushRef="#br0" timeOffset="-103650.86">18508 11523 0,'0'39'31,"-14"27"-15,14-26-16,-13-13 0,13-1 15,0 14-15,-13 13 16,13-27-16,-13 1 0,13-14 0,0 13 16,-14-13-16,14 14 0,0-14 0,0 0 15</inkml:trace>
  <inkml:trace contextRef="#ctx0" brushRef="#br0" timeOffset="-103419.86">18627 11483 0,'0'-27'15,"0"54"-15,0-67 0,-14 80 31,14-27-31,0 0 0,0 14 0,0-1 16,-13 14-16,13-14 0,0 41 16,0-41-16,0 1 0,0 25 15,0-25-15,0 13 16,-13-27-16</inkml:trace>
  <inkml:trace contextRef="#ctx0" brushRef="#br0" timeOffset="-103195.05">18150 11827 0,'14'-13'16,"12"-1"-16,1 1 15,-1 13-15,0-13 0,14 13 0,0-13 16,0 13-16,12-13 0,15-1 15,-41 14-15,27 0 16,-27-13-16,1 13 0,-14 0 16,0 0-16,1 13 15</inkml:trace>
  <inkml:trace contextRef="#ctx0" brushRef="#br0" timeOffset="-103010.79">18256 11933 0,'0'0'0,"27"0"16,26 0-1,-27-14 1,14 14-16,-14 0 0,1-13 0,-1 13 16,1 0-16,12-13 0,41 0 15,-1 0 1</inkml:trace>
  <inkml:trace contextRef="#ctx0" brushRef="#br0" timeOffset="-102274.81">19248 11681 0,'0'27'0,"-13"-1"16,13 1-16,-13-1 15,13-13-15,-13 1 0,13 12 0,-13-13 16,-1 27-16,14-27 16,-13 27-1,13-27-15</inkml:trace>
  <inkml:trace contextRef="#ctx0" brushRef="#br0" timeOffset="-101857.54">19103 12091 0,'53'-13'0,"-27"26"16,-26 1-1,0 25 1,-13-25-16,13 12 0,-26 1 15,12-1-15,-39 40 16,40-53-16,0 1 0,13-1 0,-13-13 16,13 13-16,-13-13 0,-1 26 15,28-26 17,-1 0-32,26 0 15,41-26 1,-54 13-16,1 13 0,-1 0 0,1-13 15,12 13 1</inkml:trace>
  <inkml:trace contextRef="#ctx0" brushRef="#br0" timeOffset="-101123.59">19090 12621 0,'13'0'16,"-13"13"-1,0 0-15,0 0 16,0 1-1,13-1 1,-13 0-16,0 0 16,13-13-16,1 13 15,-14 1-15,0-1 16,0 0-16,0 0 16,0 14-1,-14-14 1,-12 27-1</inkml:trace>
  <inkml:trace contextRef="#ctx0" brushRef="#br0" timeOffset="-100728.05">19129 13176 0,'-79'53'0,"79"-40"0,-13-13 0,0 27 16,-1-27 0,14 13-16,0 0 0,0 1 15,0-1 1,14-13-16,-14 13 16,13-13-16,0 13 0,13-13 15,-12 0-15,-1 13 0,0-13 0,0 0 16,1 0-16,12 0 15,-13 0-15,1 0 16</inkml:trace>
  <inkml:trace contextRef="#ctx0" brushRef="#br0" timeOffset="-100543.66">19235 13229 0,'0'0'0,"-26"13"16,26 1-1,-13-1-15,13 0 0,-14 40 16,1-27-16,13 1 0,0-1 16,-13-12-16,13 12 0,0-13 15,0 14-15,0-1 0,13-13 0,-13 14 16,0-14-16</inkml:trace>
  <inkml:trace contextRef="#ctx0" brushRef="#br0" timeOffset="-99848.91">19328 13732 0,'-13'0'0,"-14"13"15,14-13-15,0 13 16,13 1-1,0 12 1,13-13-16,0 0 16,0 1-16,1-1 0,-1 0 0,0 0 15,0 1-15,1 25 16,-14-25-16,0 25 16,0-26-16,-14 1 15,-12 12-15,13-13 16,-14 1-16,14-14 0,0 0 15,-14 0-15,1-14 16,13-12-16,-14 13 0</inkml:trace>
  <inkml:trace contextRef="#ctx0" brushRef="#br0" timeOffset="-99088.03">19407 11562 0,'53'0'15,"-26"0"-15,-14 0 0,53 14 16,-53-14 0,0 13-16,1-13 0,25 53 15,-25-14-15,-14-12 16,13 13-16,-13-1 0,13 133 15,-13-106-15,26 146 16,-12-133-16,-1 1 16,0 12-16,14 14 0,-1 40 15,27 52-15,-27-132 16,-12 0-16,12 14 0,1-14 0,12 53 16,-12-53-16,-1-13 0,-13 0 15,1 0-15,12-13 16,-13-1-16,1-12 0,12 65 15,-13-78-15,-13 12 0,13 0 16,-13 1 0,0-14-16,0 0 0,0 1 0,0-1 15,-13 0-15,0 0 0,-13 14 16,12-14-16,-12 13 16,-1-12-16,14-1 0,-13-13 15,-1 13-15,14 0 0,-27 1 16,14-14-16,-1 13 0,-65-26 15,65-1 1,-12 1-16,-1-13 0,0-1 0,1-12 16</inkml:trace>
  <inkml:trace contextRef="#ctx0" brushRef="#br0" timeOffset="-98394.59">19050 11602 0,'-79'53'0,"26"-13"15,26-1 1,27-25-16,-13-1 15,0 0-15,13 0 0,-13 14 0,-1 39 16,1-27-16,13 1 16,-13 79-1,13-79-15,0 53 0,0-41 16,0-12-16,0 79 16,0-53-16,13 0 0,0 186 15,1-186 1,-1 0-16,13 133 15,-13-133-15,-13 13 0,14-13 0,12 146 16,-13-80 0,1-66-16,-14 0 0,13-13 15,0 93 1,-13-106-16,0 13 0,13 39 16,-13-65-16,14-14 15,-14 0-15,13 0 0</inkml:trace>
  <inkml:trace contextRef="#ctx0" brushRef="#br0" timeOffset="-98345.91">19037 14274 0</inkml:trace>
  <inkml:trace contextRef="#ctx0" brushRef="#br0" timeOffset="-97436.8">20638 12250 0,'-14'13'16,"14"1"-16,-13 25 15,13-25-15,0 12 0,0-13 16,0 14-16,0 39 15,13-53-15,1 40 16,-1-40-16,0 0 16,13 1-1,-12-14-15,-1 0 0,0 0 16,0 0-16,-13-14 0,27-12 16,-27 13-16,0-40 15,0 40-15,0-1 16,0-12-16,0 13 0,-27-27 15,27 27-15,-13 0 16,0 13 0,0-14-16,-1 14 0,-12 0 15,13 14 1</inkml:trace>
  <inkml:trace contextRef="#ctx0" brushRef="#br0" timeOffset="-97119.58">20902 12197 0,'0'0'16,"13"0"-16,1 14 0,-1-1 16,0 0-16,-13 13 0,0-12 15,0-1-15,13 13 0,-13 40 16,0-52-16,-13 25 15,13-25-15,0-1 16,0 0 0,13 0-1,0-39 1,1-1 0,-1 14-16,0-13 15,0 12-15,-13 1 0,14 0 16,-1 0-16,13-14 15</inkml:trace>
  <inkml:trace contextRef="#ctx0" brushRef="#br0" timeOffset="-96680.97">21272 12025 0,'27'-66'0,"-14"66"16,-13 40-1,-13 52 1,0-52-16,13-13 15,0-1-15,0 27 16,0-27-16,0-12 0,13 12 0,-13-13 16,0 1-16,13-1 0,-13 0 15,0 0-15,13-13 0,-39-13 47,13 13-31,-1 0-16,-12 0 15,26 13-15,-13-13 16,0 13-16,-1 1 0,1-1 16,13 0-1,0 0-15,0 1 0,13-14 16,1 0-16,-1 0 0,0-14 0,13 14 16,1-13-16,-14 13 15,40-26 1,-40 26-16,1 0 0,-1-14 15,13 14 1,-13 0-16,1 14 0,-1-1 16,0-13-1,0 13-15</inkml:trace>
  <inkml:trace contextRef="#ctx0" brushRef="#br0" timeOffset="-96547.86">21630 12144 0,'-14'0'16</inkml:trace>
  <inkml:trace contextRef="#ctx0" brushRef="#br0" timeOffset="-96221.14">21669 12224 0,'0'26'16,"-13"-13"-16,13 1 0,0-1 15,0 0-15,0 0 16,0 1 0,0-1-16,13-26 31,1 13-15,-1 0-1,0-14 1,14 14-16,-1 0 15,-13 0-15,0 0 0,1 0 16,-1 0-16</inkml:trace>
  <inkml:trace contextRef="#ctx0" brushRef="#br0" timeOffset="-95748.79">22040 12224 0,'-13'-13'16,"-1"13"0,1 13-1,-13 13 1,26 1 15,0-14-31,13-13 31,-13 13-31,13 0 16,0 1 0,14-28 15,-14 1-15,0 0-16,0 0 0,1-1 0,12-12 15,-13 0-15,1 12 0,-1-12 16,0-1-16,0 14 0,-13 0 15,27-27 1,-27 27-16,13 13 0,-13 13 31,0 27-15,0-27-16,0 0 0,13 1 0,-13 12 16,13-13-16,1 1 0,-1-1 0,40 13 15,-27-26-15,-12 0 16,25 0-16</inkml:trace>
  <inkml:trace contextRef="#ctx0" brushRef="#br0" timeOffset="-95287.64">22807 11919 0,'-13'93'0,"13"-14"16,13-65-16,-13-1 16,0 13-16,13-12 0,-13-1 0,0 0 15,14 0-15,-1-13 16,0 0-1,0-13 1,0 0-16,1 0 0,-14-14 0,13 14 0,13-27 16,-12 1-16,-1 25 0,0-12 15,-13 13-15,13-1 0,-13 1 16,14 13-16,-14-13 0,13 13 0</inkml:trace>
  <inkml:trace contextRef="#ctx0" brushRef="#br0" timeOffset="-94818.58">23164 11906 0,'-26'27'16,"13"-14"-16,13 0 15,-14 0-15,1 1 0,13-1 0,-13 13 16,13-12-16,0-1 0,-13 26 15,13-25 1,0-1 0,13-13-16,0-13 15,14-1 1,-14 1-16,0 0 16,0 0-16,1 0 15,12 13 1,-13 0-16,0 0 15,1 13-15,-1 0 16,-13 13 0,0-12-16,13-14 0,-13 13 15,0 0 1,0 0-16,27-26 31,-14-13-15,-13 12-16,13 1 0,0 0 15,0-13 1,1 12-16,-14 1 0,13 0 0,0 0 16,0-1-1,1 14-15</inkml:trace>
  <inkml:trace contextRef="#ctx0" brushRef="#br0" timeOffset="-94674.62">23508 11906 0,'0'13'0,"-13"14"16,13-14-16,0 0 16,0 1-16,0-1 0,0 0 15,-13 0-15,13 1 0,0-1 0,0 0 16,0 0-16</inkml:trace>
  <inkml:trace contextRef="#ctx0" brushRef="#br0" timeOffset="-94524.02">23561 11800 0</inkml:trace>
  <inkml:trace contextRef="#ctx0" brushRef="#br0" timeOffset="-94108.02">23746 11827 0,'-13'0'15,"0"13"-15,-14 14 16,27-14-16,-26 13 16,26-13-16,0 1 15,0-1-15,13-13 16,0 0-1,14 0 1,-14-13-16,0-1 16,14 1-16,-14 0 15,0 13-15,0-13 16,-13 26 0,0 13-1,0-12-15,-13 12 16,13-13-16,0 1 15,0-1-15,0 0 0,0 0 0</inkml:trace>
  <inkml:trace contextRef="#ctx0" brushRef="#br0" timeOffset="-93694.43">24077 11496 0,'-13'27'0,"-14"12"16,27-25-16,-13 12 0,13-13 16,-26 40-1,26-40-15,0 1 0,-14-1 16,14 0-16,14 0 15,-1-13 1,13 0 0,-12 0-16,-14 14 15,26-1 1,-13 0-16,1-13 0,-14 13 0,13 0 0,-13 14 16,0-14-16,0 0 15,0 1-15,-13-1 0,13 0 0,-27 27 16,14-27-16,0 0 15,-14 0 1,14 1 0</inkml:trace>
  <inkml:trace contextRef="#ctx0" brushRef="#br0" timeOffset="-93252.07">24434 11311 0,'-26'40'16,"26"-27"-16,-13 13 0,-27 67 15,13-53-15,27-1 16,-13 1-16,0 53 15,13-80-15,0 13 0,0-12 0,13 12 16,0 0 0,14 1-16,-1-27 15,1 0-15,-1 0 0,-12 0 16,12-13-16,-13-1 0,0 1 16,1-13-16,-1 13 0,0-1 0,0-12 15,-13 13 1,-39 26-1,39 0-15,-14-13 0,1 13 16,0 1-16,13-1 0,-13 0 16,13 53-1,0-53-15,13-13 16,0 27-16,14-14 16,-1-13-1,-13 13-15,1-13 0,-1 0 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8FF0985-4DD9-4444-90FD-F3D97D2F778D}" type="datetimeFigureOut">
              <a:rPr lang="en-US" smtClean="0"/>
              <a:t>1/29/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6871FE-075C-493B-85AE-CB41313C4FA9}" type="slidenum">
              <a:rPr lang="en-US" smtClean="0"/>
              <a:t>‹#›</a:t>
            </a:fld>
            <a:endParaRPr lang="en-US"/>
          </a:p>
        </p:txBody>
      </p:sp>
      <p:sp>
        <p:nvSpPr>
          <p:cNvPr id="8" name="fl" descr="                              Dell - Internal Use - Confidential&#10;"/>
          <p:cNvSpPr txBox="1"/>
          <p:nvPr/>
        </p:nvSpPr>
        <p:spPr>
          <a:xfrm>
            <a:off x="0" y="8737600"/>
            <a:ext cx="7010400" cy="592470"/>
          </a:xfrm>
          <a:prstGeom prst="rect">
            <a:avLst/>
          </a:prstGeom>
          <a:noFill/>
        </p:spPr>
        <p:txBody>
          <a:bodyPr vert="horz" rtlCol="0">
            <a:spAutoFit/>
          </a:bodyPr>
          <a:lstStyle/>
          <a:p>
            <a:pPr algn="l"/>
            <a:r>
              <a:rPr lang="en-US" sz="850" b="1" i="0" u="none" baseline="0">
                <a:solidFill>
                  <a:srgbClr val="7F7F7F"/>
                </a:solidFill>
                <a:latin typeface="museo sans for dell"/>
              </a:rPr>
              <a:t>                              Dell - Internal Use - Confidential</a:t>
            </a:r>
          </a:p>
          <a:p>
            <a:endParaRPr lang="en-US"/>
          </a:p>
        </p:txBody>
      </p:sp>
    </p:spTree>
    <p:extLst>
      <p:ext uri="{BB962C8B-B14F-4D97-AF65-F5344CB8AC3E}">
        <p14:creationId xmlns:p14="http://schemas.microsoft.com/office/powerpoint/2010/main" val="1187437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3679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2</a:t>
            </a:fld>
            <a:endParaRPr lang="en-US"/>
          </a:p>
        </p:txBody>
      </p:sp>
    </p:spTree>
    <p:extLst>
      <p:ext uri="{BB962C8B-B14F-4D97-AF65-F5344CB8AC3E}">
        <p14:creationId xmlns:p14="http://schemas.microsoft.com/office/powerpoint/2010/main" val="304616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6871FE-075C-493B-85AE-CB41313C4FA9}" type="slidenum">
              <a:rPr lang="en-US" smtClean="0"/>
              <a:t>5</a:t>
            </a:fld>
            <a:endParaRPr lang="en-US"/>
          </a:p>
        </p:txBody>
      </p:sp>
    </p:spTree>
    <p:extLst>
      <p:ext uri="{BB962C8B-B14F-4D97-AF65-F5344CB8AC3E}">
        <p14:creationId xmlns:p14="http://schemas.microsoft.com/office/powerpoint/2010/main" val="16505246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217567891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7924386"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78062111"/>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a:t>Subhead</a:t>
            </a:r>
          </a:p>
        </p:txBody>
      </p:sp>
      <p:sp>
        <p:nvSpPr>
          <p:cNvPr id="2" name="Title 1"/>
          <p:cNvSpPr>
            <a:spLocks noGrp="1"/>
          </p:cNvSpPr>
          <p:nvPr>
            <p:ph type="title" hasCustomPrompt="1"/>
          </p:nvPr>
        </p:nvSpPr>
        <p:spPr>
          <a:xfrm>
            <a:off x="274319" y="271885"/>
            <a:ext cx="7955280" cy="64008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5411100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024378676"/>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3050" y="271463"/>
            <a:ext cx="4295219" cy="64008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4320"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24754075"/>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3050" y="27405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305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305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462848660"/>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74320"/>
            <a:ext cx="4297680" cy="664797"/>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13348"/>
            <a:ext cx="4297680" cy="238842"/>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7822964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177540280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6172"/>
            <a:ext cx="8229600" cy="63779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78809198"/>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29/2022</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29/2022</a:t>
            </a:fld>
            <a:endParaRPr lang="en-US" sz="900" dirty="0">
              <a:solidFill>
                <a:schemeClr val="bg2">
                  <a:lumMod val="50000"/>
                  <a:lumOff val="50000"/>
                </a:schemeClr>
              </a:solidFill>
              <a:latin typeface="+mn-lt"/>
            </a:endParaRPr>
          </a:p>
        </p:txBody>
      </p:sp>
      <p:sp>
        <p:nvSpPr>
          <p:cNvPr id="22" name="TextBox 21"/>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4" name="TextBox 23"/>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5" name="TextBox 24"/>
          <p:cNvSpPr txBox="1"/>
          <p:nvPr/>
        </p:nvSpPr>
        <p:spPr>
          <a:xfrm>
            <a:off x="8733880" y="4951976"/>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F328E8F9-C379-4B42-A39A-E2B6F2E173A0}"/>
              </a:ext>
            </a:extLst>
          </p:cNvPr>
          <p:cNvSpPr txBox="1"/>
          <p:nvPr userDrawn="1"/>
        </p:nvSpPr>
        <p:spPr>
          <a:xfrm>
            <a:off x="-71846" y="4769553"/>
            <a:ext cx="1185008"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Trainer : Arun</a:t>
            </a:r>
            <a:endParaRPr lang="en-US" sz="700" dirty="0">
              <a:solidFill>
                <a:srgbClr val="7F7F7F"/>
              </a:solidFill>
              <a:latin typeface="Calibri" panose="020F0502020204030204" pitchFamily="34" charset="0"/>
            </a:endParaRPr>
          </a:p>
        </p:txBody>
      </p:sp>
      <p:sp>
        <p:nvSpPr>
          <p:cNvPr id="10" name="MSIPCMContentMarking" descr="{&quot;HashCode&quot;:-1912962988,&quot;Placement&quot;:&quot;Footer&quot;}">
            <a:extLst>
              <a:ext uri="{FF2B5EF4-FFF2-40B4-BE49-F238E27FC236}">
                <a16:creationId xmlns:a16="http://schemas.microsoft.com/office/drawing/2014/main" id="{D04AD605-86D5-49BD-9594-34302F56EB58}"/>
              </a:ext>
            </a:extLst>
          </p:cNvPr>
          <p:cNvSpPr txBox="1"/>
          <p:nvPr userDrawn="1"/>
        </p:nvSpPr>
        <p:spPr>
          <a:xfrm>
            <a:off x="-1" y="4931136"/>
            <a:ext cx="1665509" cy="16158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50" dirty="0">
                <a:solidFill>
                  <a:srgbClr val="7F7F7F"/>
                </a:solidFill>
                <a:latin typeface="Calibri" panose="020F0502020204030204" pitchFamily="34" charset="0"/>
              </a:rPr>
              <a:t>Statistics for Data Science</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367" r:id="rId1"/>
    <p:sldLayoutId id="2147484244" r:id="rId2"/>
    <p:sldLayoutId id="2147484245" r:id="rId3"/>
    <p:sldLayoutId id="2147484246" r:id="rId4"/>
    <p:sldLayoutId id="2147484247" r:id="rId5"/>
    <p:sldLayoutId id="2147484460" r:id="rId6"/>
    <p:sldLayoutId id="2147484249" r:id="rId7"/>
    <p:sldLayoutId id="2147484250" r:id="rId8"/>
    <p:sldLayoutId id="2147484463" r:id="rId9"/>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png"/><Relationship Id="rId5" Type="http://schemas.openxmlformats.org/officeDocument/2006/relationships/notesSlide" Target="../notesSlides/notesSlide1.xml"/><Relationship Id="rId10" Type="http://schemas.openxmlformats.org/officeDocument/2006/relationships/customXml" Target="../ink/ink1.xml"/><Relationship Id="rId4" Type="http://schemas.openxmlformats.org/officeDocument/2006/relationships/slideLayout" Target="../slideLayouts/slideLayout9.xml"/><Relationship Id="rId9" Type="http://schemas.openxmlformats.org/officeDocument/2006/relationships/hyperlink" Target="https://scherlund.blogspot.com/2018/01/ai-and-machine-learning-give-new.html"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ustomXml" Target="../ink/ink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www.collectedny.org/careerposts/assessing-job-offers/" TargetMode="External"/><Relationship Id="rId7" Type="http://schemas.openxmlformats.org/officeDocument/2006/relationships/customXml" Target="../ink/ink11.xml"/><Relationship Id="rId2" Type="http://schemas.openxmlformats.org/officeDocument/2006/relationships/image" Target="../media/image22.jp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hyperlink" Target="https://www.pexels.com/photo/university-entrance-arch-247823/" TargetMode="External"/><Relationship Id="rId4" Type="http://schemas.openxmlformats.org/officeDocument/2006/relationships/image" Target="../media/image23.jpe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customXml" Target="../ink/ink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ustomXml" Target="../ink/ink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ustomXml" Target="../ink/ink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ustomXml" Target="../ink/ink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ustomXml" Target="../ink/ink16.xml"/><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customXml" Target="../ink/ink17.xml"/><Relationship Id="rId2" Type="http://schemas.openxmlformats.org/officeDocument/2006/relationships/image" Target="../media/image31.png"/><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5" Type="http://schemas.openxmlformats.org/officeDocument/2006/relationships/image" Target="../media/image35.png"/><Relationship Id="rId4" Type="http://schemas.openxmlformats.org/officeDocument/2006/relationships/customXml" Target="../ink/ink1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customXml" Target="../ink/ink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customXml" Target="../ink/ink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customXml" Target="../ink/ink20.xml"/><Relationship Id="rId2" Type="http://schemas.openxmlformats.org/officeDocument/2006/relationships/image" Target="../media/image37.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1.png"/><Relationship Id="rId3" Type="http://schemas.openxmlformats.org/officeDocument/2006/relationships/hyperlink" Target="https://www.peakpx.com/1988/weather-forecast" TargetMode="External"/><Relationship Id="rId7" Type="http://schemas.openxmlformats.org/officeDocument/2006/relationships/hyperlink" Target="https://www.quoteinspector.com/free-images/" TargetMode="External"/><Relationship Id="rId12" Type="http://schemas.openxmlformats.org/officeDocument/2006/relationships/customXml" Target="../ink/ink3.xml"/><Relationship Id="rId2" Type="http://schemas.openxmlformats.org/officeDocument/2006/relationships/image" Target="../media/image6.jpeg"/><Relationship Id="rId1" Type="http://schemas.openxmlformats.org/officeDocument/2006/relationships/slideLayout" Target="../slideLayouts/slideLayout2.xml"/><Relationship Id="rId6" Type="http://schemas.openxmlformats.org/officeDocument/2006/relationships/image" Target="../media/image8.jpeg"/><Relationship Id="rId11" Type="http://schemas.openxmlformats.org/officeDocument/2006/relationships/hyperlink" Target="https://www.flickr.com/photos/brusselsairport/38822732482" TargetMode="External"/><Relationship Id="rId5" Type="http://schemas.openxmlformats.org/officeDocument/2006/relationships/hyperlink" Target="https://journalistsresource.org/tag/election-beat-2020/" TargetMode="External"/><Relationship Id="rId10" Type="http://schemas.openxmlformats.org/officeDocument/2006/relationships/image" Target="../media/image10.jpeg"/><Relationship Id="rId4" Type="http://schemas.openxmlformats.org/officeDocument/2006/relationships/image" Target="../media/image7.png"/><Relationship Id="rId9" Type="http://schemas.openxmlformats.org/officeDocument/2006/relationships/hyperlink" Target="http://dangerouslee.biz/insurance-agency-seo/"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ustomXml" Target="../ink/ink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ustomXml" Target="../ink/ink5.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www.thebluediamondgallery.com/handwriting/s/statistics.html" TargetMode="External"/><Relationship Id="rId2" Type="http://schemas.openxmlformats.org/officeDocument/2006/relationships/image" Target="../media/image14.jpe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customXml" Target="../ink/ink6.xml"/></Relationships>
</file>

<file path=ppt/slides/_rels/slide7.xml.rels><?xml version="1.0" encoding="UTF-8" standalone="yes"?>
<Relationships xmlns="http://schemas.openxmlformats.org/package/2006/relationships"><Relationship Id="rId3" Type="http://schemas.openxmlformats.org/officeDocument/2006/relationships/customXml" Target="../ink/ink7.xml"/><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ustomXml" Target="../ink/ink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ustomXml" Target="../ink/ink9.xml"/><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A1B985CE-E4F8-4F70-B810-895B51F6D0B1}"/>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198" name="think-cell Slide" r:id="rId6" imgW="529" imgH="530" progId="TCLayout.ActiveDocument.1">
                  <p:embed/>
                </p:oleObj>
              </mc:Choice>
              <mc:Fallback>
                <p:oleObj name="think-cell Slide" r:id="rId6" imgW="529" imgH="530" progId="TCLayout.ActiveDocument.1">
                  <p:embed/>
                  <p:pic>
                    <p:nvPicPr>
                      <p:cNvPr id="29" name="Object 28" hidden="1">
                        <a:extLst>
                          <a:ext uri="{FF2B5EF4-FFF2-40B4-BE49-F238E27FC236}">
                            <a16:creationId xmlns:a16="http://schemas.microsoft.com/office/drawing/2014/main" id="{A1B985CE-E4F8-4F70-B810-895B51F6D0B1}"/>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3211C-DF5D-47B7-AE53-4431785B91A2}"/>
              </a:ext>
            </a:extLst>
          </p:cNvPr>
          <p:cNvSpPr/>
          <p:nvPr>
            <p:custDataLst>
              <p:tags r:id="rId3"/>
            </p:custDataLst>
          </p:nvPr>
        </p:nvSpPr>
        <p:spPr>
          <a:xfrm>
            <a:off x="1143000" y="0"/>
            <a:ext cx="119063" cy="119063"/>
          </a:xfrm>
          <a:prstGeom prst="rect">
            <a:avLst/>
          </a:prstGeom>
          <a:solidFill>
            <a:schemeClr val="bg1"/>
          </a:solidFill>
          <a:ln w="12700" cmpd="sng">
            <a:noFill/>
          </a:ln>
          <a:effectLst/>
        </p:spPr>
        <p:txBody>
          <a:bodyPr vert="horz" wrap="none" lIns="0" tIns="0" rIns="0" bIns="0" numCol="1" spcCol="0" rtlCol="0" anchor="ctr" anchorCtr="0">
            <a:noAutofit/>
          </a:bodyPr>
          <a:lstStyle/>
          <a:p>
            <a:pPr algn="ctr">
              <a:lnSpc>
                <a:spcPct val="90000"/>
              </a:lnSpc>
            </a:pPr>
            <a:endParaRPr lang="en-US" sz="2100" dirty="0" err="1">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33" name="Title 32">
            <a:extLst>
              <a:ext uri="{FF2B5EF4-FFF2-40B4-BE49-F238E27FC236}">
                <a16:creationId xmlns:a16="http://schemas.microsoft.com/office/drawing/2014/main" id="{2F9043AA-1BB2-49E3-B702-D663491C3B65}"/>
              </a:ext>
            </a:extLst>
          </p:cNvPr>
          <p:cNvSpPr>
            <a:spLocks noGrp="1"/>
          </p:cNvSpPr>
          <p:nvPr>
            <p:ph type="title"/>
          </p:nvPr>
        </p:nvSpPr>
        <p:spPr>
          <a:xfrm>
            <a:off x="81419" y="1053978"/>
            <a:ext cx="2868459" cy="3035543"/>
          </a:xfrm>
        </p:spPr>
        <p:txBody>
          <a:bodyPr/>
          <a:lstStyle/>
          <a:p>
            <a:r>
              <a:rPr lang="en-US" sz="4800" dirty="0"/>
              <a:t>Statistics for </a:t>
            </a:r>
            <a:br>
              <a:rPr lang="en-US" sz="4800" dirty="0"/>
            </a:br>
            <a:r>
              <a:rPr lang="en-US" sz="4800" dirty="0">
                <a:solidFill>
                  <a:schemeClr val="tx2">
                    <a:lumMod val="50000"/>
                  </a:schemeClr>
                </a:solidFill>
              </a:rPr>
              <a:t>Data Science</a:t>
            </a:r>
            <a:br>
              <a:rPr lang="en-US" dirty="0"/>
            </a:br>
            <a:br>
              <a:rPr lang="en-US" dirty="0"/>
            </a:br>
            <a:r>
              <a:rPr lang="en-US" dirty="0"/>
              <a:t> </a:t>
            </a:r>
          </a:p>
        </p:txBody>
      </p:sp>
      <p:pic>
        <p:nvPicPr>
          <p:cNvPr id="44" name="Picture 43" descr="Background pattern&#10;&#10;Description automatically generated">
            <a:extLst>
              <a:ext uri="{FF2B5EF4-FFF2-40B4-BE49-F238E27FC236}">
                <a16:creationId xmlns:a16="http://schemas.microsoft.com/office/drawing/2014/main" id="{4BA223F5-9515-4D0A-940B-6C002E1DC05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3181610" y="-1"/>
            <a:ext cx="5962389" cy="5143500"/>
          </a:xfrm>
          <a:prstGeom prst="rect">
            <a:avLst/>
          </a:prstGeom>
        </p:spPr>
      </p:pic>
      <mc:AlternateContent xmlns:mc="http://schemas.openxmlformats.org/markup-compatibility/2006">
        <mc:Choice xmlns:p14="http://schemas.microsoft.com/office/powerpoint/2010/main" Requires="p14">
          <p:contentPart p14:bwMode="auto" r:id="rId10">
            <p14:nvContentPartPr>
              <p14:cNvPr id="2" name="Ink 1">
                <a:extLst>
                  <a:ext uri="{FF2B5EF4-FFF2-40B4-BE49-F238E27FC236}">
                    <a16:creationId xmlns:a16="http://schemas.microsoft.com/office/drawing/2014/main" id="{856E4EC0-AE60-4FA5-ACA2-BBAF2B1A7E0B}"/>
                  </a:ext>
                </a:extLst>
              </p14:cNvPr>
              <p14:cNvContentPartPr/>
              <p14:nvPr/>
            </p14:nvContentPartPr>
            <p14:xfrm>
              <a:off x="1438200" y="262080"/>
              <a:ext cx="1257840" cy="871920"/>
            </p14:xfrm>
          </p:contentPart>
        </mc:Choice>
        <mc:Fallback>
          <p:pic>
            <p:nvPicPr>
              <p:cNvPr id="2" name="Ink 1">
                <a:extLst>
                  <a:ext uri="{FF2B5EF4-FFF2-40B4-BE49-F238E27FC236}">
                    <a16:creationId xmlns:a16="http://schemas.microsoft.com/office/drawing/2014/main" id="{856E4EC0-AE60-4FA5-ACA2-BBAF2B1A7E0B}"/>
                  </a:ext>
                </a:extLst>
              </p:cNvPr>
              <p:cNvPicPr/>
              <p:nvPr/>
            </p:nvPicPr>
            <p:blipFill>
              <a:blip r:embed="rId11"/>
              <a:stretch>
                <a:fillRect/>
              </a:stretch>
            </p:blipFill>
            <p:spPr>
              <a:xfrm>
                <a:off x="1428840" y="252720"/>
                <a:ext cx="1276560" cy="890640"/>
              </a:xfrm>
              <a:prstGeom prst="rect">
                <a:avLst/>
              </a:prstGeom>
            </p:spPr>
          </p:pic>
        </mc:Fallback>
      </mc:AlternateContent>
    </p:spTree>
    <p:extLst>
      <p:ext uri="{BB962C8B-B14F-4D97-AF65-F5344CB8AC3E}">
        <p14:creationId xmlns:p14="http://schemas.microsoft.com/office/powerpoint/2010/main" val="1576393387"/>
      </p:ext>
    </p:extLst>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4E467408-64B4-4490-A4A7-2F755821ED76}"/>
                  </a:ext>
                </a:extLst>
              </p14:cNvPr>
              <p14:cNvContentPartPr/>
              <p14:nvPr/>
            </p14:nvContentPartPr>
            <p14:xfrm>
              <a:off x="33480" y="614520"/>
              <a:ext cx="8777520" cy="4210200"/>
            </p14:xfrm>
          </p:contentPart>
        </mc:Choice>
        <mc:Fallback>
          <p:pic>
            <p:nvPicPr>
              <p:cNvPr id="4" name="Ink 3">
                <a:extLst>
                  <a:ext uri="{FF2B5EF4-FFF2-40B4-BE49-F238E27FC236}">
                    <a16:creationId xmlns:a16="http://schemas.microsoft.com/office/drawing/2014/main" id="{4E467408-64B4-4490-A4A7-2F755821ED76}"/>
                  </a:ext>
                </a:extLst>
              </p:cNvPr>
              <p:cNvPicPr/>
              <p:nvPr/>
            </p:nvPicPr>
            <p:blipFill>
              <a:blip r:embed="rId3"/>
              <a:stretch>
                <a:fillRect/>
              </a:stretch>
            </p:blipFill>
            <p:spPr>
              <a:xfrm>
                <a:off x="24120" y="605160"/>
                <a:ext cx="8796240" cy="4228920"/>
              </a:xfrm>
              <a:prstGeom prst="rect">
                <a:avLst/>
              </a:prstGeom>
            </p:spPr>
          </p:pic>
        </mc:Fallback>
      </mc:AlternateContent>
    </p:spTree>
    <p:extLst>
      <p:ext uri="{BB962C8B-B14F-4D97-AF65-F5344CB8AC3E}">
        <p14:creationId xmlns:p14="http://schemas.microsoft.com/office/powerpoint/2010/main" val="2425927352"/>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AD2AC30-CBBF-43EB-AF23-963B8A7A6A13}"/>
              </a:ext>
            </a:extLst>
          </p:cNvPr>
          <p:cNvSpPr/>
          <p:nvPr/>
        </p:nvSpPr>
        <p:spPr>
          <a:xfrm>
            <a:off x="132621" y="1777656"/>
            <a:ext cx="7545547" cy="48391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pic>
        <p:nvPicPr>
          <p:cNvPr id="7" name="Picture 6" descr="A hand holding a sign&#10;&#10;Description automatically generated with low confidence">
            <a:extLst>
              <a:ext uri="{FF2B5EF4-FFF2-40B4-BE49-F238E27FC236}">
                <a16:creationId xmlns:a16="http://schemas.microsoft.com/office/drawing/2014/main" id="{E7CF08A8-2253-494F-B061-34EC8A35B25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442633" y="3365844"/>
            <a:ext cx="2237462" cy="1491641"/>
          </a:xfrm>
          <a:prstGeom prst="rect">
            <a:avLst/>
          </a:prstGeom>
        </p:spPr>
      </p:pic>
      <p:sp>
        <p:nvSpPr>
          <p:cNvPr id="2" name="Title 1">
            <a:extLst>
              <a:ext uri="{FF2B5EF4-FFF2-40B4-BE49-F238E27FC236}">
                <a16:creationId xmlns:a16="http://schemas.microsoft.com/office/drawing/2014/main" id="{0346C8A9-0ABB-4118-8AEB-EBEA4B84D459}"/>
              </a:ext>
            </a:extLst>
          </p:cNvPr>
          <p:cNvSpPr>
            <a:spLocks noGrp="1"/>
          </p:cNvSpPr>
          <p:nvPr>
            <p:ph type="title"/>
          </p:nvPr>
        </p:nvSpPr>
        <p:spPr>
          <a:xfrm>
            <a:off x="80166" y="52681"/>
            <a:ext cx="7955280" cy="640080"/>
          </a:xfrm>
        </p:spPr>
        <p:txBody>
          <a:bodyPr/>
          <a:lstStyle/>
          <a:p>
            <a:r>
              <a:rPr lang="en-US" dirty="0"/>
              <a:t>Population &amp; Sample</a:t>
            </a:r>
          </a:p>
        </p:txBody>
      </p:sp>
      <p:sp>
        <p:nvSpPr>
          <p:cNvPr id="3" name="Content Placeholder 2">
            <a:extLst>
              <a:ext uri="{FF2B5EF4-FFF2-40B4-BE49-F238E27FC236}">
                <a16:creationId xmlns:a16="http://schemas.microsoft.com/office/drawing/2014/main" id="{ED8E31E5-95A7-4252-A308-0E980CDDFA19}"/>
              </a:ext>
            </a:extLst>
          </p:cNvPr>
          <p:cNvSpPr>
            <a:spLocks noGrp="1"/>
          </p:cNvSpPr>
          <p:nvPr>
            <p:ph sz="half" idx="1"/>
          </p:nvPr>
        </p:nvSpPr>
        <p:spPr>
          <a:xfrm>
            <a:off x="80166" y="692761"/>
            <a:ext cx="7924386" cy="3200400"/>
          </a:xfrm>
        </p:spPr>
        <p:txBody>
          <a:bodyPr/>
          <a:lstStyle/>
          <a:p>
            <a:r>
              <a:rPr lang="en-US" dirty="0">
                <a:solidFill>
                  <a:schemeClr val="bg2">
                    <a:lumMod val="50000"/>
                    <a:lumOff val="50000"/>
                  </a:schemeClr>
                </a:solidFill>
              </a:rPr>
              <a:t>A </a:t>
            </a:r>
            <a:r>
              <a:rPr lang="en-US" b="1" dirty="0">
                <a:solidFill>
                  <a:schemeClr val="bg1"/>
                </a:solidFill>
              </a:rPr>
              <a:t>population</a:t>
            </a:r>
            <a:r>
              <a:rPr lang="en-US" dirty="0">
                <a:solidFill>
                  <a:schemeClr val="bg2">
                    <a:lumMod val="50000"/>
                    <a:lumOff val="50000"/>
                  </a:schemeClr>
                </a:solidFill>
              </a:rPr>
              <a:t> is the collection of all items of interest to our study and is usually denoted with an uppercase N.. The numbers we've obtained when using a population are called parameters..</a:t>
            </a:r>
          </a:p>
          <a:p>
            <a:r>
              <a:rPr lang="en-US" dirty="0">
                <a:solidFill>
                  <a:schemeClr val="bg2">
                    <a:lumMod val="50000"/>
                    <a:lumOff val="50000"/>
                  </a:schemeClr>
                </a:solidFill>
              </a:rPr>
              <a:t>A </a:t>
            </a:r>
            <a:r>
              <a:rPr lang="en-US" b="1" dirty="0">
                <a:solidFill>
                  <a:schemeClr val="bg1"/>
                </a:solidFill>
              </a:rPr>
              <a:t>sample</a:t>
            </a:r>
            <a:r>
              <a:rPr lang="en-US" dirty="0">
                <a:solidFill>
                  <a:schemeClr val="bg2">
                    <a:lumMod val="50000"/>
                    <a:lumOff val="50000"/>
                  </a:schemeClr>
                </a:solidFill>
              </a:rPr>
              <a:t> is a subset of the population and is denoted with a lowercase n and the numbers we've obtained when working with the sample are called statistics.</a:t>
            </a:r>
          </a:p>
        </p:txBody>
      </p:sp>
      <p:pic>
        <p:nvPicPr>
          <p:cNvPr id="5" name="Picture 4" descr="A picture containing tree, outdoor, sky, grass&#10;&#10;Description automatically generated">
            <a:extLst>
              <a:ext uri="{FF2B5EF4-FFF2-40B4-BE49-F238E27FC236}">
                <a16:creationId xmlns:a16="http://schemas.microsoft.com/office/drawing/2014/main" id="{431BA9D4-D8FA-4E00-8D33-B168C9712A2F}"/>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73330" y="2571750"/>
            <a:ext cx="2138607" cy="1247197"/>
          </a:xfrm>
          <a:prstGeom prst="rect">
            <a:avLst/>
          </a:prstGeom>
        </p:spPr>
      </p:pic>
      <p:pic>
        <p:nvPicPr>
          <p:cNvPr id="10" name="Picture 9">
            <a:extLst>
              <a:ext uri="{FF2B5EF4-FFF2-40B4-BE49-F238E27FC236}">
                <a16:creationId xmlns:a16="http://schemas.microsoft.com/office/drawing/2014/main" id="{356CE689-21BC-4E4B-B48F-87112F3A0EA6}"/>
              </a:ext>
            </a:extLst>
          </p:cNvPr>
          <p:cNvPicPr>
            <a:picLocks noChangeAspect="1"/>
          </p:cNvPicPr>
          <p:nvPr/>
        </p:nvPicPr>
        <p:blipFill>
          <a:blip r:embed="rId6"/>
          <a:stretch>
            <a:fillRect/>
          </a:stretch>
        </p:blipFill>
        <p:spPr>
          <a:xfrm>
            <a:off x="4481048" y="2411832"/>
            <a:ext cx="4324457" cy="2378765"/>
          </a:xfrm>
          <a:prstGeom prst="rect">
            <a:avLst/>
          </a:prstGeom>
        </p:spPr>
      </p:pic>
      <p:sp>
        <p:nvSpPr>
          <p:cNvPr id="11" name="TextBox 10">
            <a:extLst>
              <a:ext uri="{FF2B5EF4-FFF2-40B4-BE49-F238E27FC236}">
                <a16:creationId xmlns:a16="http://schemas.microsoft.com/office/drawing/2014/main" id="{828B196D-C3C6-48AA-BBC5-176FE77028BF}"/>
              </a:ext>
            </a:extLst>
          </p:cNvPr>
          <p:cNvSpPr txBox="1"/>
          <p:nvPr/>
        </p:nvSpPr>
        <p:spPr>
          <a:xfrm>
            <a:off x="132622" y="1777656"/>
            <a:ext cx="7598002" cy="738664"/>
          </a:xfrm>
          <a:prstGeom prst="rect">
            <a:avLst/>
          </a:prstGeom>
          <a:noFill/>
        </p:spPr>
        <p:txBody>
          <a:bodyPr wrap="square" rtlCol="0">
            <a:spAutoFit/>
          </a:bodyPr>
          <a:lstStyle/>
          <a:p>
            <a:pPr>
              <a:spcBef>
                <a:spcPts val="0"/>
              </a:spcBef>
              <a:spcAft>
                <a:spcPts val="0"/>
              </a:spcAft>
              <a:buClr>
                <a:schemeClr val="bg1"/>
              </a:buClr>
            </a:pPr>
            <a:r>
              <a:rPr lang="en-US" sz="1400" dirty="0">
                <a:solidFill>
                  <a:schemeClr val="tx2"/>
                </a:solidFill>
                <a:latin typeface="Arial" panose="020B0604020202020204" pitchFamily="34" charset="0"/>
                <a:cs typeface="Arial" panose="020B0604020202020204" pitchFamily="34" charset="0"/>
              </a:rPr>
              <a:t>Example : Let's say we want to perform a survey of the job prospects of the students studying in the New York University, what is the population?</a:t>
            </a:r>
          </a:p>
          <a:p>
            <a:pPr>
              <a:spcBef>
                <a:spcPts val="0"/>
              </a:spcBef>
              <a:spcAft>
                <a:spcPts val="0"/>
              </a:spcAft>
              <a:buClr>
                <a:schemeClr val="bg1"/>
              </a:buClr>
            </a:pPr>
            <a:r>
              <a:rPr lang="en-US" sz="1400" dirty="0">
                <a:solidFill>
                  <a:schemeClr val="bg2"/>
                </a:solidFill>
                <a:latin typeface="+mn-lt"/>
              </a:rPr>
              <a:t> </a:t>
            </a:r>
          </a:p>
        </p:txBody>
      </p:sp>
      <mc:AlternateContent xmlns:mc="http://schemas.openxmlformats.org/markup-compatibility/2006">
        <mc:Choice xmlns:p14="http://schemas.microsoft.com/office/powerpoint/2010/main" Requires="p14">
          <p:contentPart p14:bwMode="auto" r:id="rId7">
            <p14:nvContentPartPr>
              <p14:cNvPr id="4" name="Ink 3">
                <a:extLst>
                  <a:ext uri="{FF2B5EF4-FFF2-40B4-BE49-F238E27FC236}">
                    <a16:creationId xmlns:a16="http://schemas.microsoft.com/office/drawing/2014/main" id="{26BC42F6-7733-4002-A423-D03847E32D76}"/>
                  </a:ext>
                </a:extLst>
              </p14:cNvPr>
              <p14:cNvContentPartPr/>
              <p14:nvPr/>
            </p14:nvContentPartPr>
            <p14:xfrm>
              <a:off x="0" y="33480"/>
              <a:ext cx="9135000" cy="3057840"/>
            </p14:xfrm>
          </p:contentPart>
        </mc:Choice>
        <mc:Fallback>
          <p:pic>
            <p:nvPicPr>
              <p:cNvPr id="4" name="Ink 3">
                <a:extLst>
                  <a:ext uri="{FF2B5EF4-FFF2-40B4-BE49-F238E27FC236}">
                    <a16:creationId xmlns:a16="http://schemas.microsoft.com/office/drawing/2014/main" id="{26BC42F6-7733-4002-A423-D03847E32D76}"/>
                  </a:ext>
                </a:extLst>
              </p:cNvPr>
              <p:cNvPicPr/>
              <p:nvPr/>
            </p:nvPicPr>
            <p:blipFill>
              <a:blip r:embed="rId8"/>
              <a:stretch>
                <a:fillRect/>
              </a:stretch>
            </p:blipFill>
            <p:spPr>
              <a:xfrm>
                <a:off x="-9360" y="24120"/>
                <a:ext cx="9153720" cy="3076560"/>
              </a:xfrm>
              <a:prstGeom prst="rect">
                <a:avLst/>
              </a:prstGeom>
            </p:spPr>
          </p:pic>
        </mc:Fallback>
      </mc:AlternateContent>
    </p:spTree>
    <p:extLst>
      <p:ext uri="{BB962C8B-B14F-4D97-AF65-F5344CB8AC3E}">
        <p14:creationId xmlns:p14="http://schemas.microsoft.com/office/powerpoint/2010/main" val="1833670930"/>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DF06E365-4FFB-4D78-99BE-86B726BC3AC5}"/>
                  </a:ext>
                </a:extLst>
              </p14:cNvPr>
              <p14:cNvContentPartPr/>
              <p14:nvPr/>
            </p14:nvContentPartPr>
            <p14:xfrm>
              <a:off x="128520" y="38160"/>
              <a:ext cx="8934840" cy="4996080"/>
            </p14:xfrm>
          </p:contentPart>
        </mc:Choice>
        <mc:Fallback>
          <p:pic>
            <p:nvPicPr>
              <p:cNvPr id="4" name="Ink 3">
                <a:extLst>
                  <a:ext uri="{FF2B5EF4-FFF2-40B4-BE49-F238E27FC236}">
                    <a16:creationId xmlns:a16="http://schemas.microsoft.com/office/drawing/2014/main" id="{DF06E365-4FFB-4D78-99BE-86B726BC3AC5}"/>
                  </a:ext>
                </a:extLst>
              </p:cNvPr>
              <p:cNvPicPr/>
              <p:nvPr/>
            </p:nvPicPr>
            <p:blipFill>
              <a:blip r:embed="rId3"/>
              <a:stretch>
                <a:fillRect/>
              </a:stretch>
            </p:blipFill>
            <p:spPr>
              <a:xfrm>
                <a:off x="119160" y="28800"/>
                <a:ext cx="8953560" cy="5014800"/>
              </a:xfrm>
              <a:prstGeom prst="rect">
                <a:avLst/>
              </a:prstGeom>
            </p:spPr>
          </p:pic>
        </mc:Fallback>
      </mc:AlternateContent>
    </p:spTree>
    <p:extLst>
      <p:ext uri="{BB962C8B-B14F-4D97-AF65-F5344CB8AC3E}">
        <p14:creationId xmlns:p14="http://schemas.microsoft.com/office/powerpoint/2010/main" val="2922280354"/>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4B5D2-0728-491B-B188-E55DA3F71DBD}"/>
              </a:ext>
            </a:extLst>
          </p:cNvPr>
          <p:cNvSpPr>
            <a:spLocks noGrp="1"/>
          </p:cNvSpPr>
          <p:nvPr>
            <p:ph type="title"/>
          </p:nvPr>
        </p:nvSpPr>
        <p:spPr>
          <a:xfrm>
            <a:off x="80166" y="146626"/>
            <a:ext cx="8556530" cy="640080"/>
          </a:xfrm>
        </p:spPr>
        <p:txBody>
          <a:bodyPr/>
          <a:lstStyle/>
          <a:p>
            <a:r>
              <a:rPr lang="en-US" dirty="0"/>
              <a:t>Why Sample should be Random &amp; Representative? </a:t>
            </a:r>
          </a:p>
        </p:txBody>
      </p:sp>
      <p:sp>
        <p:nvSpPr>
          <p:cNvPr id="3" name="Content Placeholder 2">
            <a:extLst>
              <a:ext uri="{FF2B5EF4-FFF2-40B4-BE49-F238E27FC236}">
                <a16:creationId xmlns:a16="http://schemas.microsoft.com/office/drawing/2014/main" id="{FB513912-8764-42DB-B71C-BF2285B701A9}"/>
              </a:ext>
            </a:extLst>
          </p:cNvPr>
          <p:cNvSpPr>
            <a:spLocks noGrp="1"/>
          </p:cNvSpPr>
          <p:nvPr>
            <p:ph sz="half" idx="1"/>
          </p:nvPr>
        </p:nvSpPr>
        <p:spPr>
          <a:xfrm>
            <a:off x="186635" y="885589"/>
            <a:ext cx="8694317" cy="3780355"/>
          </a:xfrm>
        </p:spPr>
        <p:txBody>
          <a:bodyPr>
            <a:normAutofit/>
          </a:bodyPr>
          <a:lstStyle/>
          <a:p>
            <a:r>
              <a:rPr lang="en-US" sz="1800" dirty="0">
                <a:solidFill>
                  <a:schemeClr val="bg2">
                    <a:lumMod val="50000"/>
                    <a:lumOff val="50000"/>
                  </a:schemeClr>
                </a:solidFill>
              </a:rPr>
              <a:t>Sampling involves selecting units from a population of interest such that the sampling units </a:t>
            </a:r>
            <a:r>
              <a:rPr lang="en-US" sz="1800" b="1" dirty="0">
                <a:solidFill>
                  <a:schemeClr val="accent1"/>
                </a:solidFill>
              </a:rPr>
              <a:t>represent the whole population</a:t>
            </a:r>
            <a:r>
              <a:rPr lang="en-US" sz="1800" dirty="0">
                <a:solidFill>
                  <a:schemeClr val="bg2">
                    <a:lumMod val="50000"/>
                    <a:lumOff val="50000"/>
                  </a:schemeClr>
                </a:solidFill>
              </a:rPr>
              <a:t>. If sample is bias the resultant statistics can bias and will not be representative. </a:t>
            </a:r>
          </a:p>
          <a:p>
            <a:r>
              <a:rPr lang="en-US" sz="1800" dirty="0">
                <a:solidFill>
                  <a:schemeClr val="bg2">
                    <a:lumMod val="50000"/>
                    <a:lumOff val="50000"/>
                  </a:schemeClr>
                </a:solidFill>
              </a:rPr>
              <a:t>Random sampling is one such procedure that selects a sample of units from a population </a:t>
            </a:r>
            <a:r>
              <a:rPr lang="en-US" sz="1800" b="1" dirty="0">
                <a:solidFill>
                  <a:schemeClr val="accent1"/>
                </a:solidFill>
              </a:rPr>
              <a:t>by chance</a:t>
            </a:r>
            <a:r>
              <a:rPr lang="en-US" sz="1800" dirty="0">
                <a:solidFill>
                  <a:schemeClr val="bg2">
                    <a:lumMod val="50000"/>
                    <a:lumOff val="50000"/>
                  </a:schemeClr>
                </a:solidFill>
              </a:rPr>
              <a:t>, typically to </a:t>
            </a:r>
            <a:r>
              <a:rPr lang="en-US" sz="1800" b="1" dirty="0">
                <a:solidFill>
                  <a:schemeClr val="accent1"/>
                </a:solidFill>
              </a:rPr>
              <a:t>facilitate generalization </a:t>
            </a:r>
            <a:r>
              <a:rPr lang="en-US" sz="1800" dirty="0">
                <a:solidFill>
                  <a:schemeClr val="bg2">
                    <a:lumMod val="50000"/>
                    <a:lumOff val="50000"/>
                  </a:schemeClr>
                </a:solidFill>
              </a:rPr>
              <a:t>from the sample to the population. </a:t>
            </a:r>
          </a:p>
          <a:p>
            <a:r>
              <a:rPr lang="en-US" sz="1800" dirty="0">
                <a:solidFill>
                  <a:schemeClr val="bg2">
                    <a:lumMod val="50000"/>
                    <a:lumOff val="50000"/>
                  </a:schemeClr>
                </a:solidFill>
              </a:rPr>
              <a:t>Random sampling ensures that results obtained from your sample should approximate what would have been obtained </a:t>
            </a:r>
            <a:r>
              <a:rPr lang="en-US" sz="1800" b="1" dirty="0">
                <a:solidFill>
                  <a:schemeClr val="accent1"/>
                </a:solidFill>
              </a:rPr>
              <a:t>if the entire population had been measured</a:t>
            </a:r>
            <a:r>
              <a:rPr lang="en-US" sz="1800" dirty="0">
                <a:solidFill>
                  <a:schemeClr val="bg2">
                    <a:lumMod val="50000"/>
                    <a:lumOff val="50000"/>
                  </a:schemeClr>
                </a:solidFill>
              </a:rPr>
              <a:t>. The simplest random sample allows all the units in the population to have an </a:t>
            </a:r>
            <a:r>
              <a:rPr lang="en-US" sz="1800" b="1" dirty="0">
                <a:solidFill>
                  <a:schemeClr val="accent1"/>
                </a:solidFill>
              </a:rPr>
              <a:t>equal chance </a:t>
            </a:r>
            <a:r>
              <a:rPr lang="en-US" sz="1800" dirty="0">
                <a:solidFill>
                  <a:schemeClr val="bg2">
                    <a:lumMod val="50000"/>
                    <a:lumOff val="50000"/>
                  </a:schemeClr>
                </a:solidFill>
              </a:rPr>
              <a:t>of being selected. </a:t>
            </a:r>
            <a:r>
              <a:rPr lang="en-US" sz="1800" b="1" i="1" dirty="0">
                <a:solidFill>
                  <a:schemeClr val="bg2">
                    <a:lumMod val="50000"/>
                    <a:lumOff val="50000"/>
                  </a:schemeClr>
                </a:solidFill>
              </a:rPr>
              <a:t>Often in practice we rely on more complex sampling techniques.</a:t>
            </a:r>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3DA59546-2A69-4AE3-A7CE-27C900BE73A6}"/>
                  </a:ext>
                </a:extLst>
              </p14:cNvPr>
              <p14:cNvContentPartPr/>
              <p14:nvPr/>
            </p14:nvContentPartPr>
            <p14:xfrm>
              <a:off x="566640" y="447840"/>
              <a:ext cx="8401680" cy="4691160"/>
            </p14:xfrm>
          </p:contentPart>
        </mc:Choice>
        <mc:Fallback>
          <p:pic>
            <p:nvPicPr>
              <p:cNvPr id="4" name="Ink 3">
                <a:extLst>
                  <a:ext uri="{FF2B5EF4-FFF2-40B4-BE49-F238E27FC236}">
                    <a16:creationId xmlns:a16="http://schemas.microsoft.com/office/drawing/2014/main" id="{3DA59546-2A69-4AE3-A7CE-27C900BE73A6}"/>
                  </a:ext>
                </a:extLst>
              </p:cNvPr>
              <p:cNvPicPr/>
              <p:nvPr/>
            </p:nvPicPr>
            <p:blipFill>
              <a:blip r:embed="rId3"/>
              <a:stretch>
                <a:fillRect/>
              </a:stretch>
            </p:blipFill>
            <p:spPr>
              <a:xfrm>
                <a:off x="557280" y="438480"/>
                <a:ext cx="8420400" cy="4709880"/>
              </a:xfrm>
              <a:prstGeom prst="rect">
                <a:avLst/>
              </a:prstGeom>
            </p:spPr>
          </p:pic>
        </mc:Fallback>
      </mc:AlternateContent>
    </p:spTree>
    <p:extLst>
      <p:ext uri="{BB962C8B-B14F-4D97-AF65-F5344CB8AC3E}">
        <p14:creationId xmlns:p14="http://schemas.microsoft.com/office/powerpoint/2010/main" val="3661297187"/>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C4F0-02D4-4D34-9B21-249283527E45}"/>
              </a:ext>
            </a:extLst>
          </p:cNvPr>
          <p:cNvSpPr>
            <a:spLocks noGrp="1"/>
          </p:cNvSpPr>
          <p:nvPr>
            <p:ph type="title"/>
          </p:nvPr>
        </p:nvSpPr>
        <p:spPr>
          <a:xfrm>
            <a:off x="0" y="22860"/>
            <a:ext cx="7955280" cy="640080"/>
          </a:xfrm>
        </p:spPr>
        <p:txBody>
          <a:bodyPr/>
          <a:lstStyle/>
          <a:p>
            <a:r>
              <a:rPr lang="en-US" b="1" dirty="0">
                <a:solidFill>
                  <a:schemeClr val="accent1"/>
                </a:solidFill>
              </a:rPr>
              <a:t>Bias in sampling :</a:t>
            </a:r>
            <a:br>
              <a:rPr lang="en-US" b="1" dirty="0">
                <a:solidFill>
                  <a:schemeClr val="accent1"/>
                </a:solidFill>
              </a:rPr>
            </a:br>
            <a:endParaRPr lang="en-US" dirty="0"/>
          </a:p>
        </p:txBody>
      </p:sp>
      <p:sp>
        <p:nvSpPr>
          <p:cNvPr id="3" name="Content Placeholder 2">
            <a:extLst>
              <a:ext uri="{FF2B5EF4-FFF2-40B4-BE49-F238E27FC236}">
                <a16:creationId xmlns:a16="http://schemas.microsoft.com/office/drawing/2014/main" id="{AC6D725B-4977-4966-9898-81C64E843334}"/>
              </a:ext>
            </a:extLst>
          </p:cNvPr>
          <p:cNvSpPr>
            <a:spLocks noGrp="1"/>
          </p:cNvSpPr>
          <p:nvPr>
            <p:ph sz="half" idx="1"/>
          </p:nvPr>
        </p:nvSpPr>
        <p:spPr>
          <a:xfrm>
            <a:off x="30893" y="523337"/>
            <a:ext cx="8603555" cy="4096826"/>
          </a:xfrm>
        </p:spPr>
        <p:txBody>
          <a:bodyPr>
            <a:normAutofit/>
          </a:bodyPr>
          <a:lstStyle/>
          <a:p>
            <a:pPr marL="0" indent="0">
              <a:buNone/>
            </a:pPr>
            <a:r>
              <a:rPr lang="en-US" sz="1200" dirty="0">
                <a:solidFill>
                  <a:schemeClr val="bg2">
                    <a:lumMod val="50000"/>
                    <a:lumOff val="50000"/>
                  </a:schemeClr>
                </a:solidFill>
              </a:rPr>
              <a:t>There are five important potential sources of bias that should be considered when selecting a sample, irrespective of the method used. Sampling bias may be introduced when:</a:t>
            </a:r>
          </a:p>
          <a:p>
            <a:r>
              <a:rPr lang="en-US" sz="1200" dirty="0">
                <a:solidFill>
                  <a:schemeClr val="bg2">
                    <a:lumMod val="50000"/>
                    <a:lumOff val="50000"/>
                  </a:schemeClr>
                </a:solidFill>
              </a:rPr>
              <a:t>Any pre-agreed sampling rules are deviated from</a:t>
            </a:r>
          </a:p>
          <a:p>
            <a:r>
              <a:rPr lang="en-US" sz="1200" dirty="0">
                <a:solidFill>
                  <a:schemeClr val="bg2">
                    <a:lumMod val="50000"/>
                    <a:lumOff val="50000"/>
                  </a:schemeClr>
                </a:solidFill>
              </a:rPr>
              <a:t>People in hard-to-reach groups are omitted</a:t>
            </a:r>
          </a:p>
          <a:p>
            <a:r>
              <a:rPr lang="en-US" sz="1200" dirty="0">
                <a:solidFill>
                  <a:schemeClr val="bg2">
                    <a:lumMod val="50000"/>
                    <a:lumOff val="50000"/>
                  </a:schemeClr>
                </a:solidFill>
              </a:rPr>
              <a:t>Selected individuals are replaced with others, for example if they are difficult to contact</a:t>
            </a:r>
          </a:p>
          <a:p>
            <a:r>
              <a:rPr lang="en-US" sz="1200" dirty="0">
                <a:solidFill>
                  <a:schemeClr val="bg2">
                    <a:lumMod val="50000"/>
                    <a:lumOff val="50000"/>
                  </a:schemeClr>
                </a:solidFill>
              </a:rPr>
              <a:t>There are low response rates</a:t>
            </a:r>
          </a:p>
          <a:p>
            <a:r>
              <a:rPr lang="en-US" sz="1200" dirty="0">
                <a:solidFill>
                  <a:schemeClr val="bg2">
                    <a:lumMod val="50000"/>
                    <a:lumOff val="50000"/>
                  </a:schemeClr>
                </a:solidFill>
              </a:rPr>
              <a:t>An out-of-date list is used as the sample frame (for example, if it excludes people who have recently moved to an area)</a:t>
            </a:r>
          </a:p>
          <a:p>
            <a:pPr marL="0" indent="0">
              <a:buNone/>
            </a:pPr>
            <a:endParaRPr lang="en-US" sz="1200" dirty="0">
              <a:solidFill>
                <a:schemeClr val="bg2">
                  <a:lumMod val="50000"/>
                  <a:lumOff val="50000"/>
                </a:schemeClr>
              </a:solidFill>
            </a:endParaRPr>
          </a:p>
          <a:p>
            <a:pPr marL="0" indent="0">
              <a:buNone/>
            </a:pPr>
            <a:r>
              <a:rPr lang="en-US" sz="2000" b="1" dirty="0">
                <a:solidFill>
                  <a:schemeClr val="accent1"/>
                </a:solidFill>
              </a:rPr>
              <a:t>Types of Sampling : </a:t>
            </a:r>
          </a:p>
          <a:p>
            <a:pPr marL="0" indent="0">
              <a:buNone/>
            </a:pPr>
            <a:r>
              <a:rPr lang="en-US" sz="1200" b="1" dirty="0">
                <a:solidFill>
                  <a:schemeClr val="accent1"/>
                </a:solidFill>
              </a:rPr>
              <a:t>Probability sampling </a:t>
            </a:r>
            <a:r>
              <a:rPr lang="en-US" sz="1200" dirty="0">
                <a:solidFill>
                  <a:schemeClr val="bg2">
                    <a:lumMod val="50000"/>
                    <a:lumOff val="50000"/>
                  </a:schemeClr>
                </a:solidFill>
              </a:rPr>
              <a:t>involves random selection, allowing you to make strong statistical inferences about the whole group.</a:t>
            </a:r>
          </a:p>
          <a:p>
            <a:pPr marL="0" indent="0">
              <a:buNone/>
            </a:pPr>
            <a:r>
              <a:rPr lang="en-US" sz="1200" b="1" dirty="0">
                <a:solidFill>
                  <a:schemeClr val="accent1"/>
                </a:solidFill>
              </a:rPr>
              <a:t>Non-probability</a:t>
            </a:r>
            <a:r>
              <a:rPr lang="en-US" sz="1200" dirty="0">
                <a:solidFill>
                  <a:schemeClr val="bg2">
                    <a:lumMod val="50000"/>
                    <a:lumOff val="50000"/>
                  </a:schemeClr>
                </a:solidFill>
              </a:rPr>
              <a:t> sampling involves non-random selection based on convenience or other criteria, allowing you to easily collect data.</a:t>
            </a:r>
          </a:p>
          <a:p>
            <a:pPr marL="0" indent="0">
              <a:buNone/>
            </a:pPr>
            <a:endParaRPr lang="en-US" sz="1600" b="1" dirty="0">
              <a:solidFill>
                <a:schemeClr val="accent1"/>
              </a:solidFill>
            </a:endParaRPr>
          </a:p>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82C112C6-6DA1-4D2F-9808-6B159EA30F4D}"/>
                  </a:ext>
                </a:extLst>
              </p14:cNvPr>
              <p14:cNvContentPartPr/>
              <p14:nvPr/>
            </p14:nvContentPartPr>
            <p14:xfrm>
              <a:off x="57240" y="85680"/>
              <a:ext cx="8529840" cy="4105800"/>
            </p14:xfrm>
          </p:contentPart>
        </mc:Choice>
        <mc:Fallback>
          <p:pic>
            <p:nvPicPr>
              <p:cNvPr id="4" name="Ink 3">
                <a:extLst>
                  <a:ext uri="{FF2B5EF4-FFF2-40B4-BE49-F238E27FC236}">
                    <a16:creationId xmlns:a16="http://schemas.microsoft.com/office/drawing/2014/main" id="{82C112C6-6DA1-4D2F-9808-6B159EA30F4D}"/>
                  </a:ext>
                </a:extLst>
              </p:cNvPr>
              <p:cNvPicPr/>
              <p:nvPr/>
            </p:nvPicPr>
            <p:blipFill>
              <a:blip r:embed="rId3"/>
              <a:stretch>
                <a:fillRect/>
              </a:stretch>
            </p:blipFill>
            <p:spPr>
              <a:xfrm>
                <a:off x="47880" y="76320"/>
                <a:ext cx="8548560" cy="4124520"/>
              </a:xfrm>
              <a:prstGeom prst="rect">
                <a:avLst/>
              </a:prstGeom>
            </p:spPr>
          </p:pic>
        </mc:Fallback>
      </mc:AlternateContent>
    </p:spTree>
    <p:extLst>
      <p:ext uri="{BB962C8B-B14F-4D97-AF65-F5344CB8AC3E}">
        <p14:creationId xmlns:p14="http://schemas.microsoft.com/office/powerpoint/2010/main" val="3121719466"/>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A937C-9F74-4776-9FBD-887D88497E3E}"/>
              </a:ext>
            </a:extLst>
          </p:cNvPr>
          <p:cNvSpPr>
            <a:spLocks noGrp="1"/>
          </p:cNvSpPr>
          <p:nvPr>
            <p:ph type="title"/>
          </p:nvPr>
        </p:nvSpPr>
        <p:spPr/>
        <p:txBody>
          <a:bodyPr/>
          <a:lstStyle/>
          <a:p>
            <a:r>
              <a:rPr lang="en-US" dirty="0"/>
              <a:t>Worksheet</a:t>
            </a:r>
          </a:p>
        </p:txBody>
      </p:sp>
    </p:spTree>
    <p:extLst>
      <p:ext uri="{BB962C8B-B14F-4D97-AF65-F5344CB8AC3E}">
        <p14:creationId xmlns:p14="http://schemas.microsoft.com/office/powerpoint/2010/main" val="2707576164"/>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FD079F-47A3-45E3-A49E-72DE938F0F45}"/>
              </a:ext>
            </a:extLst>
          </p:cNvPr>
          <p:cNvSpPr>
            <a:spLocks noGrp="1"/>
          </p:cNvSpPr>
          <p:nvPr>
            <p:ph sz="half" idx="1"/>
          </p:nvPr>
        </p:nvSpPr>
        <p:spPr>
          <a:xfrm>
            <a:off x="174111" y="703961"/>
            <a:ext cx="8694316" cy="3774093"/>
          </a:xfrm>
        </p:spPr>
        <p:txBody>
          <a:bodyPr>
            <a:normAutofit/>
          </a:bodyPr>
          <a:lstStyle/>
          <a:p>
            <a:pPr marL="0" indent="0">
              <a:buNone/>
            </a:pPr>
            <a:r>
              <a:rPr lang="en-US" sz="4400" dirty="0">
                <a:solidFill>
                  <a:schemeClr val="bg2">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A</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fter understanding Population and Sample it opens the gate to understand what is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I</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nferential</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and </a:t>
            </a:r>
            <a:r>
              <a:rPr lang="en-US" sz="4400" b="1" i="1" dirty="0">
                <a:solidFill>
                  <a:schemeClr val="accent1"/>
                </a:solidFill>
                <a:latin typeface="Calibri" panose="020F0502020204030204" pitchFamily="34" charset="0"/>
                <a:ea typeface="DengXian" panose="02010600030101010101" pitchFamily="2" charset="-122"/>
                <a:cs typeface="Times New Roman" panose="02020603050405020304" pitchFamily="18" charset="0"/>
              </a:rPr>
              <a:t>D</a:t>
            </a:r>
            <a:r>
              <a:rPr lang="en-US" sz="4400" b="1" i="1"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escriptive</a:t>
            </a:r>
            <a:r>
              <a:rPr lang="en-US" sz="44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 statistics. </a:t>
            </a:r>
          </a:p>
          <a:p>
            <a:endParaRPr lang="en-US" dirty="0"/>
          </a:p>
        </p:txBody>
      </p:sp>
      <mc:AlternateContent xmlns:mc="http://schemas.openxmlformats.org/markup-compatibility/2006">
        <mc:Choice xmlns:p14="http://schemas.microsoft.com/office/powerpoint/2010/main" Requires="p14">
          <p:contentPart p14:bwMode="auto" r:id="rId2">
            <p14:nvContentPartPr>
              <p14:cNvPr id="2" name="Ink 1">
                <a:extLst>
                  <a:ext uri="{FF2B5EF4-FFF2-40B4-BE49-F238E27FC236}">
                    <a16:creationId xmlns:a16="http://schemas.microsoft.com/office/drawing/2014/main" id="{D6D198F8-0395-4EFD-9A29-1E1348C09DB6}"/>
                  </a:ext>
                </a:extLst>
              </p14:cNvPr>
              <p14:cNvContentPartPr/>
              <p14:nvPr/>
            </p14:nvContentPartPr>
            <p14:xfrm>
              <a:off x="471600" y="85680"/>
              <a:ext cx="5696280" cy="4215240"/>
            </p14:xfrm>
          </p:contentPart>
        </mc:Choice>
        <mc:Fallback>
          <p:pic>
            <p:nvPicPr>
              <p:cNvPr id="2" name="Ink 1">
                <a:extLst>
                  <a:ext uri="{FF2B5EF4-FFF2-40B4-BE49-F238E27FC236}">
                    <a16:creationId xmlns:a16="http://schemas.microsoft.com/office/drawing/2014/main" id="{D6D198F8-0395-4EFD-9A29-1E1348C09DB6}"/>
                  </a:ext>
                </a:extLst>
              </p:cNvPr>
              <p:cNvPicPr/>
              <p:nvPr/>
            </p:nvPicPr>
            <p:blipFill>
              <a:blip r:embed="rId3"/>
              <a:stretch>
                <a:fillRect/>
              </a:stretch>
            </p:blipFill>
            <p:spPr>
              <a:xfrm>
                <a:off x="462240" y="76320"/>
                <a:ext cx="5715000" cy="4233960"/>
              </a:xfrm>
              <a:prstGeom prst="rect">
                <a:avLst/>
              </a:prstGeom>
            </p:spPr>
          </p:pic>
        </mc:Fallback>
      </mc:AlternateContent>
    </p:spTree>
    <p:extLst>
      <p:ext uri="{BB962C8B-B14F-4D97-AF65-F5344CB8AC3E}">
        <p14:creationId xmlns:p14="http://schemas.microsoft.com/office/powerpoint/2010/main" val="2499727815"/>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F6363-8571-4CA8-BD5B-4BCEDCED9AA5}"/>
              </a:ext>
            </a:extLst>
          </p:cNvPr>
          <p:cNvSpPr>
            <a:spLocks noGrp="1"/>
          </p:cNvSpPr>
          <p:nvPr>
            <p:ph type="title"/>
          </p:nvPr>
        </p:nvSpPr>
        <p:spPr>
          <a:xfrm>
            <a:off x="274319" y="271886"/>
            <a:ext cx="7955280" cy="640080"/>
          </a:xfrm>
        </p:spPr>
        <p:txBody>
          <a:bodyPr>
            <a:normAutofit/>
          </a:bodyPr>
          <a:lstStyle/>
          <a:p>
            <a:r>
              <a:rPr lang="en-US" dirty="0"/>
              <a:t>Inferential Statistics</a:t>
            </a:r>
          </a:p>
        </p:txBody>
      </p:sp>
      <p:pic>
        <p:nvPicPr>
          <p:cNvPr id="4" name="Picture 3" descr="Diagram&#10;&#10;Description automatically generated">
            <a:extLst>
              <a:ext uri="{FF2B5EF4-FFF2-40B4-BE49-F238E27FC236}">
                <a16:creationId xmlns:a16="http://schemas.microsoft.com/office/drawing/2014/main" id="{A23D665F-D2CC-432A-AED2-8E451589AF69}"/>
              </a:ext>
            </a:extLst>
          </p:cNvPr>
          <p:cNvPicPr>
            <a:picLocks noChangeAspect="1"/>
          </p:cNvPicPr>
          <p:nvPr/>
        </p:nvPicPr>
        <p:blipFill>
          <a:blip r:embed="rId2"/>
          <a:stretch>
            <a:fillRect/>
          </a:stretch>
        </p:blipFill>
        <p:spPr>
          <a:xfrm>
            <a:off x="274319" y="1515618"/>
            <a:ext cx="3840480" cy="2112263"/>
          </a:xfrm>
          <a:prstGeom prst="rect">
            <a:avLst/>
          </a:prstGeom>
          <a:noFill/>
        </p:spPr>
      </p:pic>
      <p:sp>
        <p:nvSpPr>
          <p:cNvPr id="3" name="Content Placeholder 2">
            <a:extLst>
              <a:ext uri="{FF2B5EF4-FFF2-40B4-BE49-F238E27FC236}">
                <a16:creationId xmlns:a16="http://schemas.microsoft.com/office/drawing/2014/main" id="{96CA5976-21EA-4CB3-8846-6F15841EE927}"/>
              </a:ext>
            </a:extLst>
          </p:cNvPr>
          <p:cNvSpPr>
            <a:spLocks noGrp="1"/>
          </p:cNvSpPr>
          <p:nvPr>
            <p:ph sz="half" idx="14"/>
          </p:nvPr>
        </p:nvSpPr>
        <p:spPr>
          <a:xfrm>
            <a:off x="4389118" y="911966"/>
            <a:ext cx="4410415" cy="3810346"/>
          </a:xfrm>
          <a:prstGeom prst="rect">
            <a:avLst/>
          </a:prstGeom>
        </p:spPr>
        <p:txBody>
          <a:bodyPr wrap="square">
            <a:normAutofit/>
          </a:bodyPr>
          <a:lstStyle/>
          <a:p>
            <a:r>
              <a:rPr lang="en-US" dirty="0">
                <a:solidFill>
                  <a:schemeClr val="bg2">
                    <a:lumMod val="50000"/>
                    <a:lumOff val="50000"/>
                  </a:schemeClr>
                </a:solidFill>
              </a:rPr>
              <a:t>T</a:t>
            </a:r>
            <a:r>
              <a:rPr lang="en-US" dirty="0">
                <a:solidFill>
                  <a:schemeClr val="bg2">
                    <a:lumMod val="50000"/>
                    <a:lumOff val="50000"/>
                  </a:schemeClr>
                </a:solidFill>
                <a:effectLst/>
              </a:rPr>
              <a:t>he methods used to determine something about a population on the basics of a sample.</a:t>
            </a:r>
          </a:p>
          <a:p>
            <a:r>
              <a:rPr lang="en-US" dirty="0">
                <a:solidFill>
                  <a:schemeClr val="accent1"/>
                </a:solidFill>
              </a:rPr>
              <a:t>Inferential statistics </a:t>
            </a:r>
            <a:r>
              <a:rPr lang="en-US" dirty="0">
                <a:solidFill>
                  <a:schemeClr val="bg2">
                    <a:lumMod val="50000"/>
                    <a:lumOff val="50000"/>
                  </a:schemeClr>
                </a:solidFill>
              </a:rPr>
              <a:t>allow you to test a hypothesis or assess whether your data is generalizable to the broader population.</a:t>
            </a: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r>
              <a:rPr lang="en-US" dirty="0">
                <a:solidFill>
                  <a:schemeClr val="bg2">
                    <a:lumMod val="50000"/>
                    <a:lumOff val="50000"/>
                  </a:schemeClr>
                </a:solidFill>
              </a:rPr>
              <a:t>We often hear the assumption that female students tend to have higher mathematical values than men. Is that right?</a:t>
            </a:r>
          </a:p>
        </p:txBody>
      </p:sp>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22723D0F-444C-4CCC-B090-40A508F0F649}"/>
                  </a:ext>
                </a:extLst>
              </p14:cNvPr>
              <p14:cNvContentPartPr/>
              <p14:nvPr/>
            </p14:nvContentPartPr>
            <p14:xfrm>
              <a:off x="1152360" y="757080"/>
              <a:ext cx="6849000" cy="4234320"/>
            </p14:xfrm>
          </p:contentPart>
        </mc:Choice>
        <mc:Fallback>
          <p:pic>
            <p:nvPicPr>
              <p:cNvPr id="5" name="Ink 4">
                <a:extLst>
                  <a:ext uri="{FF2B5EF4-FFF2-40B4-BE49-F238E27FC236}">
                    <a16:creationId xmlns:a16="http://schemas.microsoft.com/office/drawing/2014/main" id="{22723D0F-444C-4CCC-B090-40A508F0F649}"/>
                  </a:ext>
                </a:extLst>
              </p:cNvPr>
              <p:cNvPicPr/>
              <p:nvPr/>
            </p:nvPicPr>
            <p:blipFill>
              <a:blip r:embed="rId4"/>
              <a:stretch>
                <a:fillRect/>
              </a:stretch>
            </p:blipFill>
            <p:spPr>
              <a:xfrm>
                <a:off x="1143000" y="747720"/>
                <a:ext cx="6867720" cy="4253040"/>
              </a:xfrm>
              <a:prstGeom prst="rect">
                <a:avLst/>
              </a:prstGeom>
            </p:spPr>
          </p:pic>
        </mc:Fallback>
      </mc:AlternateContent>
    </p:spTree>
    <p:extLst>
      <p:ext uri="{BB962C8B-B14F-4D97-AF65-F5344CB8AC3E}">
        <p14:creationId xmlns:p14="http://schemas.microsoft.com/office/powerpoint/2010/main" val="592860241"/>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019E3-33F8-45DD-9B54-B567FCE03CC1}"/>
              </a:ext>
            </a:extLst>
          </p:cNvPr>
          <p:cNvSpPr>
            <a:spLocks noGrp="1"/>
          </p:cNvSpPr>
          <p:nvPr>
            <p:ph type="title"/>
          </p:nvPr>
        </p:nvSpPr>
        <p:spPr>
          <a:xfrm>
            <a:off x="0" y="83996"/>
            <a:ext cx="7955280" cy="640080"/>
          </a:xfrm>
        </p:spPr>
        <p:txBody>
          <a:bodyPr/>
          <a:lstStyle/>
          <a:p>
            <a:r>
              <a:rPr lang="en-US" dirty="0"/>
              <a:t>Descriptive Statistics</a:t>
            </a:r>
          </a:p>
        </p:txBody>
      </p:sp>
      <p:sp>
        <p:nvSpPr>
          <p:cNvPr id="3" name="Content Placeholder 2">
            <a:extLst>
              <a:ext uri="{FF2B5EF4-FFF2-40B4-BE49-F238E27FC236}">
                <a16:creationId xmlns:a16="http://schemas.microsoft.com/office/drawing/2014/main" id="{C4821D91-408E-4E7F-A0CC-421C8F3872D1}"/>
              </a:ext>
            </a:extLst>
          </p:cNvPr>
          <p:cNvSpPr>
            <a:spLocks noGrp="1"/>
          </p:cNvSpPr>
          <p:nvPr>
            <p:ph sz="half" idx="13"/>
          </p:nvPr>
        </p:nvSpPr>
        <p:spPr>
          <a:xfrm>
            <a:off x="55113" y="765568"/>
            <a:ext cx="8481373" cy="1218782"/>
          </a:xfrm>
        </p:spPr>
        <p:txBody>
          <a:bodyPr>
            <a:noAutofit/>
          </a:bodyPr>
          <a:lstStyle/>
          <a:p>
            <a:r>
              <a:rPr lang="en-US" dirty="0">
                <a:solidFill>
                  <a:schemeClr val="bg2">
                    <a:lumMod val="50000"/>
                    <a:lumOff val="50000"/>
                  </a:schemeClr>
                </a:solidFill>
              </a:rPr>
              <a:t>Descriptive statistics is a term given to the analysis of data that helps to describe, show and summarize data in a meaningful way. It is a simple way to describe our data.</a:t>
            </a:r>
          </a:p>
          <a:p>
            <a:r>
              <a:rPr lang="en-US" dirty="0">
                <a:solidFill>
                  <a:schemeClr val="bg2">
                    <a:lumMod val="50000"/>
                    <a:lumOff val="50000"/>
                  </a:schemeClr>
                </a:solidFill>
              </a:rPr>
              <a:t> Descriptive statistics is very important to present our raw data in effective/meaningful way using numerical calculations or graphs or tables. This type of statistics is applied on already known data.</a:t>
            </a:r>
          </a:p>
          <a:p>
            <a:r>
              <a:rPr lang="en-US" dirty="0">
                <a:solidFill>
                  <a:schemeClr val="bg2">
                    <a:lumMod val="50000"/>
                    <a:lumOff val="50000"/>
                  </a:schemeClr>
                </a:solidFill>
              </a:rPr>
              <a:t>Types of Descriptive Statistics</a:t>
            </a:r>
          </a:p>
          <a:p>
            <a:pPr lvl="1"/>
            <a:r>
              <a:rPr lang="en-US" sz="1400" dirty="0">
                <a:solidFill>
                  <a:schemeClr val="bg2">
                    <a:lumMod val="50000"/>
                    <a:lumOff val="50000"/>
                  </a:schemeClr>
                </a:solidFill>
              </a:rPr>
              <a:t>Measure of Central tendency</a:t>
            </a:r>
          </a:p>
          <a:p>
            <a:pPr lvl="1"/>
            <a:r>
              <a:rPr lang="en-US" sz="1400" dirty="0">
                <a:solidFill>
                  <a:schemeClr val="bg2">
                    <a:lumMod val="50000"/>
                    <a:lumOff val="50000"/>
                  </a:schemeClr>
                </a:solidFill>
              </a:rPr>
              <a:t>Measure of Variability</a:t>
            </a:r>
          </a:p>
          <a:p>
            <a:pPr lvl="1"/>
            <a:endParaRPr lang="en-US" sz="1400" dirty="0">
              <a:solidFill>
                <a:schemeClr val="bg2">
                  <a:lumMod val="50000"/>
                  <a:lumOff val="50000"/>
                </a:schemeClr>
              </a:solidFill>
            </a:endParaRP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dirty="0">
                <a:solidFill>
                  <a:schemeClr val="bg2">
                    <a:lumMod val="50000"/>
                    <a:lumOff val="50000"/>
                  </a:schemeClr>
                </a:solidFill>
              </a:rPr>
              <a:t>Examples : </a:t>
            </a:r>
          </a:p>
          <a:p>
            <a:pPr lvl="1"/>
            <a:r>
              <a:rPr lang="en-US" dirty="0">
                <a:solidFill>
                  <a:schemeClr val="bg2">
                    <a:lumMod val="50000"/>
                    <a:lumOff val="50000"/>
                  </a:schemeClr>
                </a:solidFill>
              </a:rPr>
              <a:t>you want to know what factors can influence the decline in poverty. You use variables such as road length, economic growth, electrification ratio, number of teachers, number of medical personnel, etc.</a:t>
            </a:r>
          </a:p>
          <a:p>
            <a:pPr lvl="1"/>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A5F33009-BB40-478D-B2AE-ADDA39C6592A}"/>
              </a:ext>
            </a:extLst>
          </p:cNvPr>
          <p:cNvPicPr>
            <a:picLocks noChangeAspect="1"/>
          </p:cNvPicPr>
          <p:nvPr/>
        </p:nvPicPr>
        <p:blipFill>
          <a:blip r:embed="rId2"/>
          <a:stretch>
            <a:fillRect/>
          </a:stretch>
        </p:blipFill>
        <p:spPr>
          <a:xfrm>
            <a:off x="3357817" y="2108705"/>
            <a:ext cx="4597463" cy="1675599"/>
          </a:xfrm>
          <a:prstGeom prst="rect">
            <a:avLst/>
          </a:prstGeom>
        </p:spPr>
      </p:pic>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BB8EE791-EA6C-4506-A8FB-FD5D79E9DAA4}"/>
                  </a:ext>
                </a:extLst>
              </p14:cNvPr>
              <p14:cNvContentPartPr/>
              <p14:nvPr/>
            </p14:nvContentPartPr>
            <p14:xfrm>
              <a:off x="471600" y="14400"/>
              <a:ext cx="8601480" cy="3876840"/>
            </p14:xfrm>
          </p:contentPart>
        </mc:Choice>
        <mc:Fallback>
          <p:pic>
            <p:nvPicPr>
              <p:cNvPr id="4" name="Ink 3">
                <a:extLst>
                  <a:ext uri="{FF2B5EF4-FFF2-40B4-BE49-F238E27FC236}">
                    <a16:creationId xmlns:a16="http://schemas.microsoft.com/office/drawing/2014/main" id="{BB8EE791-EA6C-4506-A8FB-FD5D79E9DAA4}"/>
                  </a:ext>
                </a:extLst>
              </p:cNvPr>
              <p:cNvPicPr/>
              <p:nvPr/>
            </p:nvPicPr>
            <p:blipFill>
              <a:blip r:embed="rId4"/>
              <a:stretch>
                <a:fillRect/>
              </a:stretch>
            </p:blipFill>
            <p:spPr>
              <a:xfrm>
                <a:off x="462240" y="5040"/>
                <a:ext cx="8620200" cy="3895560"/>
              </a:xfrm>
              <a:prstGeom prst="rect">
                <a:avLst/>
              </a:prstGeom>
            </p:spPr>
          </p:pic>
        </mc:Fallback>
      </mc:AlternateContent>
    </p:spTree>
    <p:extLst>
      <p:ext uri="{BB962C8B-B14F-4D97-AF65-F5344CB8AC3E}">
        <p14:creationId xmlns:p14="http://schemas.microsoft.com/office/powerpoint/2010/main" val="999464151"/>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04F4-B3AA-4651-8827-B73C49F7833D}"/>
              </a:ext>
            </a:extLst>
          </p:cNvPr>
          <p:cNvSpPr>
            <a:spLocks noGrp="1"/>
          </p:cNvSpPr>
          <p:nvPr>
            <p:ph type="title"/>
          </p:nvPr>
        </p:nvSpPr>
        <p:spPr>
          <a:xfrm>
            <a:off x="92692" y="90259"/>
            <a:ext cx="7955280" cy="640080"/>
          </a:xfrm>
        </p:spPr>
        <p:txBody>
          <a:bodyPr/>
          <a:lstStyle/>
          <a:p>
            <a:r>
              <a:rPr lang="en-US" dirty="0"/>
              <a:t>Descriptive Statistics – Example</a:t>
            </a:r>
            <a:br>
              <a:rPr lang="en-US" dirty="0"/>
            </a:br>
            <a:r>
              <a:rPr lang="en-US" sz="1400" b="0" i="0" dirty="0">
                <a:solidFill>
                  <a:schemeClr val="bg2">
                    <a:lumMod val="50000"/>
                    <a:lumOff val="50000"/>
                  </a:schemeClr>
                </a:solidFill>
                <a:effectLst/>
                <a:latin typeface="Raleway" panose="020B0604020202020204" pitchFamily="2" charset="0"/>
              </a:rPr>
              <a:t>You’ve performed a survey to 40 respondents about their favorite car color. And now you have a spreadsheet with the results.</a:t>
            </a:r>
            <a:endParaRPr lang="en-US" sz="1400" dirty="0">
              <a:solidFill>
                <a:schemeClr val="bg2">
                  <a:lumMod val="50000"/>
                  <a:lumOff val="50000"/>
                </a:schemeClr>
              </a:solidFill>
            </a:endParaRPr>
          </a:p>
        </p:txBody>
      </p:sp>
      <p:pic>
        <p:nvPicPr>
          <p:cNvPr id="6" name="Picture 5">
            <a:extLst>
              <a:ext uri="{FF2B5EF4-FFF2-40B4-BE49-F238E27FC236}">
                <a16:creationId xmlns:a16="http://schemas.microsoft.com/office/drawing/2014/main" id="{B3228BA1-7BCC-4DBF-B8DF-46CA5095B60A}"/>
              </a:ext>
            </a:extLst>
          </p:cNvPr>
          <p:cNvPicPr>
            <a:picLocks noChangeAspect="1"/>
          </p:cNvPicPr>
          <p:nvPr/>
        </p:nvPicPr>
        <p:blipFill>
          <a:blip r:embed="rId2"/>
          <a:stretch>
            <a:fillRect/>
          </a:stretch>
        </p:blipFill>
        <p:spPr>
          <a:xfrm>
            <a:off x="4967601" y="1001400"/>
            <a:ext cx="3819787" cy="3870213"/>
          </a:xfrm>
          <a:prstGeom prst="rect">
            <a:avLst/>
          </a:prstGeom>
        </p:spPr>
      </p:pic>
      <p:pic>
        <p:nvPicPr>
          <p:cNvPr id="8" name="Picture 7">
            <a:extLst>
              <a:ext uri="{FF2B5EF4-FFF2-40B4-BE49-F238E27FC236}">
                <a16:creationId xmlns:a16="http://schemas.microsoft.com/office/drawing/2014/main" id="{55E05251-8E9D-4D6A-B576-9C5E754984C9}"/>
              </a:ext>
            </a:extLst>
          </p:cNvPr>
          <p:cNvPicPr>
            <a:picLocks noChangeAspect="1"/>
          </p:cNvPicPr>
          <p:nvPr/>
        </p:nvPicPr>
        <p:blipFill>
          <a:blip r:embed="rId3"/>
          <a:stretch>
            <a:fillRect/>
          </a:stretch>
        </p:blipFill>
        <p:spPr>
          <a:xfrm>
            <a:off x="0" y="1319603"/>
            <a:ext cx="4086225" cy="2905125"/>
          </a:xfrm>
          <a:prstGeom prst="rect">
            <a:avLst/>
          </a:prstGeom>
        </p:spPr>
      </p:pic>
      <p:sp>
        <p:nvSpPr>
          <p:cNvPr id="9" name="Arrow: Right 8">
            <a:extLst>
              <a:ext uri="{FF2B5EF4-FFF2-40B4-BE49-F238E27FC236}">
                <a16:creationId xmlns:a16="http://schemas.microsoft.com/office/drawing/2014/main" id="{0469365B-6D82-45DF-992A-981C62806CBC}"/>
              </a:ext>
            </a:extLst>
          </p:cNvPr>
          <p:cNvSpPr/>
          <p:nvPr/>
        </p:nvSpPr>
        <p:spPr>
          <a:xfrm>
            <a:off x="4176400" y="2571750"/>
            <a:ext cx="470757" cy="227817"/>
          </a:xfrm>
          <a:prstGeom prst="rightArrow">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10" name="TextBox 9">
            <a:extLst>
              <a:ext uri="{FF2B5EF4-FFF2-40B4-BE49-F238E27FC236}">
                <a16:creationId xmlns:a16="http://schemas.microsoft.com/office/drawing/2014/main" id="{7316BE2A-45A8-4088-860B-9805A9D5C7B4}"/>
              </a:ext>
            </a:extLst>
          </p:cNvPr>
          <p:cNvSpPr txBox="1"/>
          <p:nvPr/>
        </p:nvSpPr>
        <p:spPr>
          <a:xfrm>
            <a:off x="112734" y="4321479"/>
            <a:ext cx="4409162" cy="307777"/>
          </a:xfrm>
          <a:prstGeom prst="rect">
            <a:avLst/>
          </a:prstGeom>
          <a:noFill/>
        </p:spPr>
        <p:txBody>
          <a:bodyPr wrap="square" rtlCol="0">
            <a:spAutoFit/>
          </a:bodyPr>
          <a:lstStyle/>
          <a:p>
            <a:pPr>
              <a:spcBef>
                <a:spcPts val="0"/>
              </a:spcBef>
              <a:spcAft>
                <a:spcPts val="0"/>
              </a:spcAft>
              <a:buClr>
                <a:schemeClr val="bg1"/>
              </a:buClr>
            </a:pPr>
            <a:r>
              <a:rPr lang="en-US" sz="1400" b="1" i="1" dirty="0">
                <a:solidFill>
                  <a:schemeClr val="bg2">
                    <a:lumMod val="50000"/>
                    <a:lumOff val="50000"/>
                  </a:schemeClr>
                </a:solidFill>
                <a:latin typeface="+mn-lt"/>
              </a:rPr>
              <a:t>Descriptive statistics simply describes the data</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DF4DFB50-860E-42AB-AF0E-1D85B663FFE8}"/>
                  </a:ext>
                </a:extLst>
              </p14:cNvPr>
              <p14:cNvContentPartPr/>
              <p14:nvPr/>
            </p14:nvContentPartPr>
            <p14:xfrm>
              <a:off x="190440" y="271440"/>
              <a:ext cx="7825320" cy="4401000"/>
            </p14:xfrm>
          </p:contentPart>
        </mc:Choice>
        <mc:Fallback>
          <p:pic>
            <p:nvPicPr>
              <p:cNvPr id="3" name="Ink 2">
                <a:extLst>
                  <a:ext uri="{FF2B5EF4-FFF2-40B4-BE49-F238E27FC236}">
                    <a16:creationId xmlns:a16="http://schemas.microsoft.com/office/drawing/2014/main" id="{DF4DFB50-860E-42AB-AF0E-1D85B663FFE8}"/>
                  </a:ext>
                </a:extLst>
              </p:cNvPr>
              <p:cNvPicPr/>
              <p:nvPr/>
            </p:nvPicPr>
            <p:blipFill>
              <a:blip r:embed="rId5"/>
              <a:stretch>
                <a:fillRect/>
              </a:stretch>
            </p:blipFill>
            <p:spPr>
              <a:xfrm>
                <a:off x="181080" y="262080"/>
                <a:ext cx="7844040" cy="4419720"/>
              </a:xfrm>
              <a:prstGeom prst="rect">
                <a:avLst/>
              </a:prstGeom>
            </p:spPr>
          </p:pic>
        </mc:Fallback>
      </mc:AlternateContent>
    </p:spTree>
    <p:extLst>
      <p:ext uri="{BB962C8B-B14F-4D97-AF65-F5344CB8AC3E}">
        <p14:creationId xmlns:p14="http://schemas.microsoft.com/office/powerpoint/2010/main" val="889781105"/>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0E2B6-F6CD-4C05-BF18-6EBE6281B8B8}"/>
              </a:ext>
            </a:extLst>
          </p:cNvPr>
          <p:cNvSpPr>
            <a:spLocks noGrp="1"/>
          </p:cNvSpPr>
          <p:nvPr>
            <p:ph type="title"/>
          </p:nvPr>
        </p:nvSpPr>
        <p:spPr>
          <a:xfrm>
            <a:off x="193039" y="274657"/>
            <a:ext cx="7955280" cy="640080"/>
          </a:xfrm>
        </p:spPr>
        <p:txBody>
          <a:bodyPr>
            <a:normAutofit/>
          </a:bodyPr>
          <a:lstStyle/>
          <a:p>
            <a:r>
              <a:rPr lang="en-US" dirty="0"/>
              <a:t>What is Statistics ? </a:t>
            </a:r>
          </a:p>
        </p:txBody>
      </p:sp>
      <p:pic>
        <p:nvPicPr>
          <p:cNvPr id="4" name="Picture 3">
            <a:extLst>
              <a:ext uri="{FF2B5EF4-FFF2-40B4-BE49-F238E27FC236}">
                <a16:creationId xmlns:a16="http://schemas.microsoft.com/office/drawing/2014/main" id="{695DD122-1AE0-4635-B074-79C43F8020D2}"/>
              </a:ext>
            </a:extLst>
          </p:cNvPr>
          <p:cNvPicPr>
            <a:picLocks noChangeAspect="1"/>
          </p:cNvPicPr>
          <p:nvPr/>
        </p:nvPicPr>
        <p:blipFill>
          <a:blip r:embed="rId3"/>
          <a:stretch>
            <a:fillRect/>
          </a:stretch>
        </p:blipFill>
        <p:spPr>
          <a:xfrm>
            <a:off x="93480" y="820792"/>
            <a:ext cx="8582362" cy="2424516"/>
          </a:xfrm>
          <a:prstGeom prst="rect">
            <a:avLst/>
          </a:prstGeom>
          <a:noFill/>
        </p:spPr>
      </p:pic>
      <p:sp>
        <p:nvSpPr>
          <p:cNvPr id="5" name="TextBox 4">
            <a:extLst>
              <a:ext uri="{FF2B5EF4-FFF2-40B4-BE49-F238E27FC236}">
                <a16:creationId xmlns:a16="http://schemas.microsoft.com/office/drawing/2014/main" id="{5491C1A3-7396-478E-AAB2-394B8BEDC9DE}"/>
              </a:ext>
            </a:extLst>
          </p:cNvPr>
          <p:cNvSpPr txBox="1"/>
          <p:nvPr/>
        </p:nvSpPr>
        <p:spPr>
          <a:xfrm>
            <a:off x="366432" y="3339253"/>
            <a:ext cx="8411135" cy="1260345"/>
          </a:xfrm>
          <a:prstGeom prst="rect">
            <a:avLst/>
          </a:prstGeom>
          <a:noFill/>
        </p:spPr>
        <p:txBody>
          <a:bodyPr wrap="square" rtlCol="0">
            <a:spAutoFit/>
          </a:bodyPr>
          <a:lstStyle/>
          <a:p>
            <a:pPr marL="0" marR="0">
              <a:lnSpc>
                <a:spcPct val="107000"/>
              </a:lnSpc>
              <a:spcBef>
                <a:spcPts val="0"/>
              </a:spcBef>
              <a:spcAft>
                <a:spcPts val="800"/>
              </a:spcAft>
            </a:pPr>
            <a:r>
              <a:rPr lang="en-US" dirty="0">
                <a:effectLst/>
                <a:latin typeface="Calibri" panose="020F0502020204030204" pitchFamily="34" charset="0"/>
                <a:ea typeface="DengXian" panose="02010600030101010101" pitchFamily="2" charset="-122"/>
                <a:cs typeface="Times New Roman" panose="02020603050405020304" pitchFamily="18" charset="0"/>
              </a:rPr>
              <a:t>Statistics is simply the study of data, facts, figures and measurements. Statistics is used to convert </a:t>
            </a:r>
            <a:r>
              <a:rPr lang="en-US" b="1" i="1" dirty="0">
                <a:effectLst/>
                <a:latin typeface="Calibri" panose="020F0502020204030204" pitchFamily="34" charset="0"/>
                <a:ea typeface="DengXian" panose="02010600030101010101" pitchFamily="2" charset="-122"/>
                <a:cs typeface="Times New Roman" panose="02020603050405020304" pitchFamily="18" charset="0"/>
              </a:rPr>
              <a:t>raw numerical data </a:t>
            </a:r>
            <a:r>
              <a:rPr lang="en-US" dirty="0">
                <a:effectLst/>
                <a:latin typeface="Calibri" panose="020F0502020204030204" pitchFamily="34" charset="0"/>
                <a:ea typeface="DengXian" panose="02010600030101010101" pitchFamily="2" charset="-122"/>
                <a:cs typeface="Times New Roman" panose="02020603050405020304" pitchFamily="18" charset="0"/>
              </a:rPr>
              <a:t>into </a:t>
            </a:r>
            <a:r>
              <a:rPr lang="en-US" b="1" i="1" dirty="0">
                <a:effectLst/>
                <a:latin typeface="Calibri" panose="020F0502020204030204" pitchFamily="34" charset="0"/>
                <a:ea typeface="DengXian" panose="02010600030101010101" pitchFamily="2" charset="-122"/>
                <a:cs typeface="Times New Roman" panose="02020603050405020304" pitchFamily="18" charset="0"/>
              </a:rPr>
              <a:t>useful information </a:t>
            </a:r>
            <a:r>
              <a:rPr lang="en-US" dirty="0">
                <a:effectLst/>
                <a:latin typeface="Calibri" panose="020F0502020204030204" pitchFamily="34" charset="0"/>
                <a:ea typeface="DengXian" panose="02010600030101010101" pitchFamily="2" charset="-122"/>
                <a:cs typeface="Times New Roman" panose="02020603050405020304" pitchFamily="18" charset="0"/>
              </a:rPr>
              <a:t>for relevant users. </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BFBF4836-E235-45DA-A2FB-CD9A3B5C9941}"/>
                  </a:ext>
                </a:extLst>
              </p14:cNvPr>
              <p14:cNvContentPartPr/>
              <p14:nvPr/>
            </p14:nvContentPartPr>
            <p14:xfrm>
              <a:off x="538200" y="333360"/>
              <a:ext cx="8477640" cy="4253400"/>
            </p14:xfrm>
          </p:contentPart>
        </mc:Choice>
        <mc:Fallback>
          <p:pic>
            <p:nvPicPr>
              <p:cNvPr id="3" name="Ink 2">
                <a:extLst>
                  <a:ext uri="{FF2B5EF4-FFF2-40B4-BE49-F238E27FC236}">
                    <a16:creationId xmlns:a16="http://schemas.microsoft.com/office/drawing/2014/main" id="{BFBF4836-E235-45DA-A2FB-CD9A3B5C9941}"/>
                  </a:ext>
                </a:extLst>
              </p:cNvPr>
              <p:cNvPicPr/>
              <p:nvPr/>
            </p:nvPicPr>
            <p:blipFill>
              <a:blip r:embed="rId5"/>
              <a:stretch>
                <a:fillRect/>
              </a:stretch>
            </p:blipFill>
            <p:spPr>
              <a:xfrm>
                <a:off x="528840" y="324000"/>
                <a:ext cx="8496360" cy="4272120"/>
              </a:xfrm>
              <a:prstGeom prst="rect">
                <a:avLst/>
              </a:prstGeom>
            </p:spPr>
          </p:pic>
        </mc:Fallback>
      </mc:AlternateContent>
    </p:spTree>
    <p:extLst>
      <p:ext uri="{BB962C8B-B14F-4D97-AF65-F5344CB8AC3E}">
        <p14:creationId xmlns:p14="http://schemas.microsoft.com/office/powerpoint/2010/main" val="36472934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53F6A-9246-4D32-89E2-3F5351AEB908}"/>
              </a:ext>
            </a:extLst>
          </p:cNvPr>
          <p:cNvSpPr>
            <a:spLocks noGrp="1"/>
          </p:cNvSpPr>
          <p:nvPr>
            <p:ph type="title"/>
          </p:nvPr>
        </p:nvSpPr>
        <p:spPr>
          <a:xfrm>
            <a:off x="0" y="22860"/>
            <a:ext cx="8813314" cy="640080"/>
          </a:xfrm>
        </p:spPr>
        <p:txBody>
          <a:bodyPr/>
          <a:lstStyle/>
          <a:p>
            <a:r>
              <a:rPr lang="en-US" dirty="0"/>
              <a:t>Difference between Descriptive &amp; Inferential Statistics</a:t>
            </a:r>
          </a:p>
        </p:txBody>
      </p:sp>
      <p:sp>
        <p:nvSpPr>
          <p:cNvPr id="3" name="Content Placeholder 2">
            <a:extLst>
              <a:ext uri="{FF2B5EF4-FFF2-40B4-BE49-F238E27FC236}">
                <a16:creationId xmlns:a16="http://schemas.microsoft.com/office/drawing/2014/main" id="{15960CB5-F854-43A7-A136-BE3BA4C2B693}"/>
              </a:ext>
            </a:extLst>
          </p:cNvPr>
          <p:cNvSpPr>
            <a:spLocks noGrp="1"/>
          </p:cNvSpPr>
          <p:nvPr>
            <p:ph sz="half" idx="13"/>
          </p:nvPr>
        </p:nvSpPr>
        <p:spPr/>
        <p:txBody>
          <a:bodyPr/>
          <a:lstStyle/>
          <a:p>
            <a:endParaRPr lang="en-US" dirty="0"/>
          </a:p>
        </p:txBody>
      </p:sp>
      <p:sp>
        <p:nvSpPr>
          <p:cNvPr id="4" name="Content Placeholder 3">
            <a:extLst>
              <a:ext uri="{FF2B5EF4-FFF2-40B4-BE49-F238E27FC236}">
                <a16:creationId xmlns:a16="http://schemas.microsoft.com/office/drawing/2014/main" id="{D0BD7AFE-1A0A-4FDF-8FF1-3E5CEB10A8A3}"/>
              </a:ext>
            </a:extLst>
          </p:cNvPr>
          <p:cNvSpPr>
            <a:spLocks noGrp="1"/>
          </p:cNvSpPr>
          <p:nvPr>
            <p:ph sz="half" idx="14"/>
          </p:nvPr>
        </p:nvSpPr>
        <p:spPr/>
        <p:txBody>
          <a:bodyPr/>
          <a:lstStyle/>
          <a:p>
            <a:endParaRPr lang="en-US" dirty="0"/>
          </a:p>
        </p:txBody>
      </p:sp>
      <mc:AlternateContent xmlns:mc="http://schemas.openxmlformats.org/markup-compatibility/2006">
        <mc:Choice xmlns:p14="http://schemas.microsoft.com/office/powerpoint/2010/main" Requires="p14">
          <p:contentPart p14:bwMode="auto" r:id="rId2">
            <p14:nvContentPartPr>
              <p14:cNvPr id="5" name="Ink 4">
                <a:extLst>
                  <a:ext uri="{FF2B5EF4-FFF2-40B4-BE49-F238E27FC236}">
                    <a16:creationId xmlns:a16="http://schemas.microsoft.com/office/drawing/2014/main" id="{FB7D9AF7-CD34-4285-8D04-E77BEA6222A6}"/>
                  </a:ext>
                </a:extLst>
              </p14:cNvPr>
              <p14:cNvContentPartPr/>
              <p14:nvPr/>
            </p14:nvContentPartPr>
            <p14:xfrm>
              <a:off x="404640" y="585720"/>
              <a:ext cx="8382600" cy="3696120"/>
            </p14:xfrm>
          </p:contentPart>
        </mc:Choice>
        <mc:Fallback>
          <p:pic>
            <p:nvPicPr>
              <p:cNvPr id="5" name="Ink 4">
                <a:extLst>
                  <a:ext uri="{FF2B5EF4-FFF2-40B4-BE49-F238E27FC236}">
                    <a16:creationId xmlns:a16="http://schemas.microsoft.com/office/drawing/2014/main" id="{FB7D9AF7-CD34-4285-8D04-E77BEA6222A6}"/>
                  </a:ext>
                </a:extLst>
              </p:cNvPr>
              <p:cNvPicPr/>
              <p:nvPr/>
            </p:nvPicPr>
            <p:blipFill>
              <a:blip r:embed="rId3"/>
              <a:stretch>
                <a:fillRect/>
              </a:stretch>
            </p:blipFill>
            <p:spPr>
              <a:xfrm>
                <a:off x="395280" y="576360"/>
                <a:ext cx="8401320" cy="3714840"/>
              </a:xfrm>
              <a:prstGeom prst="rect">
                <a:avLst/>
              </a:prstGeom>
            </p:spPr>
          </p:pic>
        </mc:Fallback>
      </mc:AlternateContent>
    </p:spTree>
    <p:extLst>
      <p:ext uri="{BB962C8B-B14F-4D97-AF65-F5344CB8AC3E}">
        <p14:creationId xmlns:p14="http://schemas.microsoft.com/office/powerpoint/2010/main" val="171706440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C8215-06B8-4351-9335-9403B3D730B9}"/>
              </a:ext>
            </a:extLst>
          </p:cNvPr>
          <p:cNvSpPr>
            <a:spLocks noGrp="1"/>
          </p:cNvSpPr>
          <p:nvPr>
            <p:ph type="title"/>
          </p:nvPr>
        </p:nvSpPr>
        <p:spPr>
          <a:xfrm>
            <a:off x="0" y="0"/>
            <a:ext cx="7955280" cy="640080"/>
          </a:xfrm>
        </p:spPr>
        <p:txBody>
          <a:bodyPr/>
          <a:lstStyle/>
          <a:p>
            <a:r>
              <a:rPr lang="en-US" dirty="0"/>
              <a:t>Independent, Dependent &amp; Control variable</a:t>
            </a:r>
          </a:p>
        </p:txBody>
      </p:sp>
      <p:pic>
        <p:nvPicPr>
          <p:cNvPr id="8" name="Picture 7">
            <a:extLst>
              <a:ext uri="{FF2B5EF4-FFF2-40B4-BE49-F238E27FC236}">
                <a16:creationId xmlns:a16="http://schemas.microsoft.com/office/drawing/2014/main" id="{AD1BE78B-FDD2-4D9B-AFEC-AC74CC8BAC9D}"/>
              </a:ext>
            </a:extLst>
          </p:cNvPr>
          <p:cNvPicPr>
            <a:picLocks noChangeAspect="1"/>
          </p:cNvPicPr>
          <p:nvPr/>
        </p:nvPicPr>
        <p:blipFill>
          <a:blip r:embed="rId2"/>
          <a:stretch>
            <a:fillRect/>
          </a:stretch>
        </p:blipFill>
        <p:spPr>
          <a:xfrm>
            <a:off x="0" y="920893"/>
            <a:ext cx="9144000" cy="1514796"/>
          </a:xfrm>
          <a:prstGeom prst="rect">
            <a:avLst/>
          </a:prstGeom>
        </p:spPr>
      </p:pic>
      <p:sp>
        <p:nvSpPr>
          <p:cNvPr id="9" name="TextBox 8">
            <a:extLst>
              <a:ext uri="{FF2B5EF4-FFF2-40B4-BE49-F238E27FC236}">
                <a16:creationId xmlns:a16="http://schemas.microsoft.com/office/drawing/2014/main" id="{C743302E-AC6C-4AE7-821D-EAB10932335B}"/>
              </a:ext>
            </a:extLst>
          </p:cNvPr>
          <p:cNvSpPr txBox="1"/>
          <p:nvPr/>
        </p:nvSpPr>
        <p:spPr>
          <a:xfrm>
            <a:off x="48861" y="2716502"/>
            <a:ext cx="8390144" cy="1877437"/>
          </a:xfrm>
          <a:prstGeom prst="rect">
            <a:avLst/>
          </a:prstGeom>
          <a:noFill/>
        </p:spPr>
        <p:txBody>
          <a:bodyPr wrap="square" rtlCol="0">
            <a:spAutoFit/>
          </a:bodyPr>
          <a:lstStyle/>
          <a:p>
            <a:pPr algn="l"/>
            <a:r>
              <a:rPr lang="en-US" sz="1100" b="1" i="0" dirty="0">
                <a:solidFill>
                  <a:srgbClr val="000000"/>
                </a:solidFill>
                <a:effectLst/>
                <a:latin typeface="Open Sans" panose="020B0606030504020204" pitchFamily="34" charset="0"/>
              </a:rPr>
              <a:t>Importance of the Control Variables</a:t>
            </a:r>
          </a:p>
          <a:p>
            <a:pPr algn="l"/>
            <a:endParaRPr lang="en-US" sz="1100" b="0" i="0" dirty="0">
              <a:solidFill>
                <a:srgbClr val="000000"/>
              </a:solidFill>
              <a:effectLst/>
              <a:latin typeface="Open Sans" panose="020B0606030504020204" pitchFamily="34" charset="0"/>
            </a:endParaRPr>
          </a:p>
          <a:p>
            <a:pPr marL="171450" indent="-171450">
              <a:buFont typeface="Arial" panose="020B0604020202020204" pitchFamily="34" charset="0"/>
              <a:buChar char="•"/>
            </a:pPr>
            <a:r>
              <a:rPr lang="en-US" sz="1000" dirty="0">
                <a:solidFill>
                  <a:schemeClr val="bg2">
                    <a:lumMod val="50000"/>
                    <a:lumOff val="50000"/>
                  </a:schemeClr>
                </a:solidFill>
                <a:latin typeface="+mn-lt"/>
              </a:rPr>
              <a:t>Although control variables may not be measured as they are not recorded, yet they can have a significant effect on the outcome of an experiment.</a:t>
            </a:r>
          </a:p>
          <a:p>
            <a:pPr marL="171450" indent="-171450">
              <a:buFont typeface="Arial" panose="020B0604020202020204" pitchFamily="34" charset="0"/>
              <a:buChar char="•"/>
            </a:pPr>
            <a:r>
              <a:rPr lang="en-US" sz="1000" dirty="0">
                <a:solidFill>
                  <a:schemeClr val="bg2">
                    <a:lumMod val="50000"/>
                    <a:lumOff val="50000"/>
                  </a:schemeClr>
                </a:solidFill>
                <a:latin typeface="+mn-lt"/>
              </a:rPr>
              <a:t>Therefore, the lack of awareness of control variables may lead to faulty results or what is called “confounding variables”. So, recording control variables makes it easier to reproduce an experiment and to establish the relationship between the independent and dependent variables.</a:t>
            </a:r>
          </a:p>
          <a:p>
            <a:pPr marL="171450" indent="-171450">
              <a:buFont typeface="Arial" panose="020B0604020202020204" pitchFamily="34" charset="0"/>
              <a:buChar char="•"/>
            </a:pPr>
            <a:r>
              <a:rPr lang="en-US" sz="1000" dirty="0">
                <a:solidFill>
                  <a:schemeClr val="bg2">
                    <a:lumMod val="50000"/>
                    <a:lumOff val="50000"/>
                  </a:schemeClr>
                </a:solidFill>
                <a:latin typeface="+mn-lt"/>
              </a:rPr>
              <a:t>For example, suppose we are trying to determine whether a particular fertilizer influences plant growth. Here, the independent variable is the presence or absence of the fertilizer, whereas the dependent variable is the height of the plant or rate of growth.</a:t>
            </a:r>
          </a:p>
          <a:p>
            <a:pPr marL="171450" indent="-171450">
              <a:buFont typeface="Arial" panose="020B0604020202020204" pitchFamily="34" charset="0"/>
              <a:buChar char="•"/>
            </a:pPr>
            <a:r>
              <a:rPr lang="en-US" sz="1000" dirty="0">
                <a:solidFill>
                  <a:schemeClr val="bg2">
                    <a:lumMod val="50000"/>
                    <a:lumOff val="50000"/>
                  </a:schemeClr>
                </a:solidFill>
                <a:latin typeface="+mn-lt"/>
              </a:rPr>
              <a:t>If we don’t control the amount of light, for example, we perform some part of the experiment in the summer and some part during the winter, we may skew our results.</a:t>
            </a:r>
          </a:p>
          <a:p>
            <a:pPr>
              <a:spcBef>
                <a:spcPts val="0"/>
              </a:spcBef>
              <a:spcAft>
                <a:spcPts val="0"/>
              </a:spcAft>
              <a:buClr>
                <a:schemeClr val="bg1"/>
              </a:buClr>
            </a:pPr>
            <a:endParaRPr lang="en-US" sz="1400" dirty="0" err="1">
              <a:solidFill>
                <a:schemeClr val="bg2"/>
              </a:solidFill>
              <a:latin typeface="+mn-lt"/>
            </a:endParaRPr>
          </a:p>
        </p:txBody>
      </p:sp>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15E9E178-F060-4F16-B83E-716FA4F032B6}"/>
                  </a:ext>
                </a:extLst>
              </p14:cNvPr>
              <p14:cNvContentPartPr/>
              <p14:nvPr/>
            </p14:nvContentPartPr>
            <p14:xfrm>
              <a:off x="114480" y="28440"/>
              <a:ext cx="8967960" cy="5110560"/>
            </p14:xfrm>
          </p:contentPart>
        </mc:Choice>
        <mc:Fallback>
          <p:pic>
            <p:nvPicPr>
              <p:cNvPr id="3" name="Ink 2">
                <a:extLst>
                  <a:ext uri="{FF2B5EF4-FFF2-40B4-BE49-F238E27FC236}">
                    <a16:creationId xmlns:a16="http://schemas.microsoft.com/office/drawing/2014/main" id="{15E9E178-F060-4F16-B83E-716FA4F032B6}"/>
                  </a:ext>
                </a:extLst>
              </p:cNvPr>
              <p:cNvPicPr/>
              <p:nvPr/>
            </p:nvPicPr>
            <p:blipFill>
              <a:blip r:embed="rId4"/>
              <a:stretch>
                <a:fillRect/>
              </a:stretch>
            </p:blipFill>
            <p:spPr>
              <a:xfrm>
                <a:off x="105120" y="19080"/>
                <a:ext cx="8986680" cy="5129280"/>
              </a:xfrm>
              <a:prstGeom prst="rect">
                <a:avLst/>
              </a:prstGeom>
            </p:spPr>
          </p:pic>
        </mc:Fallback>
      </mc:AlternateContent>
    </p:spTree>
    <p:extLst>
      <p:ext uri="{BB962C8B-B14F-4D97-AF65-F5344CB8AC3E}">
        <p14:creationId xmlns:p14="http://schemas.microsoft.com/office/powerpoint/2010/main" val="2513017721"/>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E2CF5-7F0B-4C91-B3F0-3D73FE55E935}"/>
              </a:ext>
            </a:extLst>
          </p:cNvPr>
          <p:cNvSpPr>
            <a:spLocks noGrp="1"/>
          </p:cNvSpPr>
          <p:nvPr>
            <p:ph type="title"/>
          </p:nvPr>
        </p:nvSpPr>
        <p:spPr/>
        <p:txBody>
          <a:bodyPr/>
          <a:lstStyle/>
          <a:p>
            <a:r>
              <a:rPr lang="en-US" dirty="0"/>
              <a:t>Some examples of how statistics shape our life</a:t>
            </a:r>
          </a:p>
        </p:txBody>
      </p:sp>
      <p:sp>
        <p:nvSpPr>
          <p:cNvPr id="3" name="Content Placeholder 2">
            <a:extLst>
              <a:ext uri="{FF2B5EF4-FFF2-40B4-BE49-F238E27FC236}">
                <a16:creationId xmlns:a16="http://schemas.microsoft.com/office/drawing/2014/main" id="{0E6F2195-EBAF-4B7F-9882-86101EF6A643}"/>
              </a:ext>
            </a:extLst>
          </p:cNvPr>
          <p:cNvSpPr>
            <a:spLocks noGrp="1"/>
          </p:cNvSpPr>
          <p:nvPr>
            <p:ph sz="half" idx="1"/>
          </p:nvPr>
        </p:nvSpPr>
        <p:spPr>
          <a:xfrm>
            <a:off x="274319" y="1067217"/>
            <a:ext cx="7924386" cy="3200400"/>
          </a:xfrm>
        </p:spPr>
        <p:txBody>
          <a:bodyPr/>
          <a:lstStyle/>
          <a:p>
            <a:r>
              <a:rPr lang="en-US" dirty="0">
                <a:solidFill>
                  <a:schemeClr val="bg2">
                    <a:lumMod val="50000"/>
                    <a:lumOff val="50000"/>
                  </a:schemeClr>
                </a:solidFill>
              </a:rPr>
              <a:t>Weather Forecast</a:t>
            </a:r>
          </a:p>
          <a:p>
            <a:r>
              <a:rPr lang="en-US" dirty="0">
                <a:solidFill>
                  <a:schemeClr val="bg2">
                    <a:lumMod val="50000"/>
                    <a:lumOff val="50000"/>
                  </a:schemeClr>
                </a:solidFill>
              </a:rPr>
              <a:t>Stock Markets</a:t>
            </a:r>
          </a:p>
          <a:p>
            <a:r>
              <a:rPr lang="en-US" dirty="0">
                <a:solidFill>
                  <a:schemeClr val="bg2">
                    <a:lumMod val="50000"/>
                    <a:lumOff val="50000"/>
                  </a:schemeClr>
                </a:solidFill>
              </a:rPr>
              <a:t>Predicting emergencies</a:t>
            </a:r>
          </a:p>
          <a:p>
            <a:r>
              <a:rPr lang="en-US" dirty="0">
                <a:solidFill>
                  <a:schemeClr val="bg2">
                    <a:lumMod val="50000"/>
                    <a:lumOff val="50000"/>
                  </a:schemeClr>
                </a:solidFill>
              </a:rPr>
              <a:t>Political Campaigns</a:t>
            </a:r>
          </a:p>
          <a:p>
            <a:r>
              <a:rPr lang="en-US" dirty="0">
                <a:solidFill>
                  <a:schemeClr val="bg2">
                    <a:lumMod val="50000"/>
                    <a:lumOff val="50000"/>
                  </a:schemeClr>
                </a:solidFill>
              </a:rPr>
              <a:t>Insurance</a:t>
            </a:r>
          </a:p>
          <a:p>
            <a:r>
              <a:rPr lang="en-US" dirty="0">
                <a:solidFill>
                  <a:schemeClr val="bg2">
                    <a:lumMod val="50000"/>
                    <a:lumOff val="50000"/>
                  </a:schemeClr>
                </a:solidFill>
              </a:rPr>
              <a:t>Medical Studies</a:t>
            </a:r>
          </a:p>
          <a:p>
            <a:r>
              <a:rPr lang="en-US" dirty="0">
                <a:solidFill>
                  <a:schemeClr val="bg2">
                    <a:lumMod val="50000"/>
                    <a:lumOff val="50000"/>
                  </a:schemeClr>
                </a:solidFill>
              </a:rPr>
              <a:t>Genetics</a:t>
            </a:r>
          </a:p>
          <a:p>
            <a:endParaRPr lang="en-US" dirty="0"/>
          </a:p>
          <a:p>
            <a:endParaRPr lang="en-US" dirty="0"/>
          </a:p>
        </p:txBody>
      </p:sp>
      <p:pic>
        <p:nvPicPr>
          <p:cNvPr id="5" name="Picture 4" descr="A picture containing outdoor, wave, water, nature&#10;&#10;Description automatically generated">
            <a:extLst>
              <a:ext uri="{FF2B5EF4-FFF2-40B4-BE49-F238E27FC236}">
                <a16:creationId xmlns:a16="http://schemas.microsoft.com/office/drawing/2014/main" id="{037C017C-AD27-419E-8BA5-40FE9B8B1644}"/>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783110" y="1050665"/>
            <a:ext cx="1838977" cy="183897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FC3D719A-FC4D-4456-B226-363C83621C38}"/>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622087" y="2392516"/>
            <a:ext cx="2248422" cy="1143533"/>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742977D8-6CEA-45C9-9BFF-C1A34B9D06F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6723414" y="1050665"/>
            <a:ext cx="2012777" cy="1341851"/>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8D16ED9-0F12-4F5A-8975-608CF107F8E1}"/>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783110" y="3044893"/>
            <a:ext cx="1485677" cy="1684240"/>
          </a:xfrm>
          <a:prstGeom prst="rect">
            <a:avLst/>
          </a:prstGeom>
        </p:spPr>
      </p:pic>
      <p:pic>
        <p:nvPicPr>
          <p:cNvPr id="16" name="Picture 15" descr="A picture containing sky, outdoor, people, tarmac&#10;&#10;Description automatically generated">
            <a:extLst>
              <a:ext uri="{FF2B5EF4-FFF2-40B4-BE49-F238E27FC236}">
                <a16:creationId xmlns:a16="http://schemas.microsoft.com/office/drawing/2014/main" id="{C1AA6E6E-6CBC-428E-8B65-5E4D26ECFE59}"/>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6357532" y="3536049"/>
            <a:ext cx="1750231" cy="1168532"/>
          </a:xfrm>
          <a:prstGeom prst="rect">
            <a:avLst/>
          </a:prstGeom>
        </p:spPr>
      </p:pic>
      <mc:AlternateContent xmlns:mc="http://schemas.openxmlformats.org/markup-compatibility/2006">
        <mc:Choice xmlns:p14="http://schemas.microsoft.com/office/powerpoint/2010/main" Requires="p14">
          <p:contentPart p14:bwMode="auto" r:id="rId12">
            <p14:nvContentPartPr>
              <p14:cNvPr id="4" name="Ink 3">
                <a:extLst>
                  <a:ext uri="{FF2B5EF4-FFF2-40B4-BE49-F238E27FC236}">
                    <a16:creationId xmlns:a16="http://schemas.microsoft.com/office/drawing/2014/main" id="{9958B05C-5090-473E-9230-9B39F95F6C2C}"/>
                  </a:ext>
                </a:extLst>
              </p14:cNvPr>
              <p14:cNvContentPartPr/>
              <p14:nvPr/>
            </p14:nvContentPartPr>
            <p14:xfrm>
              <a:off x="414360" y="219240"/>
              <a:ext cx="8325360" cy="4910400"/>
            </p14:xfrm>
          </p:contentPart>
        </mc:Choice>
        <mc:Fallback>
          <p:pic>
            <p:nvPicPr>
              <p:cNvPr id="4" name="Ink 3">
                <a:extLst>
                  <a:ext uri="{FF2B5EF4-FFF2-40B4-BE49-F238E27FC236}">
                    <a16:creationId xmlns:a16="http://schemas.microsoft.com/office/drawing/2014/main" id="{9958B05C-5090-473E-9230-9B39F95F6C2C}"/>
                  </a:ext>
                </a:extLst>
              </p:cNvPr>
              <p:cNvPicPr/>
              <p:nvPr/>
            </p:nvPicPr>
            <p:blipFill>
              <a:blip r:embed="rId13"/>
              <a:stretch>
                <a:fillRect/>
              </a:stretch>
            </p:blipFill>
            <p:spPr>
              <a:xfrm>
                <a:off x="405000" y="209880"/>
                <a:ext cx="8344080" cy="4929120"/>
              </a:xfrm>
              <a:prstGeom prst="rect">
                <a:avLst/>
              </a:prstGeom>
            </p:spPr>
          </p:pic>
        </mc:Fallback>
      </mc:AlternateContent>
    </p:spTree>
    <p:extLst>
      <p:ext uri="{BB962C8B-B14F-4D97-AF65-F5344CB8AC3E}">
        <p14:creationId xmlns:p14="http://schemas.microsoft.com/office/powerpoint/2010/main" val="2470375232"/>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C56C2-D94D-4575-AA79-7E8CC92AC285}"/>
              </a:ext>
            </a:extLst>
          </p:cNvPr>
          <p:cNvSpPr>
            <a:spLocks noGrp="1"/>
          </p:cNvSpPr>
          <p:nvPr>
            <p:ph type="title"/>
          </p:nvPr>
        </p:nvSpPr>
        <p:spPr/>
        <p:txBody>
          <a:bodyPr/>
          <a:lstStyle/>
          <a:p>
            <a:r>
              <a:rPr lang="en-US" dirty="0"/>
              <a:t>Worksheet</a:t>
            </a:r>
          </a:p>
        </p:txBody>
      </p:sp>
      <p:sp>
        <p:nvSpPr>
          <p:cNvPr id="3" name="Content Placeholder 2">
            <a:extLst>
              <a:ext uri="{FF2B5EF4-FFF2-40B4-BE49-F238E27FC236}">
                <a16:creationId xmlns:a16="http://schemas.microsoft.com/office/drawing/2014/main" id="{47DC157F-4699-416A-8E12-DE763F809B22}"/>
              </a:ext>
            </a:extLst>
          </p:cNvPr>
          <p:cNvSpPr>
            <a:spLocks noGrp="1"/>
          </p:cNvSpPr>
          <p:nvPr>
            <p:ph sz="half" idx="1"/>
          </p:nvPr>
        </p:nvSpPr>
        <p:spPr/>
        <p:txBody>
          <a:bodyPr/>
          <a:lstStyle/>
          <a:p>
            <a:endParaRPr lang="en-US" dirty="0"/>
          </a:p>
        </p:txBody>
      </p:sp>
      <mc:AlternateContent xmlns:mc="http://schemas.openxmlformats.org/markup-compatibility/2006">
        <mc:Choice xmlns:p14="http://schemas.microsoft.com/office/powerpoint/2010/main" Requires="p14">
          <p:contentPart p14:bwMode="auto" r:id="rId2">
            <p14:nvContentPartPr>
              <p14:cNvPr id="4" name="Ink 3">
                <a:extLst>
                  <a:ext uri="{FF2B5EF4-FFF2-40B4-BE49-F238E27FC236}">
                    <a16:creationId xmlns:a16="http://schemas.microsoft.com/office/drawing/2014/main" id="{BC0EBA75-59F2-471B-B6B4-AE0DE18524CF}"/>
                  </a:ext>
                </a:extLst>
              </p14:cNvPr>
              <p14:cNvContentPartPr/>
              <p14:nvPr/>
            </p14:nvContentPartPr>
            <p14:xfrm>
              <a:off x="747720" y="490680"/>
              <a:ext cx="8206200" cy="4557960"/>
            </p14:xfrm>
          </p:contentPart>
        </mc:Choice>
        <mc:Fallback>
          <p:pic>
            <p:nvPicPr>
              <p:cNvPr id="4" name="Ink 3">
                <a:extLst>
                  <a:ext uri="{FF2B5EF4-FFF2-40B4-BE49-F238E27FC236}">
                    <a16:creationId xmlns:a16="http://schemas.microsoft.com/office/drawing/2014/main" id="{BC0EBA75-59F2-471B-B6B4-AE0DE18524CF}"/>
                  </a:ext>
                </a:extLst>
              </p:cNvPr>
              <p:cNvPicPr/>
              <p:nvPr/>
            </p:nvPicPr>
            <p:blipFill>
              <a:blip r:embed="rId3"/>
              <a:stretch>
                <a:fillRect/>
              </a:stretch>
            </p:blipFill>
            <p:spPr>
              <a:xfrm>
                <a:off x="738360" y="481320"/>
                <a:ext cx="8224920" cy="4576680"/>
              </a:xfrm>
              <a:prstGeom prst="rect">
                <a:avLst/>
              </a:prstGeom>
            </p:spPr>
          </p:pic>
        </mc:Fallback>
      </mc:AlternateContent>
    </p:spTree>
    <p:extLst>
      <p:ext uri="{BB962C8B-B14F-4D97-AF65-F5344CB8AC3E}">
        <p14:creationId xmlns:p14="http://schemas.microsoft.com/office/powerpoint/2010/main" val="2602528787"/>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91FEF-38B0-4D5D-ACF9-640E94B25F1B}"/>
              </a:ext>
            </a:extLst>
          </p:cNvPr>
          <p:cNvSpPr>
            <a:spLocks noGrp="1"/>
          </p:cNvSpPr>
          <p:nvPr>
            <p:ph type="title"/>
          </p:nvPr>
        </p:nvSpPr>
        <p:spPr/>
        <p:txBody>
          <a:bodyPr/>
          <a:lstStyle/>
          <a:p>
            <a:r>
              <a:rPr lang="en-US" dirty="0"/>
              <a:t>Some statistical statements</a:t>
            </a:r>
          </a:p>
        </p:txBody>
      </p:sp>
      <p:sp>
        <p:nvSpPr>
          <p:cNvPr id="3" name="Content Placeholder 2">
            <a:extLst>
              <a:ext uri="{FF2B5EF4-FFF2-40B4-BE49-F238E27FC236}">
                <a16:creationId xmlns:a16="http://schemas.microsoft.com/office/drawing/2014/main" id="{CA61F78B-9CC5-4759-8D88-4612E1CAB972}"/>
              </a:ext>
            </a:extLst>
          </p:cNvPr>
          <p:cNvSpPr>
            <a:spLocks noGrp="1"/>
          </p:cNvSpPr>
          <p:nvPr>
            <p:ph sz="half" idx="1"/>
          </p:nvPr>
        </p:nvSpPr>
        <p:spPr>
          <a:xfrm>
            <a:off x="161586" y="1054691"/>
            <a:ext cx="7924386" cy="3200400"/>
          </a:xfrm>
        </p:spPr>
        <p:txBody>
          <a:bodyPr/>
          <a:lstStyle/>
          <a:p>
            <a:r>
              <a:rPr lang="en-US" dirty="0">
                <a:solidFill>
                  <a:schemeClr val="bg2">
                    <a:lumMod val="50000"/>
                    <a:lumOff val="50000"/>
                  </a:schemeClr>
                </a:solidFill>
              </a:rPr>
              <a:t>I drive my car at an average speed of 50 km/hr.</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A survey of 1000 adults by a capital markets company showed that 75% of adults think that Corona vaccine is 96% efficacy (if that is the case then 4% of people can die)</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We will close the quarter higher at 120% attainment ( Actuals/Target)</a:t>
            </a:r>
          </a:p>
          <a:p>
            <a:pPr marL="0" indent="0">
              <a:buNone/>
            </a:pPr>
            <a:endParaRPr lang="en-US" dirty="0">
              <a:solidFill>
                <a:schemeClr val="bg2">
                  <a:lumMod val="50000"/>
                  <a:lumOff val="50000"/>
                </a:schemeClr>
              </a:solidFill>
            </a:endParaRPr>
          </a:p>
          <a:p>
            <a:r>
              <a:rPr lang="en-US" dirty="0">
                <a:solidFill>
                  <a:schemeClr val="bg2">
                    <a:lumMod val="50000"/>
                    <a:lumOff val="50000"/>
                  </a:schemeClr>
                </a:solidFill>
              </a:rPr>
              <a:t>20% of our workforce would resign by the end of next year</a:t>
            </a:r>
          </a:p>
          <a:p>
            <a:endParaRPr lang="en-US" dirty="0"/>
          </a:p>
        </p:txBody>
      </p:sp>
      <p:sp>
        <p:nvSpPr>
          <p:cNvPr id="4" name="TextBox 3">
            <a:extLst>
              <a:ext uri="{FF2B5EF4-FFF2-40B4-BE49-F238E27FC236}">
                <a16:creationId xmlns:a16="http://schemas.microsoft.com/office/drawing/2014/main" id="{65CFAE00-AD21-409B-AE44-D05A37D298A0}"/>
              </a:ext>
            </a:extLst>
          </p:cNvPr>
          <p:cNvSpPr txBox="1"/>
          <p:nvPr/>
        </p:nvSpPr>
        <p:spPr>
          <a:xfrm>
            <a:off x="161585" y="3993481"/>
            <a:ext cx="8606633" cy="523220"/>
          </a:xfrm>
          <a:prstGeom prst="rect">
            <a:avLst/>
          </a:prstGeom>
          <a:noFill/>
        </p:spPr>
        <p:txBody>
          <a:bodyPr wrap="square" rtlCol="0">
            <a:spAutoFit/>
          </a:bodyPr>
          <a:lstStyle/>
          <a:p>
            <a:pPr>
              <a:spcBef>
                <a:spcPts val="0"/>
              </a:spcBef>
              <a:spcAft>
                <a:spcPts val="0"/>
              </a:spcAft>
              <a:buClr>
                <a:schemeClr val="bg1"/>
              </a:buClr>
            </a:pPr>
            <a:r>
              <a:rPr lang="en-US" sz="1400" i="1" dirty="0">
                <a:solidFill>
                  <a:schemeClr val="bg1"/>
                </a:solidFill>
                <a:latin typeface="+mn-lt"/>
              </a:rPr>
              <a:t>So, you can challenge most of the statements here. But these statements will be applicable to most of the population but there can be exceptions.</a:t>
            </a:r>
          </a:p>
        </p:txBody>
      </p:sp>
      <mc:AlternateContent xmlns:mc="http://schemas.openxmlformats.org/markup-compatibility/2006">
        <mc:Choice xmlns:p14="http://schemas.microsoft.com/office/powerpoint/2010/main" Requires="p14">
          <p:contentPart p14:bwMode="auto" r:id="rId3">
            <p14:nvContentPartPr>
              <p14:cNvPr id="5" name="Ink 4">
                <a:extLst>
                  <a:ext uri="{FF2B5EF4-FFF2-40B4-BE49-F238E27FC236}">
                    <a16:creationId xmlns:a16="http://schemas.microsoft.com/office/drawing/2014/main" id="{FE36EEF7-3518-4A4B-A76A-DD3B2DD68A61}"/>
                  </a:ext>
                </a:extLst>
              </p14:cNvPr>
              <p14:cNvContentPartPr/>
              <p14:nvPr/>
            </p14:nvContentPartPr>
            <p14:xfrm>
              <a:off x="2171520" y="104760"/>
              <a:ext cx="6968160" cy="4196160"/>
            </p14:xfrm>
          </p:contentPart>
        </mc:Choice>
        <mc:Fallback>
          <p:pic>
            <p:nvPicPr>
              <p:cNvPr id="5" name="Ink 4">
                <a:extLst>
                  <a:ext uri="{FF2B5EF4-FFF2-40B4-BE49-F238E27FC236}">
                    <a16:creationId xmlns:a16="http://schemas.microsoft.com/office/drawing/2014/main" id="{FE36EEF7-3518-4A4B-A76A-DD3B2DD68A61}"/>
                  </a:ext>
                </a:extLst>
              </p:cNvPr>
              <p:cNvPicPr/>
              <p:nvPr/>
            </p:nvPicPr>
            <p:blipFill>
              <a:blip r:embed="rId4"/>
              <a:stretch>
                <a:fillRect/>
              </a:stretch>
            </p:blipFill>
            <p:spPr>
              <a:xfrm>
                <a:off x="2162160" y="95400"/>
                <a:ext cx="6986880" cy="4214880"/>
              </a:xfrm>
              <a:prstGeom prst="rect">
                <a:avLst/>
              </a:prstGeom>
            </p:spPr>
          </p:pic>
        </mc:Fallback>
      </mc:AlternateContent>
    </p:spTree>
    <p:extLst>
      <p:ext uri="{BB962C8B-B14F-4D97-AF65-F5344CB8AC3E}">
        <p14:creationId xmlns:p14="http://schemas.microsoft.com/office/powerpoint/2010/main" val="3865591795"/>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51A-6ED4-4C8B-8D44-5EDBA939BABF}"/>
              </a:ext>
            </a:extLst>
          </p:cNvPr>
          <p:cNvSpPr>
            <a:spLocks noGrp="1"/>
          </p:cNvSpPr>
          <p:nvPr>
            <p:ph type="title"/>
          </p:nvPr>
        </p:nvSpPr>
        <p:spPr/>
        <p:txBody>
          <a:bodyPr/>
          <a:lstStyle/>
          <a:p>
            <a:r>
              <a:rPr lang="en-US" dirty="0"/>
              <a:t>What is Statistics ? </a:t>
            </a:r>
          </a:p>
        </p:txBody>
      </p:sp>
      <p:sp>
        <p:nvSpPr>
          <p:cNvPr id="3" name="Content Placeholder 2">
            <a:extLst>
              <a:ext uri="{FF2B5EF4-FFF2-40B4-BE49-F238E27FC236}">
                <a16:creationId xmlns:a16="http://schemas.microsoft.com/office/drawing/2014/main" id="{E8A42226-9FEF-40B1-B486-27D94ECAAFDE}"/>
              </a:ext>
            </a:extLst>
          </p:cNvPr>
          <p:cNvSpPr>
            <a:spLocks noGrp="1"/>
          </p:cNvSpPr>
          <p:nvPr>
            <p:ph sz="half" idx="1"/>
          </p:nvPr>
        </p:nvSpPr>
        <p:spPr/>
        <p:txBody>
          <a:bodyPr/>
          <a:lstStyle/>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Uncertainty is rampant ! we use statistics to answer questions about things that are unknown (e.g. : number of cars in Bangalore ?) , but just as importantly, we use statistics to get an idea of how sure we are of our answers. Sometimes it is useful to know that you don’t know.!! </a:t>
            </a:r>
          </a:p>
          <a:p>
            <a:endParaRPr lang="en-US" dirty="0">
              <a:solidFill>
                <a:schemeClr val="bg2">
                  <a:lumMod val="50000"/>
                  <a:lumOff val="50000"/>
                </a:schemeClr>
              </a:solidFill>
            </a:endParaRPr>
          </a:p>
          <a:p>
            <a:endParaRPr lang="en-US" dirty="0">
              <a:solidFill>
                <a:schemeClr val="bg2">
                  <a:lumMod val="50000"/>
                  <a:lumOff val="50000"/>
                </a:schemeClr>
              </a:solidFill>
            </a:endParaRPr>
          </a:p>
          <a:p>
            <a:r>
              <a:rPr lang="en-US" sz="1800" dirty="0">
                <a:solidFill>
                  <a:schemeClr val="bg2">
                    <a:lumMod val="50000"/>
                    <a:lumOff val="50000"/>
                  </a:schemeClr>
                </a:solidFill>
                <a:effectLst/>
                <a:latin typeface="Calibri" panose="020F0502020204030204" pitchFamily="34" charset="0"/>
                <a:ea typeface="DengXian" panose="02010600030101010101" pitchFamily="2" charset="-122"/>
                <a:cs typeface="Times New Roman" panose="02020603050405020304" pitchFamily="18" charset="0"/>
              </a:rPr>
              <a:t>Statistical tools are used to make most out of limited information!! </a:t>
            </a:r>
          </a:p>
          <a:p>
            <a:endParaRPr lang="en-US" dirty="0"/>
          </a:p>
        </p:txBody>
      </p:sp>
      <p:pic>
        <p:nvPicPr>
          <p:cNvPr id="5" name="Picture 4" descr="Text, whiteboard&#10;&#10;Description automatically generated">
            <a:extLst>
              <a:ext uri="{FF2B5EF4-FFF2-40B4-BE49-F238E27FC236}">
                <a16:creationId xmlns:a16="http://schemas.microsoft.com/office/drawing/2014/main" id="{51F1782B-1A57-4E62-8628-08331F40875E}"/>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1911" y="174424"/>
            <a:ext cx="1465548" cy="977032"/>
          </a:xfrm>
          <a:prstGeom prst="rect">
            <a:avLst/>
          </a:prstGeom>
        </p:spPr>
      </p:pic>
      <mc:AlternateContent xmlns:mc="http://schemas.openxmlformats.org/markup-compatibility/2006">
        <mc:Choice xmlns:p14="http://schemas.microsoft.com/office/powerpoint/2010/main" Requires="p14">
          <p:contentPart p14:bwMode="auto" r:id="rId4">
            <p14:nvContentPartPr>
              <p14:cNvPr id="4" name="Ink 3">
                <a:extLst>
                  <a:ext uri="{FF2B5EF4-FFF2-40B4-BE49-F238E27FC236}">
                    <a16:creationId xmlns:a16="http://schemas.microsoft.com/office/drawing/2014/main" id="{4EB8C165-FE0F-4945-A3B1-8CC1100DBF76}"/>
                  </a:ext>
                </a:extLst>
              </p14:cNvPr>
              <p14:cNvContentPartPr/>
              <p14:nvPr/>
            </p14:nvContentPartPr>
            <p14:xfrm>
              <a:off x="685800" y="271440"/>
              <a:ext cx="8301240" cy="4462920"/>
            </p14:xfrm>
          </p:contentPart>
        </mc:Choice>
        <mc:Fallback>
          <p:pic>
            <p:nvPicPr>
              <p:cNvPr id="4" name="Ink 3">
                <a:extLst>
                  <a:ext uri="{FF2B5EF4-FFF2-40B4-BE49-F238E27FC236}">
                    <a16:creationId xmlns:a16="http://schemas.microsoft.com/office/drawing/2014/main" id="{4EB8C165-FE0F-4945-A3B1-8CC1100DBF76}"/>
                  </a:ext>
                </a:extLst>
              </p:cNvPr>
              <p:cNvPicPr/>
              <p:nvPr/>
            </p:nvPicPr>
            <p:blipFill>
              <a:blip r:embed="rId5"/>
              <a:stretch>
                <a:fillRect/>
              </a:stretch>
            </p:blipFill>
            <p:spPr>
              <a:xfrm>
                <a:off x="676440" y="262080"/>
                <a:ext cx="8319960" cy="4481640"/>
              </a:xfrm>
              <a:prstGeom prst="rect">
                <a:avLst/>
              </a:prstGeom>
            </p:spPr>
          </p:pic>
        </mc:Fallback>
      </mc:AlternateContent>
    </p:spTree>
    <p:extLst>
      <p:ext uri="{BB962C8B-B14F-4D97-AF65-F5344CB8AC3E}">
        <p14:creationId xmlns:p14="http://schemas.microsoft.com/office/powerpoint/2010/main" val="2976966562"/>
      </p:ext>
    </p:extLst>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C1809-55AB-431A-963D-57F0E70BE161}"/>
              </a:ext>
            </a:extLst>
          </p:cNvPr>
          <p:cNvSpPr>
            <a:spLocks noGrp="1"/>
          </p:cNvSpPr>
          <p:nvPr>
            <p:ph type="title"/>
          </p:nvPr>
        </p:nvSpPr>
        <p:spPr>
          <a:xfrm>
            <a:off x="73902" y="52680"/>
            <a:ext cx="7955280" cy="640080"/>
          </a:xfrm>
        </p:spPr>
        <p:txBody>
          <a:bodyPr/>
          <a:lstStyle/>
          <a:p>
            <a:r>
              <a:rPr lang="en-US" dirty="0"/>
              <a:t>Terminology </a:t>
            </a:r>
            <a:r>
              <a:rPr lang="en-US" sz="1600" b="1" dirty="0">
                <a:solidFill>
                  <a:schemeClr val="bg2">
                    <a:lumMod val="50000"/>
                    <a:lumOff val="50000"/>
                  </a:schemeClr>
                </a:solidFill>
              </a:rPr>
              <a:t>commonly used terminology in the discipline of statistics</a:t>
            </a:r>
            <a:br>
              <a:rPr lang="en-US" dirty="0"/>
            </a:br>
            <a:endParaRPr lang="en-US" dirty="0"/>
          </a:p>
        </p:txBody>
      </p:sp>
      <p:sp>
        <p:nvSpPr>
          <p:cNvPr id="3" name="Content Placeholder 2">
            <a:extLst>
              <a:ext uri="{FF2B5EF4-FFF2-40B4-BE49-F238E27FC236}">
                <a16:creationId xmlns:a16="http://schemas.microsoft.com/office/drawing/2014/main" id="{3F6397B1-9B77-4F28-B578-85539A60E080}"/>
              </a:ext>
            </a:extLst>
          </p:cNvPr>
          <p:cNvSpPr>
            <a:spLocks noGrp="1"/>
          </p:cNvSpPr>
          <p:nvPr>
            <p:ph sz="half" idx="1"/>
          </p:nvPr>
        </p:nvSpPr>
        <p:spPr>
          <a:xfrm>
            <a:off x="73903" y="692760"/>
            <a:ext cx="7898914" cy="2351065"/>
          </a:xfrm>
        </p:spPr>
        <p:txBody>
          <a:bodyPr/>
          <a:lstStyle/>
          <a:p>
            <a:r>
              <a:rPr lang="en-US" b="1" dirty="0">
                <a:solidFill>
                  <a:schemeClr val="bg1"/>
                </a:solidFill>
              </a:rPr>
              <a:t>Variable : </a:t>
            </a:r>
            <a:r>
              <a:rPr lang="en-US" dirty="0">
                <a:solidFill>
                  <a:schemeClr val="bg2">
                    <a:lumMod val="50000"/>
                    <a:lumOff val="50000"/>
                  </a:schemeClr>
                </a:solidFill>
              </a:rPr>
              <a:t>A variable is defined as an attribute of an object of study. Choosing which variables to measure is central to good experimental design.</a:t>
            </a:r>
          </a:p>
          <a:p>
            <a:pPr marL="0" indent="0">
              <a:buNone/>
            </a:pPr>
            <a:endParaRPr lang="en-US" dirty="0">
              <a:solidFill>
                <a:schemeClr val="bg2">
                  <a:lumMod val="50000"/>
                  <a:lumOff val="50000"/>
                </a:schemeClr>
              </a:solidFill>
            </a:endParaRPr>
          </a:p>
          <a:p>
            <a:pPr lvl="1"/>
            <a:r>
              <a:rPr lang="en-US" dirty="0">
                <a:solidFill>
                  <a:schemeClr val="bg2">
                    <a:lumMod val="50000"/>
                    <a:lumOff val="50000"/>
                  </a:schemeClr>
                </a:solidFill>
              </a:rPr>
              <a:t>Ex : You are collecting data of weight of adults of male living in Australia, here our variable is weight</a:t>
            </a:r>
          </a:p>
          <a:p>
            <a:pPr lvl="1"/>
            <a:endParaRPr lang="en-US" dirty="0">
              <a:solidFill>
                <a:schemeClr val="bg2">
                  <a:lumMod val="50000"/>
                  <a:lumOff val="50000"/>
                </a:schemeClr>
              </a:solidFill>
            </a:endParaRPr>
          </a:p>
        </p:txBody>
      </p:sp>
      <p:pic>
        <p:nvPicPr>
          <p:cNvPr id="5" name="Picture 4">
            <a:extLst>
              <a:ext uri="{FF2B5EF4-FFF2-40B4-BE49-F238E27FC236}">
                <a16:creationId xmlns:a16="http://schemas.microsoft.com/office/drawing/2014/main" id="{B4B84EB2-DAE0-4A07-91E6-E8997FB9F357}"/>
              </a:ext>
            </a:extLst>
          </p:cNvPr>
          <p:cNvPicPr>
            <a:picLocks noChangeAspect="1"/>
          </p:cNvPicPr>
          <p:nvPr/>
        </p:nvPicPr>
        <p:blipFill>
          <a:blip r:embed="rId2"/>
          <a:stretch>
            <a:fillRect/>
          </a:stretch>
        </p:blipFill>
        <p:spPr>
          <a:xfrm>
            <a:off x="73902" y="1730931"/>
            <a:ext cx="7427934" cy="702642"/>
          </a:xfrm>
          <a:prstGeom prst="rect">
            <a:avLst/>
          </a:prstGeom>
        </p:spPr>
      </p:pic>
      <p:sp>
        <p:nvSpPr>
          <p:cNvPr id="6" name="TextBox 5">
            <a:extLst>
              <a:ext uri="{FF2B5EF4-FFF2-40B4-BE49-F238E27FC236}">
                <a16:creationId xmlns:a16="http://schemas.microsoft.com/office/drawing/2014/main" id="{9D05D184-28F2-4052-BB33-D236DFC4C405}"/>
              </a:ext>
            </a:extLst>
          </p:cNvPr>
          <p:cNvSpPr txBox="1"/>
          <p:nvPr/>
        </p:nvSpPr>
        <p:spPr>
          <a:xfrm>
            <a:off x="73902" y="2863869"/>
            <a:ext cx="8575320" cy="1766446"/>
          </a:xfrm>
          <a:prstGeom prst="rect">
            <a:avLst/>
          </a:prstGeom>
          <a:noFill/>
        </p:spPr>
        <p:txBody>
          <a:bodyPr wrap="square" rtlCol="0">
            <a:spAutoFit/>
          </a:bodyPr>
          <a:lstStyle/>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a:t>
            </a:r>
            <a:r>
              <a:rPr lang="en-US" sz="1400" dirty="0">
                <a:solidFill>
                  <a:schemeClr val="bg1"/>
                </a:solidFill>
                <a:latin typeface="Arial" panose="020B0604020202020204" pitchFamily="34" charset="0"/>
                <a:cs typeface="Arial" panose="020B0604020202020204" pitchFamily="34" charset="0"/>
              </a:rPr>
              <a:t>Variables</a:t>
            </a:r>
            <a:r>
              <a:rPr lang="en-US" sz="1400" dirty="0">
                <a:solidFill>
                  <a:schemeClr val="bg2">
                    <a:lumMod val="50000"/>
                    <a:lumOff val="50000"/>
                  </a:schemeClr>
                </a:solidFill>
                <a:latin typeface="Arial" panose="020B0604020202020204" pitchFamily="34" charset="0"/>
                <a:cs typeface="Arial" panose="020B0604020202020204" pitchFamily="34" charset="0"/>
              </a:rPr>
              <a:t> are things you measure, manipulate and control in statistics and research.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ll studies analyze a variable, which can describe a person, place, thing or idea. A variable's value can change between groups or over time. </a:t>
            </a:r>
          </a:p>
          <a:p>
            <a:pPr marL="285750" marR="0" indent="-285750">
              <a:lnSpc>
                <a:spcPct val="107000"/>
              </a:lnSpc>
              <a:spcBef>
                <a:spcPts val="0"/>
              </a:spcBef>
              <a:spcAft>
                <a:spcPts val="800"/>
              </a:spcAft>
              <a:buFont typeface="Wingdings" panose="05000000000000000000" pitchFamily="2" charset="2"/>
              <a:buChar char="Ø"/>
            </a:pPr>
            <a:r>
              <a:rPr lang="en-US" sz="1400" dirty="0">
                <a:solidFill>
                  <a:schemeClr val="bg2">
                    <a:lumMod val="50000"/>
                    <a:lumOff val="50000"/>
                  </a:schemeClr>
                </a:solidFill>
                <a:latin typeface="Arial" panose="020B0604020202020204" pitchFamily="34" charset="0"/>
                <a:cs typeface="Arial" panose="020B0604020202020204" pitchFamily="34" charset="0"/>
              </a:rPr>
              <a:t>A variable can also be called as a data item</a:t>
            </a:r>
          </a:p>
          <a:p>
            <a:pPr marL="742950" lvl="1" indent="-285750">
              <a:lnSpc>
                <a:spcPct val="107000"/>
              </a:lnSpc>
              <a:spcBef>
                <a:spcPts val="0"/>
              </a:spcBef>
              <a:spcAft>
                <a:spcPts val="800"/>
              </a:spcAft>
              <a:buFont typeface="Arial" panose="020B0604020202020204" pitchFamily="34" charset="0"/>
              <a:buChar char="•"/>
            </a:pPr>
            <a:r>
              <a:rPr lang="en-US" sz="1400" i="1" dirty="0">
                <a:solidFill>
                  <a:schemeClr val="bg2">
                    <a:lumMod val="50000"/>
                    <a:lumOff val="50000"/>
                  </a:schemeClr>
                </a:solidFill>
                <a:latin typeface="Arial" panose="020B0604020202020204" pitchFamily="34" charset="0"/>
                <a:cs typeface="Arial" panose="020B0604020202020204" pitchFamily="34" charset="0"/>
              </a:rPr>
              <a:t>Another example :  if the variable in an experiment is a person's eye color, its value can change from brown to blue to green from person to person</a:t>
            </a:r>
            <a:r>
              <a:rPr lang="en-US" sz="1400" dirty="0">
                <a:solidFill>
                  <a:schemeClr val="bg2">
                    <a:lumMod val="50000"/>
                    <a:lumOff val="50000"/>
                  </a:schemeClr>
                </a:solidFill>
                <a:latin typeface="Arial" panose="020B0604020202020204" pitchFamily="34" charset="0"/>
                <a:cs typeface="Arial" panose="020B0604020202020204" pitchFamily="34" charset="0"/>
              </a:rPr>
              <a:t>. </a:t>
            </a:r>
          </a:p>
        </p:txBody>
      </p:sp>
      <mc:AlternateContent xmlns:mc="http://schemas.openxmlformats.org/markup-compatibility/2006">
        <mc:Choice xmlns:p14="http://schemas.microsoft.com/office/powerpoint/2010/main" Requires="p14">
          <p:contentPart p14:bwMode="auto" r:id="rId3">
            <p14:nvContentPartPr>
              <p14:cNvPr id="4" name="Ink 3">
                <a:extLst>
                  <a:ext uri="{FF2B5EF4-FFF2-40B4-BE49-F238E27FC236}">
                    <a16:creationId xmlns:a16="http://schemas.microsoft.com/office/drawing/2014/main" id="{B1483060-3607-4A13-AC4B-03C36F0D6CB0}"/>
                  </a:ext>
                </a:extLst>
              </p14:cNvPr>
              <p14:cNvContentPartPr/>
              <p14:nvPr/>
            </p14:nvContentPartPr>
            <p14:xfrm>
              <a:off x="471600" y="480960"/>
              <a:ext cx="8330040" cy="4215240"/>
            </p14:xfrm>
          </p:contentPart>
        </mc:Choice>
        <mc:Fallback>
          <p:pic>
            <p:nvPicPr>
              <p:cNvPr id="4" name="Ink 3">
                <a:extLst>
                  <a:ext uri="{FF2B5EF4-FFF2-40B4-BE49-F238E27FC236}">
                    <a16:creationId xmlns:a16="http://schemas.microsoft.com/office/drawing/2014/main" id="{B1483060-3607-4A13-AC4B-03C36F0D6CB0}"/>
                  </a:ext>
                </a:extLst>
              </p:cNvPr>
              <p:cNvPicPr/>
              <p:nvPr/>
            </p:nvPicPr>
            <p:blipFill>
              <a:blip r:embed="rId4"/>
              <a:stretch>
                <a:fillRect/>
              </a:stretch>
            </p:blipFill>
            <p:spPr>
              <a:xfrm>
                <a:off x="462240" y="471600"/>
                <a:ext cx="8348760" cy="4233960"/>
              </a:xfrm>
              <a:prstGeom prst="rect">
                <a:avLst/>
              </a:prstGeom>
            </p:spPr>
          </p:pic>
        </mc:Fallback>
      </mc:AlternateContent>
    </p:spTree>
    <p:extLst>
      <p:ext uri="{BB962C8B-B14F-4D97-AF65-F5344CB8AC3E}">
        <p14:creationId xmlns:p14="http://schemas.microsoft.com/office/powerpoint/2010/main" val="508532574"/>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5DF89-A4C5-4804-873A-9C2CF1B53371}"/>
              </a:ext>
            </a:extLst>
          </p:cNvPr>
          <p:cNvSpPr>
            <a:spLocks noGrp="1"/>
          </p:cNvSpPr>
          <p:nvPr>
            <p:ph type="title"/>
          </p:nvPr>
        </p:nvSpPr>
        <p:spPr>
          <a:xfrm>
            <a:off x="0" y="22860"/>
            <a:ext cx="7955280" cy="640080"/>
          </a:xfrm>
        </p:spPr>
        <p:txBody>
          <a:bodyPr/>
          <a:lstStyle/>
          <a:p>
            <a:r>
              <a:rPr lang="en-US" dirty="0"/>
              <a:t>Types of Variables</a:t>
            </a:r>
          </a:p>
        </p:txBody>
      </p:sp>
      <p:sp>
        <p:nvSpPr>
          <p:cNvPr id="4" name="Rectangle: Rounded Corners 3">
            <a:extLst>
              <a:ext uri="{FF2B5EF4-FFF2-40B4-BE49-F238E27FC236}">
                <a16:creationId xmlns:a16="http://schemas.microsoft.com/office/drawing/2014/main" id="{BECC6AA8-F4E3-4A94-9BD8-274D67D0E341}"/>
              </a:ext>
            </a:extLst>
          </p:cNvPr>
          <p:cNvSpPr/>
          <p:nvPr/>
        </p:nvSpPr>
        <p:spPr>
          <a:xfrm>
            <a:off x="3846931" y="544882"/>
            <a:ext cx="1484335"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Variable</a:t>
            </a:r>
          </a:p>
        </p:txBody>
      </p:sp>
      <p:sp>
        <p:nvSpPr>
          <p:cNvPr id="5" name="Rectangle: Rounded Corners 4">
            <a:extLst>
              <a:ext uri="{FF2B5EF4-FFF2-40B4-BE49-F238E27FC236}">
                <a16:creationId xmlns:a16="http://schemas.microsoft.com/office/drawing/2014/main" id="{B64A9950-C095-4508-A8D1-BCDB18FD97C6}"/>
              </a:ext>
            </a:extLst>
          </p:cNvPr>
          <p:cNvSpPr/>
          <p:nvPr/>
        </p:nvSpPr>
        <p:spPr>
          <a:xfrm>
            <a:off x="1025045"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ntitative</a:t>
            </a:r>
          </a:p>
        </p:txBody>
      </p:sp>
      <p:sp>
        <p:nvSpPr>
          <p:cNvPr id="6" name="Rectangle: Rounded Corners 5">
            <a:extLst>
              <a:ext uri="{FF2B5EF4-FFF2-40B4-BE49-F238E27FC236}">
                <a16:creationId xmlns:a16="http://schemas.microsoft.com/office/drawing/2014/main" id="{EBE4729C-1083-4C4B-A47A-5656FE677822}"/>
              </a:ext>
            </a:extLst>
          </p:cNvPr>
          <p:cNvSpPr/>
          <p:nvPr/>
        </p:nvSpPr>
        <p:spPr>
          <a:xfrm>
            <a:off x="5697256" y="1436317"/>
            <a:ext cx="1728591"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Qualitative</a:t>
            </a:r>
          </a:p>
        </p:txBody>
      </p:sp>
      <p:sp>
        <p:nvSpPr>
          <p:cNvPr id="7" name="Rectangle: Rounded Corners 6">
            <a:extLst>
              <a:ext uri="{FF2B5EF4-FFF2-40B4-BE49-F238E27FC236}">
                <a16:creationId xmlns:a16="http://schemas.microsoft.com/office/drawing/2014/main" id="{61D08891-F878-4FDF-B9A0-8D80D90B40A7}"/>
              </a:ext>
            </a:extLst>
          </p:cNvPr>
          <p:cNvSpPr/>
          <p:nvPr/>
        </p:nvSpPr>
        <p:spPr>
          <a:xfrm>
            <a:off x="62629"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Discrete</a:t>
            </a:r>
          </a:p>
        </p:txBody>
      </p:sp>
      <p:sp>
        <p:nvSpPr>
          <p:cNvPr id="8" name="Rectangle: Rounded Corners 7">
            <a:extLst>
              <a:ext uri="{FF2B5EF4-FFF2-40B4-BE49-F238E27FC236}">
                <a16:creationId xmlns:a16="http://schemas.microsoft.com/office/drawing/2014/main" id="{F4AC69C5-E593-414D-A1C2-B3A0A0562FEC}"/>
              </a:ext>
            </a:extLst>
          </p:cNvPr>
          <p:cNvSpPr/>
          <p:nvPr/>
        </p:nvSpPr>
        <p:spPr>
          <a:xfrm>
            <a:off x="1889341" y="2557137"/>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Continuous</a:t>
            </a:r>
          </a:p>
        </p:txBody>
      </p:sp>
      <p:sp>
        <p:nvSpPr>
          <p:cNvPr id="9" name="Rectangle: Rounded Corners 8">
            <a:extLst>
              <a:ext uri="{FF2B5EF4-FFF2-40B4-BE49-F238E27FC236}">
                <a16:creationId xmlns:a16="http://schemas.microsoft.com/office/drawing/2014/main" id="{CEBE0F36-E7A6-4554-AC12-BB9D6401B2AD}"/>
              </a:ext>
            </a:extLst>
          </p:cNvPr>
          <p:cNvSpPr/>
          <p:nvPr/>
        </p:nvSpPr>
        <p:spPr>
          <a:xfrm>
            <a:off x="3907079"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Nominal</a:t>
            </a:r>
          </a:p>
        </p:txBody>
      </p:sp>
      <p:sp>
        <p:nvSpPr>
          <p:cNvPr id="10" name="Rectangle: Rounded Corners 9">
            <a:extLst>
              <a:ext uri="{FF2B5EF4-FFF2-40B4-BE49-F238E27FC236}">
                <a16:creationId xmlns:a16="http://schemas.microsoft.com/office/drawing/2014/main" id="{9BF4BCFE-0120-4B93-9D0A-C9340569D1E9}"/>
              </a:ext>
            </a:extLst>
          </p:cNvPr>
          <p:cNvSpPr/>
          <p:nvPr/>
        </p:nvSpPr>
        <p:spPr>
          <a:xfrm>
            <a:off x="5733791"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Ordinal</a:t>
            </a:r>
          </a:p>
        </p:txBody>
      </p:sp>
      <p:cxnSp>
        <p:nvCxnSpPr>
          <p:cNvPr id="12" name="Straight Arrow Connector 11">
            <a:extLst>
              <a:ext uri="{FF2B5EF4-FFF2-40B4-BE49-F238E27FC236}">
                <a16:creationId xmlns:a16="http://schemas.microsoft.com/office/drawing/2014/main" id="{323013C9-7B22-4459-8F28-57188F3D6C86}"/>
              </a:ext>
            </a:extLst>
          </p:cNvPr>
          <p:cNvCxnSpPr>
            <a:stCxn id="4" idx="2"/>
            <a:endCxn id="5" idx="0"/>
          </p:cNvCxnSpPr>
          <p:nvPr/>
        </p:nvCxnSpPr>
        <p:spPr>
          <a:xfrm flipH="1">
            <a:off x="1889341" y="926926"/>
            <a:ext cx="2699758"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48DFC0C-56EA-44CD-A6EF-93B7072AA5E3}"/>
              </a:ext>
            </a:extLst>
          </p:cNvPr>
          <p:cNvCxnSpPr>
            <a:stCxn id="4" idx="2"/>
            <a:endCxn id="6" idx="0"/>
          </p:cNvCxnSpPr>
          <p:nvPr/>
        </p:nvCxnSpPr>
        <p:spPr>
          <a:xfrm>
            <a:off x="4589099" y="926926"/>
            <a:ext cx="1972453" cy="509391"/>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C2D531C1-8606-4599-84EB-2A76929B7660}"/>
              </a:ext>
            </a:extLst>
          </p:cNvPr>
          <p:cNvCxnSpPr>
            <a:stCxn id="5" idx="2"/>
            <a:endCxn id="7" idx="0"/>
          </p:cNvCxnSpPr>
          <p:nvPr/>
        </p:nvCxnSpPr>
        <p:spPr>
          <a:xfrm flipH="1">
            <a:off x="890391" y="1818361"/>
            <a:ext cx="998950"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109B3A31-CC3D-40E6-9F48-2572EFF66818}"/>
              </a:ext>
            </a:extLst>
          </p:cNvPr>
          <p:cNvCxnSpPr>
            <a:stCxn id="5" idx="2"/>
            <a:endCxn id="8" idx="0"/>
          </p:cNvCxnSpPr>
          <p:nvPr/>
        </p:nvCxnSpPr>
        <p:spPr>
          <a:xfrm>
            <a:off x="1889341" y="1818361"/>
            <a:ext cx="827762" cy="738776"/>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24F81249-C776-473E-A656-690BABC69384}"/>
              </a:ext>
            </a:extLst>
          </p:cNvPr>
          <p:cNvCxnSpPr>
            <a:stCxn id="6" idx="2"/>
            <a:endCxn id="9" idx="0"/>
          </p:cNvCxnSpPr>
          <p:nvPr/>
        </p:nvCxnSpPr>
        <p:spPr>
          <a:xfrm flipH="1">
            <a:off x="4734841" y="1818361"/>
            <a:ext cx="182671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0A44C45-020F-4EC0-9ABC-F2019CABD76E}"/>
              </a:ext>
            </a:extLst>
          </p:cNvPr>
          <p:cNvCxnSpPr>
            <a:stCxn id="6" idx="2"/>
            <a:endCxn id="10" idx="0"/>
          </p:cNvCxnSpPr>
          <p:nvPr/>
        </p:nvCxnSpPr>
        <p:spPr>
          <a:xfrm>
            <a:off x="6561552" y="1818361"/>
            <a:ext cx="1"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415D3D-289F-475B-8CC7-72AF925B85AF}"/>
              </a:ext>
            </a:extLst>
          </p:cNvPr>
          <p:cNvSpPr txBox="1"/>
          <p:nvPr/>
        </p:nvSpPr>
        <p:spPr>
          <a:xfrm>
            <a:off x="104702" y="3329533"/>
            <a:ext cx="593313" cy="307777"/>
          </a:xfrm>
          <a:prstGeom prst="rect">
            <a:avLst/>
          </a:prstGeom>
          <a:noFill/>
        </p:spPr>
        <p:txBody>
          <a:bodyPr wrap="square" rtlCol="0">
            <a:spAutoFit/>
          </a:bodyPr>
          <a:lstStyle/>
          <a:p>
            <a:pPr>
              <a:spcBef>
                <a:spcPts val="0"/>
              </a:spcBef>
              <a:spcAft>
                <a:spcPts val="0"/>
              </a:spcAft>
              <a:buClr>
                <a:schemeClr val="bg1"/>
              </a:buClr>
            </a:pPr>
            <a:r>
              <a:rPr lang="en-US" sz="1400" b="1" dirty="0">
                <a:solidFill>
                  <a:schemeClr val="bg2">
                    <a:lumMod val="50000"/>
                    <a:lumOff val="50000"/>
                  </a:schemeClr>
                </a:solidFill>
                <a:latin typeface="+mn-lt"/>
              </a:rPr>
              <a:t>Ex: </a:t>
            </a:r>
          </a:p>
        </p:txBody>
      </p:sp>
      <p:sp>
        <p:nvSpPr>
          <p:cNvPr id="36" name="Rectangle: Rounded Corners 35">
            <a:extLst>
              <a:ext uri="{FF2B5EF4-FFF2-40B4-BE49-F238E27FC236}">
                <a16:creationId xmlns:a16="http://schemas.microsoft.com/office/drawing/2014/main" id="{D1006B51-EEAC-497A-B4E7-A2CD7FFAAEF9}"/>
              </a:ext>
            </a:extLst>
          </p:cNvPr>
          <p:cNvSpPr/>
          <p:nvPr/>
        </p:nvSpPr>
        <p:spPr>
          <a:xfrm>
            <a:off x="7425848" y="2571750"/>
            <a:ext cx="1655523" cy="382044"/>
          </a:xfrm>
          <a:prstGeom prst="round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r>
              <a:rPr lang="en-US" sz="2000" dirty="0">
                <a:solidFill>
                  <a:schemeClr val="tx2"/>
                </a:solidFill>
                <a:latin typeface="+mn-lt"/>
              </a:rPr>
              <a:t>Binary</a:t>
            </a:r>
          </a:p>
        </p:txBody>
      </p:sp>
      <p:cxnSp>
        <p:nvCxnSpPr>
          <p:cNvPr id="40" name="Straight Arrow Connector 39">
            <a:extLst>
              <a:ext uri="{FF2B5EF4-FFF2-40B4-BE49-F238E27FC236}">
                <a16:creationId xmlns:a16="http://schemas.microsoft.com/office/drawing/2014/main" id="{7B8FE297-E963-4754-B22F-8F1EFC3DF06E}"/>
              </a:ext>
            </a:extLst>
          </p:cNvPr>
          <p:cNvCxnSpPr>
            <a:cxnSpLocks/>
            <a:stCxn id="6" idx="2"/>
            <a:endCxn id="36" idx="0"/>
          </p:cNvCxnSpPr>
          <p:nvPr/>
        </p:nvCxnSpPr>
        <p:spPr>
          <a:xfrm>
            <a:off x="6561552" y="1818361"/>
            <a:ext cx="1692058" cy="753389"/>
          </a:xfrm>
          <a:prstGeom prst="straightConnector1">
            <a:avLst/>
          </a:prstGeom>
          <a:ln w="12700" cmpd="sng">
            <a:solidFill>
              <a:schemeClr val="bg2">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p14="http://schemas.microsoft.com/office/powerpoint/2010/main" Requires="p14">
          <p:contentPart p14:bwMode="auto" r:id="rId2">
            <p14:nvContentPartPr>
              <p14:cNvPr id="3" name="Ink 2">
                <a:extLst>
                  <a:ext uri="{FF2B5EF4-FFF2-40B4-BE49-F238E27FC236}">
                    <a16:creationId xmlns:a16="http://schemas.microsoft.com/office/drawing/2014/main" id="{5F02733A-C8F6-45BB-B940-889B711813AA}"/>
                  </a:ext>
                </a:extLst>
              </p14:cNvPr>
              <p14:cNvContentPartPr/>
              <p14:nvPr/>
            </p14:nvContentPartPr>
            <p14:xfrm>
              <a:off x="4680" y="399960"/>
              <a:ext cx="9039600" cy="4739040"/>
            </p14:xfrm>
          </p:contentPart>
        </mc:Choice>
        <mc:Fallback>
          <p:pic>
            <p:nvPicPr>
              <p:cNvPr id="3" name="Ink 2">
                <a:extLst>
                  <a:ext uri="{FF2B5EF4-FFF2-40B4-BE49-F238E27FC236}">
                    <a16:creationId xmlns:a16="http://schemas.microsoft.com/office/drawing/2014/main" id="{5F02733A-C8F6-45BB-B940-889B711813AA}"/>
                  </a:ext>
                </a:extLst>
              </p:cNvPr>
              <p:cNvPicPr/>
              <p:nvPr/>
            </p:nvPicPr>
            <p:blipFill>
              <a:blip r:embed="rId3"/>
              <a:stretch>
                <a:fillRect/>
              </a:stretch>
            </p:blipFill>
            <p:spPr>
              <a:xfrm>
                <a:off x="-4680" y="390600"/>
                <a:ext cx="9058320" cy="4757760"/>
              </a:xfrm>
              <a:prstGeom prst="rect">
                <a:avLst/>
              </a:prstGeom>
            </p:spPr>
          </p:pic>
        </mc:Fallback>
      </mc:AlternateContent>
    </p:spTree>
    <p:extLst>
      <p:ext uri="{BB962C8B-B14F-4D97-AF65-F5344CB8AC3E}">
        <p14:creationId xmlns:p14="http://schemas.microsoft.com/office/powerpoint/2010/main" val="3689912247"/>
      </p:ext>
    </p:extLst>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46AE-501D-4355-A8E1-28F43339BBB6}"/>
              </a:ext>
            </a:extLst>
          </p:cNvPr>
          <p:cNvSpPr>
            <a:spLocks noGrp="1"/>
          </p:cNvSpPr>
          <p:nvPr>
            <p:ph type="title"/>
          </p:nvPr>
        </p:nvSpPr>
        <p:spPr/>
        <p:txBody>
          <a:bodyPr/>
          <a:lstStyle/>
          <a:p>
            <a:r>
              <a:rPr lang="en-US" dirty="0"/>
              <a:t>Quick exercise – Identify type of Data</a:t>
            </a:r>
          </a:p>
        </p:txBody>
      </p:sp>
      <p:pic>
        <p:nvPicPr>
          <p:cNvPr id="5" name="Picture 4">
            <a:extLst>
              <a:ext uri="{FF2B5EF4-FFF2-40B4-BE49-F238E27FC236}">
                <a16:creationId xmlns:a16="http://schemas.microsoft.com/office/drawing/2014/main" id="{28799CAD-4172-4A37-BF57-65BC88923644}"/>
              </a:ext>
            </a:extLst>
          </p:cNvPr>
          <p:cNvPicPr>
            <a:picLocks noChangeAspect="1"/>
          </p:cNvPicPr>
          <p:nvPr/>
        </p:nvPicPr>
        <p:blipFill>
          <a:blip r:embed="rId2"/>
          <a:stretch>
            <a:fillRect/>
          </a:stretch>
        </p:blipFill>
        <p:spPr>
          <a:xfrm>
            <a:off x="274319" y="1002708"/>
            <a:ext cx="8141239" cy="756290"/>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C3A13D84-0C2E-4FDF-99E9-E99EFC55FED1}"/>
                  </a:ext>
                </a:extLst>
              </p14:cNvPr>
              <p14:cNvContentPartPr/>
              <p14:nvPr/>
            </p14:nvContentPartPr>
            <p14:xfrm>
              <a:off x="171360" y="690480"/>
              <a:ext cx="8739720" cy="4448520"/>
            </p14:xfrm>
          </p:contentPart>
        </mc:Choice>
        <mc:Fallback>
          <p:pic>
            <p:nvPicPr>
              <p:cNvPr id="3" name="Ink 2">
                <a:extLst>
                  <a:ext uri="{FF2B5EF4-FFF2-40B4-BE49-F238E27FC236}">
                    <a16:creationId xmlns:a16="http://schemas.microsoft.com/office/drawing/2014/main" id="{C3A13D84-0C2E-4FDF-99E9-E99EFC55FED1}"/>
                  </a:ext>
                </a:extLst>
              </p:cNvPr>
              <p:cNvPicPr/>
              <p:nvPr/>
            </p:nvPicPr>
            <p:blipFill>
              <a:blip r:embed="rId4"/>
              <a:stretch>
                <a:fillRect/>
              </a:stretch>
            </p:blipFill>
            <p:spPr>
              <a:xfrm>
                <a:off x="162000" y="681120"/>
                <a:ext cx="8758440" cy="4467240"/>
              </a:xfrm>
              <a:prstGeom prst="rect">
                <a:avLst/>
              </a:prstGeom>
            </p:spPr>
          </p:pic>
        </mc:Fallback>
      </mc:AlternateContent>
    </p:spTree>
    <p:extLst>
      <p:ext uri="{BB962C8B-B14F-4D97-AF65-F5344CB8AC3E}">
        <p14:creationId xmlns:p14="http://schemas.microsoft.com/office/powerpoint/2010/main" val="347885641"/>
      </p:ext>
    </p:extLst>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TuYwARSKOo3xCkLSiY9Q"/>
</p:tagLst>
</file>

<file path=ppt/theme/theme1.xml><?xml version="1.0" encoding="utf-8"?>
<a:theme xmlns:a="http://schemas.openxmlformats.org/drawingml/2006/main" name="Dell PPT Theme_201609">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PPT Theme_201609" id="{FF30C829-293E-4456-BF26-F010FAA61FD1}" vid="{671CC896-344E-4270-8267-102DA59EDD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704</TotalTime>
  <Words>1217</Words>
  <Application>Microsoft Office PowerPoint</Application>
  <PresentationFormat>On-screen Show (16:9)</PresentationFormat>
  <Paragraphs>98</Paragraphs>
  <Slides>21</Slides>
  <Notes>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3" baseType="lpstr">
      <vt:lpstr>Museo For Dell 300</vt:lpstr>
      <vt:lpstr>Museo Sans For Dell</vt:lpstr>
      <vt:lpstr>Museo Sans For Dell</vt:lpstr>
      <vt:lpstr>Arial</vt:lpstr>
      <vt:lpstr>Arial Black</vt:lpstr>
      <vt:lpstr>Calibri</vt:lpstr>
      <vt:lpstr>Courier New</vt:lpstr>
      <vt:lpstr>Open Sans</vt:lpstr>
      <vt:lpstr>Raleway</vt:lpstr>
      <vt:lpstr>Wingdings</vt:lpstr>
      <vt:lpstr>Dell PPT Theme_201609</vt:lpstr>
      <vt:lpstr>think-cell Slide</vt:lpstr>
      <vt:lpstr>Statistics for  Data Science   </vt:lpstr>
      <vt:lpstr>What is Statistics ? </vt:lpstr>
      <vt:lpstr>Some examples of how statistics shape our life</vt:lpstr>
      <vt:lpstr>Worksheet</vt:lpstr>
      <vt:lpstr>Some statistical statements</vt:lpstr>
      <vt:lpstr>What is Statistics ? </vt:lpstr>
      <vt:lpstr>Terminology commonly used terminology in the discipline of statistics </vt:lpstr>
      <vt:lpstr>Types of Variables</vt:lpstr>
      <vt:lpstr>Quick exercise – Identify type of Data</vt:lpstr>
      <vt:lpstr>Worksheet</vt:lpstr>
      <vt:lpstr>Population &amp; Sample</vt:lpstr>
      <vt:lpstr>Worksheet</vt:lpstr>
      <vt:lpstr>Why Sample should be Random &amp; Representative? </vt:lpstr>
      <vt:lpstr>Bias in sampling : </vt:lpstr>
      <vt:lpstr>Worksheet</vt:lpstr>
      <vt:lpstr>PowerPoint Presentation</vt:lpstr>
      <vt:lpstr>Inferential Statistics</vt:lpstr>
      <vt:lpstr>Descriptive Statistics</vt:lpstr>
      <vt:lpstr>Descriptive Statistics – Example You’ve performed a survey to 40 respondents about their favorite car color. And now you have a spreadsheet with the results.</vt:lpstr>
      <vt:lpstr>Difference between Descriptive &amp; Inferential Statistics</vt:lpstr>
      <vt:lpstr>Independent, Dependent &amp; Control variable</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un_r2@dell.com</dc:creator>
  <cp:keywords>Internal Use</cp:keywords>
  <cp:lastModifiedBy>R2, Arun</cp:lastModifiedBy>
  <cp:revision>465</cp:revision>
  <dcterms:created xsi:type="dcterms:W3CDTF">2016-10-16T11:20:54Z</dcterms:created>
  <dcterms:modified xsi:type="dcterms:W3CDTF">2022-01-29T15:5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7d0e0ab-4d80-4e64-940a-7bb474d0a4c0</vt:lpwstr>
  </property>
  <property fmtid="{D5CDD505-2E9C-101B-9397-08002B2CF9AE}" pid="3" name="DellClassification">
    <vt:lpwstr>Internal Use</vt:lpwstr>
  </property>
  <property fmtid="{D5CDD505-2E9C-101B-9397-08002B2CF9AE}" pid="4" name="DellSubLabels">
    <vt:lpwstr/>
  </property>
  <property fmtid="{D5CDD505-2E9C-101B-9397-08002B2CF9AE}" pid="5" name="DellVisual Markings (PPT)">
    <vt:lpwstr>Classification Footer</vt:lpwstr>
  </property>
  <property fmtid="{D5CDD505-2E9C-101B-9397-08002B2CF9AE}" pid="6" name="titusconfig">
    <vt:lpwstr>1.3APJ</vt:lpwstr>
  </property>
  <property fmtid="{D5CDD505-2E9C-101B-9397-08002B2CF9AE}" pid="7" name="MSIP_Label_7de70ee2-0cb4-4d60-aee5-75ef2c4c8a90_Enabled">
    <vt:lpwstr>True</vt:lpwstr>
  </property>
  <property fmtid="{D5CDD505-2E9C-101B-9397-08002B2CF9AE}" pid="8" name="MSIP_Label_7de70ee2-0cb4-4d60-aee5-75ef2c4c8a90_SiteId">
    <vt:lpwstr>945c199a-83a2-4e80-9f8c-5a91be5752dd</vt:lpwstr>
  </property>
  <property fmtid="{D5CDD505-2E9C-101B-9397-08002B2CF9AE}" pid="9" name="MSIP_Label_7de70ee2-0cb4-4d60-aee5-75ef2c4c8a90_Owner">
    <vt:lpwstr>Aphidalin_Syiemlieh@DELL.com</vt:lpwstr>
  </property>
  <property fmtid="{D5CDD505-2E9C-101B-9397-08002B2CF9AE}" pid="10" name="MSIP_Label_7de70ee2-0cb4-4d60-aee5-75ef2c4c8a90_SetDate">
    <vt:lpwstr>2019-06-10T23:10:14.0206521Z</vt:lpwstr>
  </property>
  <property fmtid="{D5CDD505-2E9C-101B-9397-08002B2CF9AE}" pid="11" name="MSIP_Label_7de70ee2-0cb4-4d60-aee5-75ef2c4c8a90_Name">
    <vt:lpwstr>Internal Use</vt:lpwstr>
  </property>
  <property fmtid="{D5CDD505-2E9C-101B-9397-08002B2CF9AE}" pid="12" name="MSIP_Label_7de70ee2-0cb4-4d60-aee5-75ef2c4c8a90_Application">
    <vt:lpwstr>Microsoft Azure Information Protection</vt:lpwstr>
  </property>
  <property fmtid="{D5CDD505-2E9C-101B-9397-08002B2CF9AE}" pid="13" name="MSIP_Label_7de70ee2-0cb4-4d60-aee5-75ef2c4c8a90_Extended_MSFT_Method">
    <vt:lpwstr>Manual</vt:lpwstr>
  </property>
  <property fmtid="{D5CDD505-2E9C-101B-9397-08002B2CF9AE}" pid="14" name="MSIP_Label_da6fab74-d5af-4af7-a9a4-78d84655a626_Enabled">
    <vt:lpwstr>True</vt:lpwstr>
  </property>
  <property fmtid="{D5CDD505-2E9C-101B-9397-08002B2CF9AE}" pid="15" name="MSIP_Label_da6fab74-d5af-4af7-a9a4-78d84655a626_SiteId">
    <vt:lpwstr>945c199a-83a2-4e80-9f8c-5a91be5752dd</vt:lpwstr>
  </property>
  <property fmtid="{D5CDD505-2E9C-101B-9397-08002B2CF9AE}" pid="16" name="MSIP_Label_da6fab74-d5af-4af7-a9a4-78d84655a626_Owner">
    <vt:lpwstr>Aphidalin_Syiemlieh@DELL.com</vt:lpwstr>
  </property>
  <property fmtid="{D5CDD505-2E9C-101B-9397-08002B2CF9AE}" pid="17" name="MSIP_Label_da6fab74-d5af-4af7-a9a4-78d84655a626_SetDate">
    <vt:lpwstr>2019-06-10T23:10:14.0206521Z</vt:lpwstr>
  </property>
  <property fmtid="{D5CDD505-2E9C-101B-9397-08002B2CF9AE}" pid="18" name="MSIP_Label_da6fab74-d5af-4af7-a9a4-78d84655a626_Name">
    <vt:lpwstr>Visual Marking</vt:lpwstr>
  </property>
  <property fmtid="{D5CDD505-2E9C-101B-9397-08002B2CF9AE}" pid="19" name="MSIP_Label_da6fab74-d5af-4af7-a9a4-78d84655a626_Application">
    <vt:lpwstr>Microsoft Azure Information Protection</vt:lpwstr>
  </property>
  <property fmtid="{D5CDD505-2E9C-101B-9397-08002B2CF9AE}" pid="20" name="MSIP_Label_da6fab74-d5af-4af7-a9a4-78d84655a626_Parent">
    <vt:lpwstr>7de70ee2-0cb4-4d60-aee5-75ef2c4c8a90</vt:lpwstr>
  </property>
  <property fmtid="{D5CDD505-2E9C-101B-9397-08002B2CF9AE}" pid="21" name="MSIP_Label_da6fab74-d5af-4af7-a9a4-78d84655a626_Extended_MSFT_Method">
    <vt:lpwstr>Manual</vt:lpwstr>
  </property>
  <property fmtid="{D5CDD505-2E9C-101B-9397-08002B2CF9AE}" pid="22" name="aiplabel">
    <vt:lpwstr>Internal Use Visual Marking</vt:lpwstr>
  </property>
</Properties>
</file>